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A50_939B47FA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comments/modernComment_ADE_C17CEB91.xml" ContentType="application/vnd.ms-powerpoint.comment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1.xml" ContentType="application/vnd.openxmlformats-officedocument.themeOverride+xml"/>
  <Override PartName="/ppt/comments/modernComment_ADF_4AFD6E6B.xml" ContentType="application/vnd.ms-powerpoint.comment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3.xml" ContentType="application/vnd.openxmlformats-officedocument.themeOverr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79" r:id="rId4"/>
  </p:sldMasterIdLst>
  <p:notesMasterIdLst>
    <p:notesMasterId r:id="rId27"/>
  </p:notesMasterIdLst>
  <p:handoutMasterIdLst>
    <p:handoutMasterId r:id="rId28"/>
  </p:handoutMasterIdLst>
  <p:sldIdLst>
    <p:sldId id="2639" r:id="rId5"/>
    <p:sldId id="2709" r:id="rId6"/>
    <p:sldId id="2640" r:id="rId7"/>
    <p:sldId id="2750" r:id="rId8"/>
    <p:sldId id="2713" r:id="rId9"/>
    <p:sldId id="2715" r:id="rId10"/>
    <p:sldId id="2718" r:id="rId11"/>
    <p:sldId id="2721" r:id="rId12"/>
    <p:sldId id="2678" r:id="rId13"/>
    <p:sldId id="2781" r:id="rId14"/>
    <p:sldId id="2722" r:id="rId15"/>
    <p:sldId id="2752" r:id="rId16"/>
    <p:sldId id="2728" r:id="rId17"/>
    <p:sldId id="2729" r:id="rId18"/>
    <p:sldId id="2780" r:id="rId19"/>
    <p:sldId id="2726" r:id="rId20"/>
    <p:sldId id="2724" r:id="rId21"/>
    <p:sldId id="2782" r:id="rId22"/>
    <p:sldId id="2783" r:id="rId23"/>
    <p:sldId id="2784" r:id="rId24"/>
    <p:sldId id="2754" r:id="rId25"/>
    <p:sldId id="2785" r:id="rId26"/>
  </p:sldIdLst>
  <p:sldSz cx="12192000" cy="6858000"/>
  <p:notesSz cx="6858000" cy="9144000"/>
  <p:embeddedFontLst>
    <p:embeddedFont>
      <p:font typeface="Museo 100" panose="02000000000000000000" charset="0"/>
      <p:regular r:id="rId29"/>
    </p:embeddedFont>
    <p:embeddedFont>
      <p:font typeface="Museo 300" panose="02000000000000000000" charset="0"/>
      <p:regular r:id="rId30"/>
    </p:embeddedFont>
    <p:embeddedFont>
      <p:font typeface="Museo 500" panose="02000000000000000000" charset="0"/>
      <p:regular r:id="rId31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8C960472-8A71-4C58-997F-C4E88C54DDFA}">
          <p14:sldIdLst>
            <p14:sldId id="2639"/>
            <p14:sldId id="2709"/>
            <p14:sldId id="2640"/>
          </p14:sldIdLst>
        </p14:section>
        <p14:section name="Unser Ziel" id="{BDF984A8-635B-4C47-871B-074F6999E604}">
          <p14:sldIdLst>
            <p14:sldId id="2750"/>
            <p14:sldId id="2713"/>
            <p14:sldId id="2715"/>
            <p14:sldId id="2718"/>
            <p14:sldId id="2721"/>
            <p14:sldId id="2678"/>
            <p14:sldId id="2781"/>
            <p14:sldId id="2722"/>
            <p14:sldId id="2752"/>
            <p14:sldId id="2728"/>
            <p14:sldId id="2729"/>
            <p14:sldId id="2780"/>
            <p14:sldId id="2726"/>
            <p14:sldId id="2724"/>
            <p14:sldId id="2782"/>
            <p14:sldId id="2783"/>
            <p14:sldId id="2784"/>
            <p14:sldId id="2754"/>
            <p14:sldId id="2785"/>
          </p14:sldIdLst>
        </p14:section>
        <p14:section name="Was ist ...?" id="{39DDA2EC-7C3A-4CF0-BB91-D99762D4AA03}">
          <p14:sldIdLst/>
        </p14:section>
        <p14:section name="Ihr Projekt/Ergebnisse" id="{BDDC081B-99CA-444A-8939-6E0B4136478D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CAFB73D-5A80-994B-1710-5E3293280A0F}" name="Jonas Nöldeke" initials="JN" userId="Jonas Nöldeke" providerId="None"/>
  <p188:author id="{9DBAD150-1A9A-C69E-9A9D-21424FCE0C80}" name="Kai Gründel" initials="KG" userId="S::k.gruendel@eeing.onmicrosoft.com::3c83289e-11f6-4a27-9e62-0e29f49cb3fb" providerId="AD"/>
  <p188:author id="{2938AD6E-F702-C13D-7CD8-61C5A36B0250}" name="Lea Schwarzwald" initials="LS" userId="S::l.Schwarzwald@eeing.onmicrosoft.com::9097212c-7279-46a9-af5b-1a291ff3da2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tin Sammler" initials="MS" lastIdx="0" clrIdx="0">
    <p:extLst>
      <p:ext uri="{19B8F6BF-5375-455C-9EA6-DF929625EA0E}">
        <p15:presenceInfo xmlns:p15="http://schemas.microsoft.com/office/powerpoint/2012/main" userId="a5333cbbfb583a98" providerId="Windows Live"/>
      </p:ext>
    </p:extLst>
  </p:cmAuthor>
  <p:cmAuthor id="2" name="Iris Kunert" initials="IK" lastIdx="1" clrIdx="1">
    <p:extLst>
      <p:ext uri="{19B8F6BF-5375-455C-9EA6-DF929625EA0E}">
        <p15:presenceInfo xmlns:p15="http://schemas.microsoft.com/office/powerpoint/2012/main" userId="cb8e0fe92c752f3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8508"/>
    <a:srgbClr val="519141"/>
    <a:srgbClr val="EE8101"/>
    <a:srgbClr val="EE850D"/>
    <a:srgbClr val="555E64"/>
    <a:srgbClr val="5B6469"/>
    <a:srgbClr val="E68827"/>
    <a:srgbClr val="FFFFFF"/>
    <a:srgbClr val="FF754D"/>
    <a:srgbClr val="C5473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0846" autoAdjust="0"/>
    <p:restoredTop sz="94673" autoAdjust="0"/>
  </p:normalViewPr>
  <p:slideViewPr>
    <p:cSldViewPr snapToGrid="0">
      <p:cViewPr varScale="1">
        <p:scale>
          <a:sx n="59" d="100"/>
          <a:sy n="59" d="100"/>
        </p:scale>
        <p:origin x="740" y="52"/>
      </p:cViewPr>
      <p:guideLst/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</p:sldLst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8036"/>
    </p:cViewPr>
  </p:sorterViewPr>
  <p:notesViewPr>
    <p:cSldViewPr snapToGrid="0">
      <p:cViewPr varScale="1">
        <p:scale>
          <a:sx n="99" d="100"/>
          <a:sy n="99" d="100"/>
        </p:scale>
        <p:origin x="4272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3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font" Target="fonts/font2.fntdata"/><Relationship Id="rId35" Type="http://schemas.openxmlformats.org/officeDocument/2006/relationships/theme" Target="theme/theme1.xml"/></Relationships>
</file>

<file path=ppt/_rels/viewProps.xml.rels><?xml version="1.0" encoding="UTF-8" standalone="yes"?>
<Relationships xmlns="http://schemas.openxmlformats.org/package/2006/relationships"><Relationship Id="rId3" Type="http://schemas.openxmlformats.org/officeDocument/2006/relationships/slide" Target="slides/slide12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5" Type="http://schemas.openxmlformats.org/officeDocument/2006/relationships/slide" Target="slides/slide19.xml"/><Relationship Id="rId4" Type="http://schemas.openxmlformats.org/officeDocument/2006/relationships/slide" Target="slides/slide1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DATEN-EE\Energethik\1%20Kunde\HBG%20Heeseberg%20Biogas\HBG%20Flex\LP9\241212%20Gesellschafterversammlung\energy-charts_Stromproduktion_und_B&#246;rsenstrompreise_in_Deutschland_2017%20und%202024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2000" b="1" i="0" u="none" strike="noStrike" baseline="0"/>
              <a:t>Trends und Schwankungen: Day-</a:t>
            </a:r>
            <a:r>
              <a:rPr lang="de-DE" sz="2000" b="1" i="0" u="none" strike="noStrike" baseline="0" err="1"/>
              <a:t>Ahead</a:t>
            </a:r>
            <a:r>
              <a:rPr lang="de-DE" sz="2000" b="1" i="0" u="none" strike="noStrike" baseline="0"/>
              <a:t>-Preise 2024 vs. 2017</a:t>
            </a:r>
            <a:endParaRPr lang="de-DE" sz="2000"/>
          </a:p>
        </c:rich>
      </c:tx>
      <c:layout>
        <c:manualLayout>
          <c:xMode val="edge"/>
          <c:yMode val="edge"/>
          <c:x val="0.10478744838106542"/>
          <c:y val="3.353763120277829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2"/>
          <c:order val="2"/>
          <c:tx>
            <c:strRef>
              <c:f>'2024'!$D$1</c:f>
              <c:strCache>
                <c:ptCount val="1"/>
                <c:pt idx="0">
                  <c:v>Day Ahead Auktion  2024</c:v>
                </c:pt>
              </c:strCache>
            </c:strRef>
          </c:tx>
          <c:spPr>
            <a:ln w="6350" cap="rnd">
              <a:solidFill>
                <a:srgbClr val="519141"/>
              </a:solidFill>
              <a:round/>
            </a:ln>
            <a:effectLst/>
          </c:spPr>
          <c:marker>
            <c:symbol val="none"/>
          </c:marker>
          <c:val>
            <c:numRef>
              <c:f>'2024'!$D$3:$D$8762</c:f>
              <c:numCache>
                <c:formatCode>General</c:formatCode>
                <c:ptCount val="8760"/>
                <c:pt idx="0">
                  <c:v>0.01</c:v>
                </c:pt>
                <c:pt idx="1">
                  <c:v>1E-3</c:v>
                </c:pt>
                <c:pt idx="2">
                  <c:v>0</c:v>
                </c:pt>
                <c:pt idx="3">
                  <c:v>-1E-3</c:v>
                </c:pt>
                <c:pt idx="4">
                  <c:v>-3.0000000000000001E-3</c:v>
                </c:pt>
                <c:pt idx="5">
                  <c:v>-2E-3</c:v>
                </c:pt>
                <c:pt idx="6">
                  <c:v>-5.0000000000000001E-3</c:v>
                </c:pt>
                <c:pt idx="7">
                  <c:v>-2E-3</c:v>
                </c:pt>
                <c:pt idx="8">
                  <c:v>0</c:v>
                </c:pt>
                <c:pt idx="9">
                  <c:v>4.0000000000000001E-3</c:v>
                </c:pt>
                <c:pt idx="10">
                  <c:v>6.0000000000000001E-3</c:v>
                </c:pt>
                <c:pt idx="11">
                  <c:v>5.4000000000000006E-2</c:v>
                </c:pt>
                <c:pt idx="12">
                  <c:v>0.22400000000000003</c:v>
                </c:pt>
                <c:pt idx="13">
                  <c:v>0.19600000000000001</c:v>
                </c:pt>
                <c:pt idx="14">
                  <c:v>0.10400000000000001</c:v>
                </c:pt>
                <c:pt idx="15">
                  <c:v>0.36599999999999999</c:v>
                </c:pt>
                <c:pt idx="16">
                  <c:v>4.306</c:v>
                </c:pt>
                <c:pt idx="17">
                  <c:v>4.9930000000000003</c:v>
                </c:pt>
                <c:pt idx="18">
                  <c:v>5.8</c:v>
                </c:pt>
                <c:pt idx="19">
                  <c:v>5.4249999999999998</c:v>
                </c:pt>
                <c:pt idx="20">
                  <c:v>4.8010000000000002</c:v>
                </c:pt>
                <c:pt idx="21">
                  <c:v>4.2949999999999999</c:v>
                </c:pt>
                <c:pt idx="22">
                  <c:v>4.7090000000000005</c:v>
                </c:pt>
                <c:pt idx="23">
                  <c:v>3.5549999999999997</c:v>
                </c:pt>
                <c:pt idx="24">
                  <c:v>3.0590000000000002</c:v>
                </c:pt>
                <c:pt idx="25">
                  <c:v>2.0070000000000001</c:v>
                </c:pt>
                <c:pt idx="26">
                  <c:v>3.1030000000000002</c:v>
                </c:pt>
                <c:pt idx="27">
                  <c:v>1.839</c:v>
                </c:pt>
                <c:pt idx="28">
                  <c:v>1.1080000000000001</c:v>
                </c:pt>
                <c:pt idx="29">
                  <c:v>1.3779999999999999</c:v>
                </c:pt>
                <c:pt idx="30">
                  <c:v>4.7629999999999999</c:v>
                </c:pt>
                <c:pt idx="31">
                  <c:v>5.8100000000000005</c:v>
                </c:pt>
                <c:pt idx="32">
                  <c:v>6.5670000000000002</c:v>
                </c:pt>
                <c:pt idx="33">
                  <c:v>6.4730000000000008</c:v>
                </c:pt>
                <c:pt idx="34">
                  <c:v>6.8980000000000006</c:v>
                </c:pt>
                <c:pt idx="35">
                  <c:v>7.354000000000001</c:v>
                </c:pt>
                <c:pt idx="36">
                  <c:v>7.8159999999999998</c:v>
                </c:pt>
                <c:pt idx="37">
                  <c:v>7.8870000000000005</c:v>
                </c:pt>
                <c:pt idx="38">
                  <c:v>7.9239999999999995</c:v>
                </c:pt>
                <c:pt idx="39">
                  <c:v>7.9959999999999996</c:v>
                </c:pt>
                <c:pt idx="40">
                  <c:v>8.3460000000000001</c:v>
                </c:pt>
                <c:pt idx="41">
                  <c:v>8.0920000000000005</c:v>
                </c:pt>
                <c:pt idx="42">
                  <c:v>7.4950000000000001</c:v>
                </c:pt>
                <c:pt idx="43">
                  <c:v>6.3179999999999996</c:v>
                </c:pt>
                <c:pt idx="44">
                  <c:v>5.7110000000000003</c:v>
                </c:pt>
                <c:pt idx="45">
                  <c:v>4.6890000000000001</c:v>
                </c:pt>
                <c:pt idx="46">
                  <c:v>4</c:v>
                </c:pt>
                <c:pt idx="47">
                  <c:v>0.74299999999999999</c:v>
                </c:pt>
                <c:pt idx="48">
                  <c:v>-8.0000000000000002E-3</c:v>
                </c:pt>
                <c:pt idx="49">
                  <c:v>-0.123</c:v>
                </c:pt>
                <c:pt idx="50">
                  <c:v>-0.13</c:v>
                </c:pt>
                <c:pt idx="51">
                  <c:v>-0.13100000000000001</c:v>
                </c:pt>
                <c:pt idx="52">
                  <c:v>-0.13100000000000001</c:v>
                </c:pt>
                <c:pt idx="53">
                  <c:v>-0.13799999999999998</c:v>
                </c:pt>
                <c:pt idx="54">
                  <c:v>0.10900000000000001</c:v>
                </c:pt>
                <c:pt idx="55">
                  <c:v>4.0590000000000002</c:v>
                </c:pt>
                <c:pt idx="56">
                  <c:v>5.9610000000000003</c:v>
                </c:pt>
                <c:pt idx="57">
                  <c:v>6.0609999999999999</c:v>
                </c:pt>
                <c:pt idx="58">
                  <c:v>5.7</c:v>
                </c:pt>
                <c:pt idx="59">
                  <c:v>5.4889999999999999</c:v>
                </c:pt>
                <c:pt idx="60">
                  <c:v>5.3890000000000002</c:v>
                </c:pt>
                <c:pt idx="61">
                  <c:v>5.4420000000000002</c:v>
                </c:pt>
                <c:pt idx="62">
                  <c:v>6.0860000000000003</c:v>
                </c:pt>
                <c:pt idx="63">
                  <c:v>6.7180000000000009</c:v>
                </c:pt>
                <c:pt idx="64">
                  <c:v>7.359</c:v>
                </c:pt>
                <c:pt idx="65">
                  <c:v>8.2279999999999998</c:v>
                </c:pt>
                <c:pt idx="66">
                  <c:v>8.2970000000000006</c:v>
                </c:pt>
                <c:pt idx="67">
                  <c:v>7.9030000000000005</c:v>
                </c:pt>
                <c:pt idx="68">
                  <c:v>7.3230000000000004</c:v>
                </c:pt>
                <c:pt idx="69">
                  <c:v>6.7409999999999997</c:v>
                </c:pt>
                <c:pt idx="70">
                  <c:v>6.5</c:v>
                </c:pt>
                <c:pt idx="71">
                  <c:v>5.8119999999999994</c:v>
                </c:pt>
                <c:pt idx="72">
                  <c:v>5.7299999999999995</c:v>
                </c:pt>
                <c:pt idx="73">
                  <c:v>5.0460000000000003</c:v>
                </c:pt>
                <c:pt idx="74">
                  <c:v>4</c:v>
                </c:pt>
                <c:pt idx="75">
                  <c:v>2.548</c:v>
                </c:pt>
                <c:pt idx="76">
                  <c:v>3.5</c:v>
                </c:pt>
                <c:pt idx="77">
                  <c:v>5.7729999999999997</c:v>
                </c:pt>
                <c:pt idx="78">
                  <c:v>7.2650000000000006</c:v>
                </c:pt>
                <c:pt idx="79">
                  <c:v>8.5019999999999989</c:v>
                </c:pt>
                <c:pt idx="80">
                  <c:v>9.1470000000000002</c:v>
                </c:pt>
                <c:pt idx="81">
                  <c:v>9.42</c:v>
                </c:pt>
                <c:pt idx="82">
                  <c:v>9.1609999999999996</c:v>
                </c:pt>
                <c:pt idx="83">
                  <c:v>9.0030000000000001</c:v>
                </c:pt>
                <c:pt idx="84">
                  <c:v>8.629999999999999</c:v>
                </c:pt>
                <c:pt idx="85">
                  <c:v>8.5960000000000001</c:v>
                </c:pt>
                <c:pt idx="86">
                  <c:v>9.2110000000000003</c:v>
                </c:pt>
                <c:pt idx="87">
                  <c:v>9.8620000000000001</c:v>
                </c:pt>
                <c:pt idx="88">
                  <c:v>10.573</c:v>
                </c:pt>
                <c:pt idx="89">
                  <c:v>13.322999999999999</c:v>
                </c:pt>
                <c:pt idx="90">
                  <c:v>14.465</c:v>
                </c:pt>
                <c:pt idx="91">
                  <c:v>12.5</c:v>
                </c:pt>
                <c:pt idx="92">
                  <c:v>10.359</c:v>
                </c:pt>
                <c:pt idx="93">
                  <c:v>10.001000000000001</c:v>
                </c:pt>
                <c:pt idx="94">
                  <c:v>9.4860000000000007</c:v>
                </c:pt>
                <c:pt idx="95">
                  <c:v>8.8829999999999991</c:v>
                </c:pt>
                <c:pt idx="96">
                  <c:v>8.6080000000000005</c:v>
                </c:pt>
                <c:pt idx="97">
                  <c:v>8.0510000000000002</c:v>
                </c:pt>
                <c:pt idx="98">
                  <c:v>7.7010000000000005</c:v>
                </c:pt>
                <c:pt idx="99">
                  <c:v>7.3209999999999997</c:v>
                </c:pt>
                <c:pt idx="100">
                  <c:v>7.4049999999999994</c:v>
                </c:pt>
                <c:pt idx="101">
                  <c:v>7.6029999999999998</c:v>
                </c:pt>
                <c:pt idx="102">
                  <c:v>8.1</c:v>
                </c:pt>
                <c:pt idx="103">
                  <c:v>8.6999999999999993</c:v>
                </c:pt>
                <c:pt idx="104">
                  <c:v>8.956999999999999</c:v>
                </c:pt>
                <c:pt idx="105">
                  <c:v>9.4930000000000003</c:v>
                </c:pt>
                <c:pt idx="106">
                  <c:v>9.6280000000000001</c:v>
                </c:pt>
                <c:pt idx="107">
                  <c:v>9.8219999999999992</c:v>
                </c:pt>
                <c:pt idx="108">
                  <c:v>9.2240000000000002</c:v>
                </c:pt>
                <c:pt idx="109">
                  <c:v>9.1539999999999999</c:v>
                </c:pt>
                <c:pt idx="110">
                  <c:v>9.641</c:v>
                </c:pt>
                <c:pt idx="111">
                  <c:v>10.004999999999999</c:v>
                </c:pt>
                <c:pt idx="112">
                  <c:v>10.297000000000001</c:v>
                </c:pt>
                <c:pt idx="113">
                  <c:v>10.738</c:v>
                </c:pt>
                <c:pt idx="114">
                  <c:v>10.845000000000001</c:v>
                </c:pt>
                <c:pt idx="115">
                  <c:v>10.395999999999999</c:v>
                </c:pt>
                <c:pt idx="116">
                  <c:v>10.009</c:v>
                </c:pt>
                <c:pt idx="117">
                  <c:v>9.4190000000000005</c:v>
                </c:pt>
                <c:pt idx="118">
                  <c:v>9.4920000000000009</c:v>
                </c:pt>
                <c:pt idx="119">
                  <c:v>8.68</c:v>
                </c:pt>
                <c:pt idx="120">
                  <c:v>8.2249999999999996</c:v>
                </c:pt>
                <c:pt idx="121">
                  <c:v>8.02</c:v>
                </c:pt>
                <c:pt idx="122">
                  <c:v>7.6129999999999995</c:v>
                </c:pt>
                <c:pt idx="123">
                  <c:v>7.3010000000000002</c:v>
                </c:pt>
                <c:pt idx="124">
                  <c:v>7.3010000000000002</c:v>
                </c:pt>
                <c:pt idx="125">
                  <c:v>7.4590000000000005</c:v>
                </c:pt>
                <c:pt idx="126">
                  <c:v>7.51</c:v>
                </c:pt>
                <c:pt idx="127">
                  <c:v>8.1389999999999993</c:v>
                </c:pt>
                <c:pt idx="128">
                  <c:v>8.84</c:v>
                </c:pt>
                <c:pt idx="129">
                  <c:v>9.2230000000000008</c:v>
                </c:pt>
                <c:pt idx="130">
                  <c:v>9.73</c:v>
                </c:pt>
                <c:pt idx="131">
                  <c:v>10.043000000000001</c:v>
                </c:pt>
                <c:pt idx="132">
                  <c:v>9.9160000000000004</c:v>
                </c:pt>
                <c:pt idx="133">
                  <c:v>9.5220000000000002</c:v>
                </c:pt>
                <c:pt idx="134">
                  <c:v>9.254999999999999</c:v>
                </c:pt>
                <c:pt idx="135">
                  <c:v>9.5090000000000003</c:v>
                </c:pt>
                <c:pt idx="136">
                  <c:v>9.9849999999999994</c:v>
                </c:pt>
                <c:pt idx="137">
                  <c:v>10.427</c:v>
                </c:pt>
                <c:pt idx="138">
                  <c:v>10.363</c:v>
                </c:pt>
                <c:pt idx="139">
                  <c:v>9.9</c:v>
                </c:pt>
                <c:pt idx="140">
                  <c:v>9.2140000000000004</c:v>
                </c:pt>
                <c:pt idx="141">
                  <c:v>8.8000000000000007</c:v>
                </c:pt>
                <c:pt idx="142">
                  <c:v>8.657</c:v>
                </c:pt>
                <c:pt idx="143">
                  <c:v>7.9870000000000001</c:v>
                </c:pt>
                <c:pt idx="144">
                  <c:v>8.4079999999999995</c:v>
                </c:pt>
                <c:pt idx="145">
                  <c:v>7.9819999999999993</c:v>
                </c:pt>
                <c:pt idx="146">
                  <c:v>7.6760000000000002</c:v>
                </c:pt>
                <c:pt idx="147">
                  <c:v>7.3459999999999992</c:v>
                </c:pt>
                <c:pt idx="148">
                  <c:v>7.1859999999999999</c:v>
                </c:pt>
                <c:pt idx="149">
                  <c:v>7.2080000000000002</c:v>
                </c:pt>
                <c:pt idx="150">
                  <c:v>7.49</c:v>
                </c:pt>
                <c:pt idx="151">
                  <c:v>7.7690000000000001</c:v>
                </c:pt>
                <c:pt idx="152">
                  <c:v>8.1790000000000003</c:v>
                </c:pt>
                <c:pt idx="153">
                  <c:v>8.4860000000000007</c:v>
                </c:pt>
                <c:pt idx="154">
                  <c:v>8.7149999999999999</c:v>
                </c:pt>
                <c:pt idx="155">
                  <c:v>8.9139999999999997</c:v>
                </c:pt>
                <c:pt idx="156">
                  <c:v>8.8659999999999997</c:v>
                </c:pt>
                <c:pt idx="157">
                  <c:v>8.4809999999999999</c:v>
                </c:pt>
                <c:pt idx="158">
                  <c:v>8.4340000000000011</c:v>
                </c:pt>
                <c:pt idx="159">
                  <c:v>8.8010000000000002</c:v>
                </c:pt>
                <c:pt idx="160">
                  <c:v>9.3420000000000005</c:v>
                </c:pt>
                <c:pt idx="161">
                  <c:v>10.177</c:v>
                </c:pt>
                <c:pt idx="162">
                  <c:v>10.484999999999999</c:v>
                </c:pt>
                <c:pt idx="163">
                  <c:v>10.355</c:v>
                </c:pt>
                <c:pt idx="164">
                  <c:v>10.050000000000001</c:v>
                </c:pt>
                <c:pt idx="165">
                  <c:v>9.3309999999999995</c:v>
                </c:pt>
                <c:pt idx="166">
                  <c:v>9.1170000000000009</c:v>
                </c:pt>
                <c:pt idx="167">
                  <c:v>8.3859999999999992</c:v>
                </c:pt>
                <c:pt idx="168">
                  <c:v>8.702</c:v>
                </c:pt>
                <c:pt idx="169">
                  <c:v>8.4319999999999986</c:v>
                </c:pt>
                <c:pt idx="170">
                  <c:v>8.1819999999999986</c:v>
                </c:pt>
                <c:pt idx="171">
                  <c:v>7.9109999999999996</c:v>
                </c:pt>
                <c:pt idx="172">
                  <c:v>7.8480000000000008</c:v>
                </c:pt>
                <c:pt idx="173">
                  <c:v>8.2099999999999991</c:v>
                </c:pt>
                <c:pt idx="174">
                  <c:v>9.43</c:v>
                </c:pt>
                <c:pt idx="175">
                  <c:v>11.11</c:v>
                </c:pt>
                <c:pt idx="176">
                  <c:v>12.111000000000001</c:v>
                </c:pt>
                <c:pt idx="177">
                  <c:v>11.782999999999999</c:v>
                </c:pt>
                <c:pt idx="178">
                  <c:v>11.059999999999999</c:v>
                </c:pt>
                <c:pt idx="179">
                  <c:v>10.3</c:v>
                </c:pt>
                <c:pt idx="180">
                  <c:v>9.5500000000000007</c:v>
                </c:pt>
                <c:pt idx="181">
                  <c:v>9.26</c:v>
                </c:pt>
                <c:pt idx="182">
                  <c:v>10</c:v>
                </c:pt>
                <c:pt idx="183">
                  <c:v>10.798</c:v>
                </c:pt>
                <c:pt idx="184">
                  <c:v>11.687000000000001</c:v>
                </c:pt>
                <c:pt idx="185">
                  <c:v>12.913</c:v>
                </c:pt>
                <c:pt idx="186">
                  <c:v>13.000999999999999</c:v>
                </c:pt>
                <c:pt idx="187">
                  <c:v>12.212</c:v>
                </c:pt>
                <c:pt idx="188">
                  <c:v>11.420999999999999</c:v>
                </c:pt>
                <c:pt idx="189">
                  <c:v>10.282999999999999</c:v>
                </c:pt>
                <c:pt idx="190">
                  <c:v>9.9980000000000011</c:v>
                </c:pt>
                <c:pt idx="191">
                  <c:v>9.1489999999999991</c:v>
                </c:pt>
                <c:pt idx="192">
                  <c:v>8.8159999999999989</c:v>
                </c:pt>
                <c:pt idx="193">
                  <c:v>8.7040000000000006</c:v>
                </c:pt>
                <c:pt idx="194">
                  <c:v>8.5</c:v>
                </c:pt>
                <c:pt idx="195">
                  <c:v>8.4139999999999997</c:v>
                </c:pt>
                <c:pt idx="196">
                  <c:v>8.5719999999999992</c:v>
                </c:pt>
                <c:pt idx="197">
                  <c:v>8.9280000000000008</c:v>
                </c:pt>
                <c:pt idx="198">
                  <c:v>10.851000000000001</c:v>
                </c:pt>
                <c:pt idx="199">
                  <c:v>12.406000000000001</c:v>
                </c:pt>
                <c:pt idx="200">
                  <c:v>13.324000000000002</c:v>
                </c:pt>
                <c:pt idx="201">
                  <c:v>12.090999999999999</c:v>
                </c:pt>
                <c:pt idx="202">
                  <c:v>11.318999999999999</c:v>
                </c:pt>
                <c:pt idx="203">
                  <c:v>10.577999999999999</c:v>
                </c:pt>
                <c:pt idx="204">
                  <c:v>10.022</c:v>
                </c:pt>
                <c:pt idx="205">
                  <c:v>10.081999999999999</c:v>
                </c:pt>
                <c:pt idx="206">
                  <c:v>11.089</c:v>
                </c:pt>
                <c:pt idx="207">
                  <c:v>11.940000000000001</c:v>
                </c:pt>
                <c:pt idx="208">
                  <c:v>12.785</c:v>
                </c:pt>
                <c:pt idx="209">
                  <c:v>13.784000000000001</c:v>
                </c:pt>
                <c:pt idx="210">
                  <c:v>13.780000000000001</c:v>
                </c:pt>
                <c:pt idx="211">
                  <c:v>13.043000000000001</c:v>
                </c:pt>
                <c:pt idx="212">
                  <c:v>12.023999999999999</c:v>
                </c:pt>
                <c:pt idx="213">
                  <c:v>11.168000000000001</c:v>
                </c:pt>
                <c:pt idx="214">
                  <c:v>10.618</c:v>
                </c:pt>
                <c:pt idx="215">
                  <c:v>9.7089999999999996</c:v>
                </c:pt>
                <c:pt idx="216">
                  <c:v>8.9290000000000003</c:v>
                </c:pt>
                <c:pt idx="217">
                  <c:v>8.6760000000000002</c:v>
                </c:pt>
                <c:pt idx="218">
                  <c:v>8.673</c:v>
                </c:pt>
                <c:pt idx="219">
                  <c:v>8.609</c:v>
                </c:pt>
                <c:pt idx="220">
                  <c:v>8.629999999999999</c:v>
                </c:pt>
                <c:pt idx="221">
                  <c:v>8.9049999999999994</c:v>
                </c:pt>
                <c:pt idx="222">
                  <c:v>10.888</c:v>
                </c:pt>
                <c:pt idx="223">
                  <c:v>12.629000000000001</c:v>
                </c:pt>
                <c:pt idx="224">
                  <c:v>14.128</c:v>
                </c:pt>
                <c:pt idx="225">
                  <c:v>13.038999999999998</c:v>
                </c:pt>
                <c:pt idx="226">
                  <c:v>11.856</c:v>
                </c:pt>
                <c:pt idx="227">
                  <c:v>10.913</c:v>
                </c:pt>
                <c:pt idx="228">
                  <c:v>10.221</c:v>
                </c:pt>
                <c:pt idx="229">
                  <c:v>10.561</c:v>
                </c:pt>
                <c:pt idx="230">
                  <c:v>11.291</c:v>
                </c:pt>
                <c:pt idx="231">
                  <c:v>12.379999999999999</c:v>
                </c:pt>
                <c:pt idx="232">
                  <c:v>13.463999999999999</c:v>
                </c:pt>
                <c:pt idx="233">
                  <c:v>14.379</c:v>
                </c:pt>
                <c:pt idx="234">
                  <c:v>14</c:v>
                </c:pt>
                <c:pt idx="235">
                  <c:v>13.215</c:v>
                </c:pt>
                <c:pt idx="236">
                  <c:v>12</c:v>
                </c:pt>
                <c:pt idx="237">
                  <c:v>10.976000000000001</c:v>
                </c:pt>
                <c:pt idx="238">
                  <c:v>10.449</c:v>
                </c:pt>
                <c:pt idx="239">
                  <c:v>9.6029999999999998</c:v>
                </c:pt>
                <c:pt idx="240">
                  <c:v>9.1750000000000007</c:v>
                </c:pt>
                <c:pt idx="241">
                  <c:v>8.859</c:v>
                </c:pt>
                <c:pt idx="242">
                  <c:v>8.7249999999999996</c:v>
                </c:pt>
                <c:pt idx="243">
                  <c:v>8.2379999999999995</c:v>
                </c:pt>
                <c:pt idx="244">
                  <c:v>8.1950000000000003</c:v>
                </c:pt>
                <c:pt idx="245">
                  <c:v>8.9359999999999999</c:v>
                </c:pt>
                <c:pt idx="246">
                  <c:v>10.206999999999999</c:v>
                </c:pt>
                <c:pt idx="247">
                  <c:v>11.686</c:v>
                </c:pt>
                <c:pt idx="248">
                  <c:v>14.1</c:v>
                </c:pt>
                <c:pt idx="249">
                  <c:v>12.916</c:v>
                </c:pt>
                <c:pt idx="250">
                  <c:v>11.365</c:v>
                </c:pt>
                <c:pt idx="251">
                  <c:v>10.648</c:v>
                </c:pt>
                <c:pt idx="252">
                  <c:v>9.9379999999999988</c:v>
                </c:pt>
                <c:pt idx="253">
                  <c:v>9.9</c:v>
                </c:pt>
                <c:pt idx="254">
                  <c:v>10.598000000000001</c:v>
                </c:pt>
                <c:pt idx="255">
                  <c:v>11.795999999999999</c:v>
                </c:pt>
                <c:pt idx="256">
                  <c:v>13.734999999999999</c:v>
                </c:pt>
                <c:pt idx="257">
                  <c:v>15.009</c:v>
                </c:pt>
                <c:pt idx="258">
                  <c:v>13.669</c:v>
                </c:pt>
                <c:pt idx="259">
                  <c:v>13.231</c:v>
                </c:pt>
                <c:pt idx="260">
                  <c:v>11.788</c:v>
                </c:pt>
                <c:pt idx="261">
                  <c:v>10.718999999999999</c:v>
                </c:pt>
                <c:pt idx="262">
                  <c:v>10</c:v>
                </c:pt>
                <c:pt idx="263">
                  <c:v>9.7219999999999995</c:v>
                </c:pt>
                <c:pt idx="264">
                  <c:v>9.104000000000001</c:v>
                </c:pt>
                <c:pt idx="265">
                  <c:v>8.8219999999999992</c:v>
                </c:pt>
                <c:pt idx="266">
                  <c:v>8.5220000000000002</c:v>
                </c:pt>
                <c:pt idx="267">
                  <c:v>8.4629999999999992</c:v>
                </c:pt>
                <c:pt idx="268">
                  <c:v>8.4340000000000011</c:v>
                </c:pt>
                <c:pt idx="269">
                  <c:v>8.532</c:v>
                </c:pt>
                <c:pt idx="270">
                  <c:v>9.2110000000000003</c:v>
                </c:pt>
                <c:pt idx="271">
                  <c:v>11.815999999999999</c:v>
                </c:pt>
                <c:pt idx="272">
                  <c:v>14.074000000000002</c:v>
                </c:pt>
                <c:pt idx="273">
                  <c:v>13.496</c:v>
                </c:pt>
                <c:pt idx="274">
                  <c:v>12.201000000000001</c:v>
                </c:pt>
                <c:pt idx="275">
                  <c:v>11.473000000000001</c:v>
                </c:pt>
                <c:pt idx="276">
                  <c:v>10.698</c:v>
                </c:pt>
                <c:pt idx="277">
                  <c:v>10.308</c:v>
                </c:pt>
                <c:pt idx="278">
                  <c:v>10.454000000000001</c:v>
                </c:pt>
                <c:pt idx="279">
                  <c:v>11</c:v>
                </c:pt>
                <c:pt idx="280">
                  <c:v>12</c:v>
                </c:pt>
                <c:pt idx="281">
                  <c:v>12.75</c:v>
                </c:pt>
                <c:pt idx="282">
                  <c:v>12.6</c:v>
                </c:pt>
                <c:pt idx="283">
                  <c:v>11.946999999999999</c:v>
                </c:pt>
                <c:pt idx="284">
                  <c:v>10.879000000000001</c:v>
                </c:pt>
                <c:pt idx="285">
                  <c:v>9.8480000000000008</c:v>
                </c:pt>
                <c:pt idx="286">
                  <c:v>9.3369999999999997</c:v>
                </c:pt>
                <c:pt idx="287">
                  <c:v>8.5380000000000003</c:v>
                </c:pt>
                <c:pt idx="288">
                  <c:v>9</c:v>
                </c:pt>
                <c:pt idx="289">
                  <c:v>8.5</c:v>
                </c:pt>
                <c:pt idx="290">
                  <c:v>8.1999999999999993</c:v>
                </c:pt>
                <c:pt idx="291">
                  <c:v>7.8469999999999995</c:v>
                </c:pt>
                <c:pt idx="292">
                  <c:v>7.5</c:v>
                </c:pt>
                <c:pt idx="293">
                  <c:v>7.492</c:v>
                </c:pt>
                <c:pt idx="294">
                  <c:v>7.81</c:v>
                </c:pt>
                <c:pt idx="295">
                  <c:v>8.2219999999999995</c:v>
                </c:pt>
                <c:pt idx="296">
                  <c:v>8.5259999999999998</c:v>
                </c:pt>
                <c:pt idx="297">
                  <c:v>7.5110000000000001</c:v>
                </c:pt>
                <c:pt idx="298">
                  <c:v>7.4209999999999994</c:v>
                </c:pt>
                <c:pt idx="299">
                  <c:v>7.2720000000000002</c:v>
                </c:pt>
                <c:pt idx="300">
                  <c:v>7.0349999999999993</c:v>
                </c:pt>
                <c:pt idx="301">
                  <c:v>6.367</c:v>
                </c:pt>
                <c:pt idx="302">
                  <c:v>6.7909999999999995</c:v>
                </c:pt>
                <c:pt idx="303">
                  <c:v>6.8609999999999998</c:v>
                </c:pt>
                <c:pt idx="304">
                  <c:v>7.0780000000000003</c:v>
                </c:pt>
                <c:pt idx="305">
                  <c:v>7.4219999999999997</c:v>
                </c:pt>
                <c:pt idx="306">
                  <c:v>7.5810000000000004</c:v>
                </c:pt>
                <c:pt idx="307">
                  <c:v>7.3819999999999997</c:v>
                </c:pt>
                <c:pt idx="308">
                  <c:v>7.306</c:v>
                </c:pt>
                <c:pt idx="309">
                  <c:v>7.0930000000000009</c:v>
                </c:pt>
                <c:pt idx="310">
                  <c:v>6.43</c:v>
                </c:pt>
                <c:pt idx="311">
                  <c:v>6.3159999999999998</c:v>
                </c:pt>
                <c:pt idx="312">
                  <c:v>6.4019999999999992</c:v>
                </c:pt>
                <c:pt idx="313">
                  <c:v>6.2110000000000003</c:v>
                </c:pt>
                <c:pt idx="314">
                  <c:v>6.2930000000000001</c:v>
                </c:pt>
                <c:pt idx="315">
                  <c:v>6.4010000000000007</c:v>
                </c:pt>
                <c:pt idx="316">
                  <c:v>6.4670000000000005</c:v>
                </c:pt>
                <c:pt idx="317">
                  <c:v>6.5200000000000005</c:v>
                </c:pt>
                <c:pt idx="318">
                  <c:v>6.7309999999999999</c:v>
                </c:pt>
                <c:pt idx="319">
                  <c:v>7.1659999999999995</c:v>
                </c:pt>
                <c:pt idx="320">
                  <c:v>7.6739999999999995</c:v>
                </c:pt>
                <c:pt idx="321">
                  <c:v>8.1140000000000008</c:v>
                </c:pt>
                <c:pt idx="322">
                  <c:v>8.0629999999999988</c:v>
                </c:pt>
                <c:pt idx="323">
                  <c:v>8.1840000000000011</c:v>
                </c:pt>
                <c:pt idx="324">
                  <c:v>8.0389999999999997</c:v>
                </c:pt>
                <c:pt idx="325">
                  <c:v>7.7040000000000006</c:v>
                </c:pt>
                <c:pt idx="326">
                  <c:v>7.9150000000000009</c:v>
                </c:pt>
                <c:pt idx="327">
                  <c:v>8.2319999999999993</c:v>
                </c:pt>
                <c:pt idx="328">
                  <c:v>8.6620000000000008</c:v>
                </c:pt>
                <c:pt idx="329">
                  <c:v>9.1859999999999999</c:v>
                </c:pt>
                <c:pt idx="330">
                  <c:v>9.6969999999999992</c:v>
                </c:pt>
                <c:pt idx="331">
                  <c:v>8.891</c:v>
                </c:pt>
                <c:pt idx="332">
                  <c:v>8.1</c:v>
                </c:pt>
                <c:pt idx="333">
                  <c:v>7.8599999999999994</c:v>
                </c:pt>
                <c:pt idx="334">
                  <c:v>7.5389999999999997</c:v>
                </c:pt>
                <c:pt idx="335">
                  <c:v>6.7189999999999994</c:v>
                </c:pt>
                <c:pt idx="336">
                  <c:v>6.7900000000000009</c:v>
                </c:pt>
                <c:pt idx="337">
                  <c:v>6.5</c:v>
                </c:pt>
                <c:pt idx="338">
                  <c:v>6.3940000000000001</c:v>
                </c:pt>
                <c:pt idx="339">
                  <c:v>6.2039999999999997</c:v>
                </c:pt>
                <c:pt idx="340">
                  <c:v>6.2039999999999997</c:v>
                </c:pt>
                <c:pt idx="341">
                  <c:v>6.9249999999999998</c:v>
                </c:pt>
                <c:pt idx="342">
                  <c:v>7.9950000000000001</c:v>
                </c:pt>
                <c:pt idx="343">
                  <c:v>8.3840000000000003</c:v>
                </c:pt>
                <c:pt idx="344">
                  <c:v>9.93</c:v>
                </c:pt>
                <c:pt idx="345">
                  <c:v>10.029</c:v>
                </c:pt>
                <c:pt idx="346">
                  <c:v>9.4879999999999995</c:v>
                </c:pt>
                <c:pt idx="347">
                  <c:v>9.0259999999999998</c:v>
                </c:pt>
                <c:pt idx="348">
                  <c:v>8.3859999999999992</c:v>
                </c:pt>
                <c:pt idx="349">
                  <c:v>8.2149999999999999</c:v>
                </c:pt>
                <c:pt idx="350">
                  <c:v>8.4499999999999993</c:v>
                </c:pt>
                <c:pt idx="351">
                  <c:v>8.9439999999999991</c:v>
                </c:pt>
                <c:pt idx="352">
                  <c:v>9.7519999999999989</c:v>
                </c:pt>
                <c:pt idx="353">
                  <c:v>10.645999999999999</c:v>
                </c:pt>
                <c:pt idx="354">
                  <c:v>11.28</c:v>
                </c:pt>
                <c:pt idx="355">
                  <c:v>11.038</c:v>
                </c:pt>
                <c:pt idx="356">
                  <c:v>10.242000000000001</c:v>
                </c:pt>
                <c:pt idx="357">
                  <c:v>9.1780000000000008</c:v>
                </c:pt>
                <c:pt idx="358">
                  <c:v>8.9489999999999998</c:v>
                </c:pt>
                <c:pt idx="359">
                  <c:v>8.6430000000000007</c:v>
                </c:pt>
                <c:pt idx="360">
                  <c:v>8.1449999999999996</c:v>
                </c:pt>
                <c:pt idx="361">
                  <c:v>8.1069999999999993</c:v>
                </c:pt>
                <c:pt idx="362">
                  <c:v>7.992</c:v>
                </c:pt>
                <c:pt idx="363">
                  <c:v>7.819</c:v>
                </c:pt>
                <c:pt idx="364">
                  <c:v>7.6970000000000001</c:v>
                </c:pt>
                <c:pt idx="365">
                  <c:v>8.1449999999999996</c:v>
                </c:pt>
                <c:pt idx="366">
                  <c:v>9.407</c:v>
                </c:pt>
                <c:pt idx="367">
                  <c:v>11.477</c:v>
                </c:pt>
                <c:pt idx="368">
                  <c:v>14.411000000000001</c:v>
                </c:pt>
                <c:pt idx="369">
                  <c:v>13.86</c:v>
                </c:pt>
                <c:pt idx="370">
                  <c:v>12.2</c:v>
                </c:pt>
                <c:pt idx="371">
                  <c:v>11</c:v>
                </c:pt>
                <c:pt idx="372">
                  <c:v>10.343</c:v>
                </c:pt>
                <c:pt idx="373">
                  <c:v>9.4980000000000011</c:v>
                </c:pt>
                <c:pt idx="374">
                  <c:v>9.6</c:v>
                </c:pt>
                <c:pt idx="375">
                  <c:v>11.025</c:v>
                </c:pt>
                <c:pt idx="376">
                  <c:v>11.138999999999999</c:v>
                </c:pt>
                <c:pt idx="377">
                  <c:v>12.815000000000001</c:v>
                </c:pt>
                <c:pt idx="378">
                  <c:v>12.731</c:v>
                </c:pt>
                <c:pt idx="379">
                  <c:v>11.177</c:v>
                </c:pt>
                <c:pt idx="380">
                  <c:v>9.5489999999999995</c:v>
                </c:pt>
                <c:pt idx="381">
                  <c:v>8.6209999999999987</c:v>
                </c:pt>
                <c:pt idx="382">
                  <c:v>8.2040000000000006</c:v>
                </c:pt>
                <c:pt idx="383">
                  <c:v>7.7690000000000001</c:v>
                </c:pt>
                <c:pt idx="384">
                  <c:v>7.1609999999999996</c:v>
                </c:pt>
                <c:pt idx="385">
                  <c:v>7.1519999999999992</c:v>
                </c:pt>
                <c:pt idx="386">
                  <c:v>7.069</c:v>
                </c:pt>
                <c:pt idx="387">
                  <c:v>6.9739999999999993</c:v>
                </c:pt>
                <c:pt idx="388">
                  <c:v>6.9470000000000001</c:v>
                </c:pt>
                <c:pt idx="389">
                  <c:v>7.1059999999999999</c:v>
                </c:pt>
                <c:pt idx="390">
                  <c:v>7.5090000000000003</c:v>
                </c:pt>
                <c:pt idx="391">
                  <c:v>8.4390000000000001</c:v>
                </c:pt>
                <c:pt idx="392">
                  <c:v>9.65</c:v>
                </c:pt>
                <c:pt idx="393">
                  <c:v>10.616</c:v>
                </c:pt>
                <c:pt idx="394">
                  <c:v>11.032999999999999</c:v>
                </c:pt>
                <c:pt idx="395">
                  <c:v>11.11</c:v>
                </c:pt>
                <c:pt idx="396">
                  <c:v>11.770999999999999</c:v>
                </c:pt>
                <c:pt idx="397">
                  <c:v>12.17</c:v>
                </c:pt>
                <c:pt idx="398">
                  <c:v>12.173999999999999</c:v>
                </c:pt>
                <c:pt idx="399">
                  <c:v>12.545999999999999</c:v>
                </c:pt>
                <c:pt idx="400">
                  <c:v>12.856</c:v>
                </c:pt>
                <c:pt idx="401">
                  <c:v>14.052000000000001</c:v>
                </c:pt>
                <c:pt idx="402">
                  <c:v>12.359</c:v>
                </c:pt>
                <c:pt idx="403">
                  <c:v>11.428000000000001</c:v>
                </c:pt>
                <c:pt idx="404">
                  <c:v>10.98</c:v>
                </c:pt>
                <c:pt idx="405">
                  <c:v>10.109</c:v>
                </c:pt>
                <c:pt idx="406">
                  <c:v>9.4280000000000008</c:v>
                </c:pt>
                <c:pt idx="407">
                  <c:v>8.4169999999999998</c:v>
                </c:pt>
                <c:pt idx="408">
                  <c:v>8.1329999999999991</c:v>
                </c:pt>
                <c:pt idx="409">
                  <c:v>7.7200000000000006</c:v>
                </c:pt>
                <c:pt idx="410">
                  <c:v>7.5290000000000008</c:v>
                </c:pt>
                <c:pt idx="411">
                  <c:v>7.4909999999999997</c:v>
                </c:pt>
                <c:pt idx="412">
                  <c:v>7.7569999999999997</c:v>
                </c:pt>
                <c:pt idx="413">
                  <c:v>8.1</c:v>
                </c:pt>
                <c:pt idx="414">
                  <c:v>9.1440000000000001</c:v>
                </c:pt>
                <c:pt idx="415">
                  <c:v>11.154999999999999</c:v>
                </c:pt>
                <c:pt idx="416">
                  <c:v>12.589</c:v>
                </c:pt>
                <c:pt idx="417">
                  <c:v>12.217000000000001</c:v>
                </c:pt>
                <c:pt idx="418">
                  <c:v>11.09</c:v>
                </c:pt>
                <c:pt idx="419">
                  <c:v>10.795</c:v>
                </c:pt>
                <c:pt idx="420">
                  <c:v>9.3550000000000004</c:v>
                </c:pt>
                <c:pt idx="421">
                  <c:v>8.7620000000000005</c:v>
                </c:pt>
                <c:pt idx="422">
                  <c:v>8.6430000000000007</c:v>
                </c:pt>
                <c:pt idx="423">
                  <c:v>9.4250000000000007</c:v>
                </c:pt>
                <c:pt idx="424">
                  <c:v>9.952</c:v>
                </c:pt>
                <c:pt idx="425">
                  <c:v>10.468</c:v>
                </c:pt>
                <c:pt idx="426">
                  <c:v>10.326000000000001</c:v>
                </c:pt>
                <c:pt idx="427">
                  <c:v>9.4529999999999994</c:v>
                </c:pt>
                <c:pt idx="428">
                  <c:v>8.6969999999999992</c:v>
                </c:pt>
                <c:pt idx="429">
                  <c:v>8.3120000000000012</c:v>
                </c:pt>
                <c:pt idx="430">
                  <c:v>8.093</c:v>
                </c:pt>
                <c:pt idx="431">
                  <c:v>7.3609999999999998</c:v>
                </c:pt>
                <c:pt idx="432">
                  <c:v>7.0579999999999998</c:v>
                </c:pt>
                <c:pt idx="433">
                  <c:v>6.6950000000000003</c:v>
                </c:pt>
                <c:pt idx="434">
                  <c:v>6.5629999999999997</c:v>
                </c:pt>
                <c:pt idx="435">
                  <c:v>6.2759999999999998</c:v>
                </c:pt>
                <c:pt idx="436">
                  <c:v>6.3319999999999999</c:v>
                </c:pt>
                <c:pt idx="437">
                  <c:v>6.7469999999999999</c:v>
                </c:pt>
                <c:pt idx="438">
                  <c:v>7.7939999999999996</c:v>
                </c:pt>
                <c:pt idx="439">
                  <c:v>8.7170000000000005</c:v>
                </c:pt>
                <c:pt idx="440">
                  <c:v>10.427</c:v>
                </c:pt>
                <c:pt idx="441">
                  <c:v>10.306000000000001</c:v>
                </c:pt>
                <c:pt idx="442">
                  <c:v>9.5150000000000006</c:v>
                </c:pt>
                <c:pt idx="443">
                  <c:v>8.6359999999999992</c:v>
                </c:pt>
                <c:pt idx="444">
                  <c:v>7.6829999999999998</c:v>
                </c:pt>
                <c:pt idx="445">
                  <c:v>7.3349999999999991</c:v>
                </c:pt>
                <c:pt idx="446">
                  <c:v>7.520999999999999</c:v>
                </c:pt>
                <c:pt idx="447">
                  <c:v>7.7450000000000001</c:v>
                </c:pt>
                <c:pt idx="448">
                  <c:v>8.4689999999999994</c:v>
                </c:pt>
                <c:pt idx="449">
                  <c:v>9.36</c:v>
                </c:pt>
                <c:pt idx="450">
                  <c:v>9.17</c:v>
                </c:pt>
                <c:pt idx="451">
                  <c:v>8.2230000000000008</c:v>
                </c:pt>
                <c:pt idx="452">
                  <c:v>7.4</c:v>
                </c:pt>
                <c:pt idx="453">
                  <c:v>7.1120000000000001</c:v>
                </c:pt>
                <c:pt idx="454">
                  <c:v>6.8639999999999999</c:v>
                </c:pt>
                <c:pt idx="455">
                  <c:v>6.4749999999999996</c:v>
                </c:pt>
                <c:pt idx="456">
                  <c:v>6.6</c:v>
                </c:pt>
                <c:pt idx="457">
                  <c:v>6.3450000000000006</c:v>
                </c:pt>
                <c:pt idx="458">
                  <c:v>6.3540000000000001</c:v>
                </c:pt>
                <c:pt idx="459">
                  <c:v>6.1820000000000004</c:v>
                </c:pt>
                <c:pt idx="460">
                  <c:v>6.1850000000000005</c:v>
                </c:pt>
                <c:pt idx="461">
                  <c:v>6.1749999999999998</c:v>
                </c:pt>
                <c:pt idx="462">
                  <c:v>6.2590000000000003</c:v>
                </c:pt>
                <c:pt idx="463">
                  <c:v>6.69</c:v>
                </c:pt>
                <c:pt idx="464">
                  <c:v>7.4819999999999993</c:v>
                </c:pt>
                <c:pt idx="465">
                  <c:v>7.7900000000000009</c:v>
                </c:pt>
                <c:pt idx="466">
                  <c:v>7.18</c:v>
                </c:pt>
                <c:pt idx="467">
                  <c:v>7.077</c:v>
                </c:pt>
                <c:pt idx="468">
                  <c:v>6.7730000000000006</c:v>
                </c:pt>
                <c:pt idx="469">
                  <c:v>6.8780000000000001</c:v>
                </c:pt>
                <c:pt idx="470">
                  <c:v>7.3390000000000004</c:v>
                </c:pt>
                <c:pt idx="471">
                  <c:v>7.9109999999999996</c:v>
                </c:pt>
                <c:pt idx="472">
                  <c:v>8.7799999999999994</c:v>
                </c:pt>
                <c:pt idx="473">
                  <c:v>9.4930000000000003</c:v>
                </c:pt>
                <c:pt idx="474">
                  <c:v>9.9870000000000001</c:v>
                </c:pt>
                <c:pt idx="475">
                  <c:v>9.157</c:v>
                </c:pt>
                <c:pt idx="476">
                  <c:v>8.1969999999999992</c:v>
                </c:pt>
                <c:pt idx="477">
                  <c:v>7.5739999999999998</c:v>
                </c:pt>
                <c:pt idx="478">
                  <c:v>7.4680000000000009</c:v>
                </c:pt>
                <c:pt idx="479">
                  <c:v>6.9129999999999994</c:v>
                </c:pt>
                <c:pt idx="480">
                  <c:v>6.6829999999999998</c:v>
                </c:pt>
                <c:pt idx="481">
                  <c:v>5.7549999999999999</c:v>
                </c:pt>
                <c:pt idx="482">
                  <c:v>5.5149999999999997</c:v>
                </c:pt>
                <c:pt idx="483">
                  <c:v>5.0890000000000004</c:v>
                </c:pt>
                <c:pt idx="484">
                  <c:v>4.851</c:v>
                </c:pt>
                <c:pt idx="485">
                  <c:v>4.7450000000000001</c:v>
                </c:pt>
                <c:pt idx="486">
                  <c:v>4.5529999999999999</c:v>
                </c:pt>
                <c:pt idx="487">
                  <c:v>4.3959999999999999</c:v>
                </c:pt>
                <c:pt idx="488">
                  <c:v>5.1360000000000001</c:v>
                </c:pt>
                <c:pt idx="489">
                  <c:v>5.4359999999999999</c:v>
                </c:pt>
                <c:pt idx="490">
                  <c:v>4.6059999999999999</c:v>
                </c:pt>
                <c:pt idx="491">
                  <c:v>4.867</c:v>
                </c:pt>
                <c:pt idx="492">
                  <c:v>3.8479999999999999</c:v>
                </c:pt>
                <c:pt idx="493">
                  <c:v>3.7689999999999997</c:v>
                </c:pt>
                <c:pt idx="494">
                  <c:v>4.43</c:v>
                </c:pt>
                <c:pt idx="495">
                  <c:v>4.9039999999999999</c:v>
                </c:pt>
                <c:pt idx="496">
                  <c:v>4.9829999999999997</c:v>
                </c:pt>
                <c:pt idx="497">
                  <c:v>5.665</c:v>
                </c:pt>
                <c:pt idx="498">
                  <c:v>6.1450000000000005</c:v>
                </c:pt>
                <c:pt idx="499">
                  <c:v>5.8639999999999999</c:v>
                </c:pt>
                <c:pt idx="500">
                  <c:v>5.15</c:v>
                </c:pt>
                <c:pt idx="501">
                  <c:v>5.2460000000000004</c:v>
                </c:pt>
                <c:pt idx="502">
                  <c:v>5.0389999999999997</c:v>
                </c:pt>
                <c:pt idx="503">
                  <c:v>3.9460000000000002</c:v>
                </c:pt>
                <c:pt idx="504">
                  <c:v>3.6659999999999995</c:v>
                </c:pt>
                <c:pt idx="505">
                  <c:v>2.2239999999999998</c:v>
                </c:pt>
                <c:pt idx="506">
                  <c:v>1.8620000000000001</c:v>
                </c:pt>
                <c:pt idx="507">
                  <c:v>0.504</c:v>
                </c:pt>
                <c:pt idx="508">
                  <c:v>0.50600000000000001</c:v>
                </c:pt>
                <c:pt idx="509">
                  <c:v>2</c:v>
                </c:pt>
                <c:pt idx="510">
                  <c:v>4.05</c:v>
                </c:pt>
                <c:pt idx="511">
                  <c:v>6.0469999999999997</c:v>
                </c:pt>
                <c:pt idx="512">
                  <c:v>6.6480000000000006</c:v>
                </c:pt>
                <c:pt idx="513">
                  <c:v>5.758</c:v>
                </c:pt>
                <c:pt idx="514">
                  <c:v>6.1549999999999994</c:v>
                </c:pt>
                <c:pt idx="515">
                  <c:v>6.0600000000000005</c:v>
                </c:pt>
                <c:pt idx="516">
                  <c:v>5.6920000000000002</c:v>
                </c:pt>
                <c:pt idx="517">
                  <c:v>5.6719999999999997</c:v>
                </c:pt>
                <c:pt idx="518">
                  <c:v>5.8229999999999995</c:v>
                </c:pt>
                <c:pt idx="519">
                  <c:v>5.9729999999999999</c:v>
                </c:pt>
                <c:pt idx="520">
                  <c:v>5.9990000000000006</c:v>
                </c:pt>
                <c:pt idx="521">
                  <c:v>7.0939999999999994</c:v>
                </c:pt>
                <c:pt idx="522">
                  <c:v>7.7349999999999994</c:v>
                </c:pt>
                <c:pt idx="523">
                  <c:v>7.1989999999999998</c:v>
                </c:pt>
                <c:pt idx="524">
                  <c:v>6.6650000000000009</c:v>
                </c:pt>
                <c:pt idx="525">
                  <c:v>5.7</c:v>
                </c:pt>
                <c:pt idx="526">
                  <c:v>5.5890000000000004</c:v>
                </c:pt>
                <c:pt idx="527">
                  <c:v>4.9880000000000004</c:v>
                </c:pt>
                <c:pt idx="528">
                  <c:v>1.623</c:v>
                </c:pt>
                <c:pt idx="529">
                  <c:v>1.01</c:v>
                </c:pt>
                <c:pt idx="530">
                  <c:v>0.93699999999999994</c:v>
                </c:pt>
                <c:pt idx="531">
                  <c:v>0.41699999999999998</c:v>
                </c:pt>
                <c:pt idx="532">
                  <c:v>1.022</c:v>
                </c:pt>
                <c:pt idx="533">
                  <c:v>3.9229999999999996</c:v>
                </c:pt>
                <c:pt idx="534">
                  <c:v>5.976</c:v>
                </c:pt>
                <c:pt idx="535">
                  <c:v>7.6420000000000003</c:v>
                </c:pt>
                <c:pt idx="536">
                  <c:v>6.9819999999999993</c:v>
                </c:pt>
                <c:pt idx="537">
                  <c:v>6.9930000000000003</c:v>
                </c:pt>
                <c:pt idx="538">
                  <c:v>5.9969999999999999</c:v>
                </c:pt>
                <c:pt idx="539">
                  <c:v>5.9799999999999995</c:v>
                </c:pt>
                <c:pt idx="540">
                  <c:v>5.9139999999999997</c:v>
                </c:pt>
                <c:pt idx="541">
                  <c:v>5.9429999999999996</c:v>
                </c:pt>
                <c:pt idx="542">
                  <c:v>6.2700000000000005</c:v>
                </c:pt>
                <c:pt idx="543">
                  <c:v>7.4629999999999992</c:v>
                </c:pt>
                <c:pt idx="544">
                  <c:v>7.8950000000000005</c:v>
                </c:pt>
                <c:pt idx="545">
                  <c:v>8.1590000000000007</c:v>
                </c:pt>
                <c:pt idx="546">
                  <c:v>8.4510000000000005</c:v>
                </c:pt>
                <c:pt idx="547">
                  <c:v>7.4550000000000001</c:v>
                </c:pt>
                <c:pt idx="548">
                  <c:v>6.1950000000000003</c:v>
                </c:pt>
                <c:pt idx="549">
                  <c:v>5.3740000000000006</c:v>
                </c:pt>
                <c:pt idx="550">
                  <c:v>4.5359999999999996</c:v>
                </c:pt>
                <c:pt idx="551">
                  <c:v>3.3259999999999996</c:v>
                </c:pt>
                <c:pt idx="552">
                  <c:v>0.30499999999999999</c:v>
                </c:pt>
                <c:pt idx="553">
                  <c:v>-3.0000000000000001E-3</c:v>
                </c:pt>
                <c:pt idx="554">
                  <c:v>-6.4000000000000001E-2</c:v>
                </c:pt>
                <c:pt idx="555">
                  <c:v>-0.441</c:v>
                </c:pt>
                <c:pt idx="556">
                  <c:v>-0.48399999999999999</c:v>
                </c:pt>
                <c:pt idx="557">
                  <c:v>-1.7999999999999999E-2</c:v>
                </c:pt>
                <c:pt idx="558">
                  <c:v>1.476</c:v>
                </c:pt>
                <c:pt idx="559">
                  <c:v>4.2090000000000005</c:v>
                </c:pt>
                <c:pt idx="560">
                  <c:v>5.1579999999999995</c:v>
                </c:pt>
                <c:pt idx="561">
                  <c:v>5.0759999999999996</c:v>
                </c:pt>
                <c:pt idx="562">
                  <c:v>5.01</c:v>
                </c:pt>
                <c:pt idx="563">
                  <c:v>5.0780000000000003</c:v>
                </c:pt>
                <c:pt idx="564">
                  <c:v>3.9319999999999999</c:v>
                </c:pt>
                <c:pt idx="565">
                  <c:v>3.6439999999999997</c:v>
                </c:pt>
                <c:pt idx="566">
                  <c:v>4.5039999999999996</c:v>
                </c:pt>
                <c:pt idx="567">
                  <c:v>4.9950000000000001</c:v>
                </c:pt>
                <c:pt idx="568">
                  <c:v>5.08</c:v>
                </c:pt>
                <c:pt idx="569">
                  <c:v>5.4210000000000003</c:v>
                </c:pt>
                <c:pt idx="570">
                  <c:v>5.3319999999999999</c:v>
                </c:pt>
                <c:pt idx="571">
                  <c:v>5.0090000000000003</c:v>
                </c:pt>
                <c:pt idx="572">
                  <c:v>4.218</c:v>
                </c:pt>
                <c:pt idx="573">
                  <c:v>4.0039999999999996</c:v>
                </c:pt>
                <c:pt idx="574">
                  <c:v>4.2009999999999996</c:v>
                </c:pt>
                <c:pt idx="575">
                  <c:v>3.8530000000000002</c:v>
                </c:pt>
                <c:pt idx="576">
                  <c:v>4.4340000000000002</c:v>
                </c:pt>
                <c:pt idx="577">
                  <c:v>4.5060000000000002</c:v>
                </c:pt>
                <c:pt idx="578">
                  <c:v>4.3340000000000005</c:v>
                </c:pt>
                <c:pt idx="579">
                  <c:v>4.492</c:v>
                </c:pt>
                <c:pt idx="580">
                  <c:v>4.6219999999999999</c:v>
                </c:pt>
                <c:pt idx="581">
                  <c:v>5.2380000000000004</c:v>
                </c:pt>
                <c:pt idx="582">
                  <c:v>6.9099999999999993</c:v>
                </c:pt>
                <c:pt idx="583">
                  <c:v>7.7650000000000006</c:v>
                </c:pt>
                <c:pt idx="584">
                  <c:v>9.1870000000000012</c:v>
                </c:pt>
                <c:pt idx="585">
                  <c:v>8.7970000000000006</c:v>
                </c:pt>
                <c:pt idx="586">
                  <c:v>8.3949999999999996</c:v>
                </c:pt>
                <c:pt idx="587">
                  <c:v>7.8659999999999997</c:v>
                </c:pt>
                <c:pt idx="588">
                  <c:v>7.4950000000000001</c:v>
                </c:pt>
                <c:pt idx="589">
                  <c:v>7.7859999999999996</c:v>
                </c:pt>
                <c:pt idx="590">
                  <c:v>8.706999999999999</c:v>
                </c:pt>
                <c:pt idx="591">
                  <c:v>9.391</c:v>
                </c:pt>
                <c:pt idx="592">
                  <c:v>10.245999999999999</c:v>
                </c:pt>
                <c:pt idx="593">
                  <c:v>12.337999999999999</c:v>
                </c:pt>
                <c:pt idx="594">
                  <c:v>11.554</c:v>
                </c:pt>
                <c:pt idx="595">
                  <c:v>9.8790000000000013</c:v>
                </c:pt>
                <c:pt idx="596">
                  <c:v>9.1069999999999993</c:v>
                </c:pt>
                <c:pt idx="597">
                  <c:v>8.6310000000000002</c:v>
                </c:pt>
                <c:pt idx="598">
                  <c:v>8.043000000000001</c:v>
                </c:pt>
                <c:pt idx="599">
                  <c:v>7.516</c:v>
                </c:pt>
                <c:pt idx="600">
                  <c:v>6.2799999999999994</c:v>
                </c:pt>
                <c:pt idx="601">
                  <c:v>6.2</c:v>
                </c:pt>
                <c:pt idx="602">
                  <c:v>5.8490000000000002</c:v>
                </c:pt>
                <c:pt idx="603">
                  <c:v>5.7729999999999997</c:v>
                </c:pt>
                <c:pt idx="604">
                  <c:v>5.7069999999999999</c:v>
                </c:pt>
                <c:pt idx="605">
                  <c:v>5.2159999999999993</c:v>
                </c:pt>
                <c:pt idx="606">
                  <c:v>5.9369999999999994</c:v>
                </c:pt>
                <c:pt idx="607">
                  <c:v>7.1120000000000001</c:v>
                </c:pt>
                <c:pt idx="608">
                  <c:v>7.6590000000000007</c:v>
                </c:pt>
                <c:pt idx="609">
                  <c:v>7.0579999999999998</c:v>
                </c:pt>
                <c:pt idx="610">
                  <c:v>6.1609999999999996</c:v>
                </c:pt>
                <c:pt idx="611">
                  <c:v>5.9139999999999997</c:v>
                </c:pt>
                <c:pt idx="612">
                  <c:v>5.2279999999999998</c:v>
                </c:pt>
                <c:pt idx="613">
                  <c:v>4.6470000000000002</c:v>
                </c:pt>
                <c:pt idx="614">
                  <c:v>4.9279999999999999</c:v>
                </c:pt>
                <c:pt idx="615">
                  <c:v>5.0110000000000001</c:v>
                </c:pt>
                <c:pt idx="616">
                  <c:v>5.274</c:v>
                </c:pt>
                <c:pt idx="617">
                  <c:v>6.07</c:v>
                </c:pt>
                <c:pt idx="618">
                  <c:v>5.875</c:v>
                </c:pt>
                <c:pt idx="619">
                  <c:v>6.4959999999999996</c:v>
                </c:pt>
                <c:pt idx="620">
                  <c:v>5.8780000000000001</c:v>
                </c:pt>
                <c:pt idx="621">
                  <c:v>6.202</c:v>
                </c:pt>
                <c:pt idx="622">
                  <c:v>5.9580000000000002</c:v>
                </c:pt>
                <c:pt idx="623">
                  <c:v>5.7080000000000002</c:v>
                </c:pt>
                <c:pt idx="624">
                  <c:v>5.55</c:v>
                </c:pt>
                <c:pt idx="625">
                  <c:v>5.5030000000000001</c:v>
                </c:pt>
                <c:pt idx="626">
                  <c:v>5.6210000000000004</c:v>
                </c:pt>
                <c:pt idx="627">
                  <c:v>5.5049999999999999</c:v>
                </c:pt>
                <c:pt idx="628">
                  <c:v>5.5739999999999998</c:v>
                </c:pt>
                <c:pt idx="629">
                  <c:v>5.6829999999999998</c:v>
                </c:pt>
                <c:pt idx="630">
                  <c:v>5.907</c:v>
                </c:pt>
                <c:pt idx="631">
                  <c:v>6.5909999999999993</c:v>
                </c:pt>
                <c:pt idx="632">
                  <c:v>7.5290000000000008</c:v>
                </c:pt>
                <c:pt idx="633">
                  <c:v>7.2560000000000002</c:v>
                </c:pt>
                <c:pt idx="634">
                  <c:v>6.0060000000000002</c:v>
                </c:pt>
                <c:pt idx="635">
                  <c:v>5.6609999999999996</c:v>
                </c:pt>
                <c:pt idx="636">
                  <c:v>5.5840000000000005</c:v>
                </c:pt>
                <c:pt idx="637">
                  <c:v>5.3879999999999999</c:v>
                </c:pt>
                <c:pt idx="638">
                  <c:v>5.9719999999999995</c:v>
                </c:pt>
                <c:pt idx="639">
                  <c:v>7.2439999999999998</c:v>
                </c:pt>
                <c:pt idx="640">
                  <c:v>8.3620000000000001</c:v>
                </c:pt>
                <c:pt idx="641">
                  <c:v>9.3369999999999997</c:v>
                </c:pt>
                <c:pt idx="642">
                  <c:v>9.5950000000000006</c:v>
                </c:pt>
                <c:pt idx="643">
                  <c:v>9.2530000000000001</c:v>
                </c:pt>
                <c:pt idx="644">
                  <c:v>8.4420000000000002</c:v>
                </c:pt>
                <c:pt idx="645">
                  <c:v>7.6069999999999993</c:v>
                </c:pt>
                <c:pt idx="646">
                  <c:v>7.5969999999999995</c:v>
                </c:pt>
                <c:pt idx="647">
                  <c:v>7.2700000000000005</c:v>
                </c:pt>
                <c:pt idx="648">
                  <c:v>6.6769999999999996</c:v>
                </c:pt>
                <c:pt idx="649">
                  <c:v>6.0920000000000005</c:v>
                </c:pt>
                <c:pt idx="650">
                  <c:v>5.9649999999999999</c:v>
                </c:pt>
                <c:pt idx="651">
                  <c:v>5.9939999999999998</c:v>
                </c:pt>
                <c:pt idx="652">
                  <c:v>6.14</c:v>
                </c:pt>
                <c:pt idx="653">
                  <c:v>6.4109999999999996</c:v>
                </c:pt>
                <c:pt idx="654">
                  <c:v>6.0529999999999999</c:v>
                </c:pt>
                <c:pt idx="655">
                  <c:v>5.9640000000000004</c:v>
                </c:pt>
                <c:pt idx="656">
                  <c:v>5.9630000000000001</c:v>
                </c:pt>
                <c:pt idx="657">
                  <c:v>5.508</c:v>
                </c:pt>
                <c:pt idx="658">
                  <c:v>5.1159999999999997</c:v>
                </c:pt>
                <c:pt idx="659">
                  <c:v>4.5750000000000002</c:v>
                </c:pt>
                <c:pt idx="660">
                  <c:v>4.1579999999999995</c:v>
                </c:pt>
                <c:pt idx="661">
                  <c:v>4.0090000000000003</c:v>
                </c:pt>
                <c:pt idx="662">
                  <c:v>5.0649999999999995</c:v>
                </c:pt>
                <c:pt idx="663">
                  <c:v>5.641</c:v>
                </c:pt>
                <c:pt idx="664">
                  <c:v>6.8870000000000005</c:v>
                </c:pt>
                <c:pt idx="665">
                  <c:v>7.7840000000000007</c:v>
                </c:pt>
                <c:pt idx="666">
                  <c:v>7.1930000000000005</c:v>
                </c:pt>
                <c:pt idx="667">
                  <c:v>6.9879999999999995</c:v>
                </c:pt>
                <c:pt idx="668">
                  <c:v>6.8250000000000002</c:v>
                </c:pt>
                <c:pt idx="669">
                  <c:v>5.7170000000000005</c:v>
                </c:pt>
                <c:pt idx="670">
                  <c:v>5.9429999999999996</c:v>
                </c:pt>
                <c:pt idx="671">
                  <c:v>5.6</c:v>
                </c:pt>
                <c:pt idx="672">
                  <c:v>4.9969999999999999</c:v>
                </c:pt>
                <c:pt idx="673">
                  <c:v>4.726</c:v>
                </c:pt>
                <c:pt idx="674">
                  <c:v>4.8119999999999994</c:v>
                </c:pt>
                <c:pt idx="675">
                  <c:v>4.7969999999999997</c:v>
                </c:pt>
                <c:pt idx="676">
                  <c:v>5.1579999999999995</c:v>
                </c:pt>
                <c:pt idx="677">
                  <c:v>6.0060000000000002</c:v>
                </c:pt>
                <c:pt idx="678">
                  <c:v>8</c:v>
                </c:pt>
                <c:pt idx="679">
                  <c:v>9.3569999999999993</c:v>
                </c:pt>
                <c:pt idx="680">
                  <c:v>9.9169999999999998</c:v>
                </c:pt>
                <c:pt idx="681">
                  <c:v>8.8390000000000004</c:v>
                </c:pt>
                <c:pt idx="682">
                  <c:v>7.8900000000000006</c:v>
                </c:pt>
                <c:pt idx="683">
                  <c:v>7.1269999999999998</c:v>
                </c:pt>
                <c:pt idx="684">
                  <c:v>7.0239999999999991</c:v>
                </c:pt>
                <c:pt idx="685">
                  <c:v>7.4989999999999997</c:v>
                </c:pt>
                <c:pt idx="686">
                  <c:v>8.254999999999999</c:v>
                </c:pt>
                <c:pt idx="687">
                  <c:v>9.76</c:v>
                </c:pt>
                <c:pt idx="688">
                  <c:v>10.843</c:v>
                </c:pt>
                <c:pt idx="689">
                  <c:v>12.742000000000001</c:v>
                </c:pt>
                <c:pt idx="690">
                  <c:v>11.73</c:v>
                </c:pt>
                <c:pt idx="691">
                  <c:v>10.751999999999999</c:v>
                </c:pt>
                <c:pt idx="692">
                  <c:v>9.1980000000000004</c:v>
                </c:pt>
                <c:pt idx="693">
                  <c:v>8.6790000000000003</c:v>
                </c:pt>
                <c:pt idx="694">
                  <c:v>8.3420000000000005</c:v>
                </c:pt>
                <c:pt idx="695">
                  <c:v>8.0289999999999999</c:v>
                </c:pt>
                <c:pt idx="696">
                  <c:v>7.194</c:v>
                </c:pt>
                <c:pt idx="697">
                  <c:v>6.8790000000000004</c:v>
                </c:pt>
                <c:pt idx="698">
                  <c:v>6.9370000000000003</c:v>
                </c:pt>
                <c:pt idx="699">
                  <c:v>6.7439999999999998</c:v>
                </c:pt>
                <c:pt idx="700">
                  <c:v>6.7180000000000009</c:v>
                </c:pt>
                <c:pt idx="701">
                  <c:v>6.9370000000000003</c:v>
                </c:pt>
                <c:pt idx="702">
                  <c:v>7.8430000000000009</c:v>
                </c:pt>
                <c:pt idx="703">
                  <c:v>9.0599999999999987</c:v>
                </c:pt>
                <c:pt idx="704">
                  <c:v>9.593</c:v>
                </c:pt>
                <c:pt idx="705">
                  <c:v>8.4930000000000003</c:v>
                </c:pt>
                <c:pt idx="706">
                  <c:v>7.7150000000000007</c:v>
                </c:pt>
                <c:pt idx="707">
                  <c:v>7.01</c:v>
                </c:pt>
                <c:pt idx="708">
                  <c:v>6.81</c:v>
                </c:pt>
                <c:pt idx="709">
                  <c:v>6.8230000000000004</c:v>
                </c:pt>
                <c:pt idx="710">
                  <c:v>7.1930000000000005</c:v>
                </c:pt>
                <c:pt idx="711">
                  <c:v>7.9489999999999998</c:v>
                </c:pt>
                <c:pt idx="712">
                  <c:v>8.2360000000000007</c:v>
                </c:pt>
                <c:pt idx="713">
                  <c:v>8.8170000000000002</c:v>
                </c:pt>
                <c:pt idx="714">
                  <c:v>9.923</c:v>
                </c:pt>
                <c:pt idx="715">
                  <c:v>9.1909999999999989</c:v>
                </c:pt>
                <c:pt idx="716">
                  <c:v>8.604000000000001</c:v>
                </c:pt>
                <c:pt idx="717">
                  <c:v>7.8</c:v>
                </c:pt>
                <c:pt idx="718">
                  <c:v>7.5010000000000003</c:v>
                </c:pt>
                <c:pt idx="719">
                  <c:v>7.1510000000000007</c:v>
                </c:pt>
                <c:pt idx="720">
                  <c:v>7.173</c:v>
                </c:pt>
                <c:pt idx="721">
                  <c:v>7.0190000000000001</c:v>
                </c:pt>
                <c:pt idx="722">
                  <c:v>7.0890000000000004</c:v>
                </c:pt>
                <c:pt idx="723">
                  <c:v>6.9819999999999993</c:v>
                </c:pt>
                <c:pt idx="724">
                  <c:v>6.9139999999999997</c:v>
                </c:pt>
                <c:pt idx="725">
                  <c:v>7.3819999999999997</c:v>
                </c:pt>
                <c:pt idx="726">
                  <c:v>8.4849999999999994</c:v>
                </c:pt>
                <c:pt idx="727">
                  <c:v>10.817</c:v>
                </c:pt>
                <c:pt idx="728">
                  <c:v>11.993</c:v>
                </c:pt>
                <c:pt idx="729">
                  <c:v>9.3610000000000007</c:v>
                </c:pt>
                <c:pt idx="730">
                  <c:v>8.298</c:v>
                </c:pt>
                <c:pt idx="731">
                  <c:v>7.7090000000000005</c:v>
                </c:pt>
                <c:pt idx="732">
                  <c:v>7.4909999999999997</c:v>
                </c:pt>
                <c:pt idx="733">
                  <c:v>6.766</c:v>
                </c:pt>
                <c:pt idx="734">
                  <c:v>6.6689999999999996</c:v>
                </c:pt>
                <c:pt idx="735">
                  <c:v>7.5870000000000006</c:v>
                </c:pt>
                <c:pt idx="736">
                  <c:v>8.1620000000000008</c:v>
                </c:pt>
                <c:pt idx="737">
                  <c:v>8.7910000000000004</c:v>
                </c:pt>
                <c:pt idx="738">
                  <c:v>8.6780000000000008</c:v>
                </c:pt>
                <c:pt idx="739">
                  <c:v>7.3650000000000002</c:v>
                </c:pt>
                <c:pt idx="740">
                  <c:v>6.6029999999999998</c:v>
                </c:pt>
                <c:pt idx="741">
                  <c:v>5.6959999999999997</c:v>
                </c:pt>
                <c:pt idx="742">
                  <c:v>5.4079999999999995</c:v>
                </c:pt>
                <c:pt idx="743">
                  <c:v>3.9729999999999999</c:v>
                </c:pt>
                <c:pt idx="744">
                  <c:v>4.7060000000000004</c:v>
                </c:pt>
                <c:pt idx="745">
                  <c:v>4.1120000000000001</c:v>
                </c:pt>
                <c:pt idx="746">
                  <c:v>4.2159999999999993</c:v>
                </c:pt>
                <c:pt idx="747">
                  <c:v>4.3049999999999997</c:v>
                </c:pt>
                <c:pt idx="748">
                  <c:v>4.6909999999999998</c:v>
                </c:pt>
                <c:pt idx="749">
                  <c:v>5.5340000000000007</c:v>
                </c:pt>
                <c:pt idx="750">
                  <c:v>6.9010000000000007</c:v>
                </c:pt>
                <c:pt idx="751">
                  <c:v>8.6120000000000001</c:v>
                </c:pt>
                <c:pt idx="752">
                  <c:v>9.25</c:v>
                </c:pt>
                <c:pt idx="753">
                  <c:v>8.6290000000000013</c:v>
                </c:pt>
                <c:pt idx="754">
                  <c:v>8.3670000000000009</c:v>
                </c:pt>
                <c:pt idx="755">
                  <c:v>7.7219999999999995</c:v>
                </c:pt>
                <c:pt idx="756">
                  <c:v>6.76</c:v>
                </c:pt>
                <c:pt idx="757">
                  <c:v>5.726</c:v>
                </c:pt>
                <c:pt idx="758">
                  <c:v>6.8739999999999997</c:v>
                </c:pt>
                <c:pt idx="759">
                  <c:v>7.5069999999999997</c:v>
                </c:pt>
                <c:pt idx="760">
                  <c:v>7.7050000000000001</c:v>
                </c:pt>
                <c:pt idx="761">
                  <c:v>9.1609999999999996</c:v>
                </c:pt>
                <c:pt idx="762">
                  <c:v>9.4670000000000005</c:v>
                </c:pt>
                <c:pt idx="763">
                  <c:v>9.7889999999999997</c:v>
                </c:pt>
                <c:pt idx="764">
                  <c:v>8.9969999999999999</c:v>
                </c:pt>
                <c:pt idx="765">
                  <c:v>8.3290000000000006</c:v>
                </c:pt>
                <c:pt idx="766">
                  <c:v>8.1879999999999988</c:v>
                </c:pt>
                <c:pt idx="767">
                  <c:v>7.3379999999999992</c:v>
                </c:pt>
                <c:pt idx="768">
                  <c:v>6.4269999999999996</c:v>
                </c:pt>
                <c:pt idx="769">
                  <c:v>5.9939999999999998</c:v>
                </c:pt>
                <c:pt idx="770">
                  <c:v>5.8</c:v>
                </c:pt>
                <c:pt idx="771">
                  <c:v>5.4689999999999994</c:v>
                </c:pt>
                <c:pt idx="772">
                  <c:v>5.3229999999999995</c:v>
                </c:pt>
                <c:pt idx="773">
                  <c:v>5.5069999999999997</c:v>
                </c:pt>
                <c:pt idx="774">
                  <c:v>6.694</c:v>
                </c:pt>
                <c:pt idx="775">
                  <c:v>7.6989999999999998</c:v>
                </c:pt>
                <c:pt idx="776">
                  <c:v>8.9319999999999986</c:v>
                </c:pt>
                <c:pt idx="777">
                  <c:v>8.59</c:v>
                </c:pt>
                <c:pt idx="778">
                  <c:v>8.077</c:v>
                </c:pt>
                <c:pt idx="779">
                  <c:v>7.5150000000000006</c:v>
                </c:pt>
                <c:pt idx="780">
                  <c:v>6.4799999999999995</c:v>
                </c:pt>
                <c:pt idx="781">
                  <c:v>5.6520000000000001</c:v>
                </c:pt>
                <c:pt idx="782">
                  <c:v>5.4829999999999997</c:v>
                </c:pt>
                <c:pt idx="783">
                  <c:v>5.3090000000000002</c:v>
                </c:pt>
                <c:pt idx="784">
                  <c:v>5.2729999999999997</c:v>
                </c:pt>
                <c:pt idx="785">
                  <c:v>5.85</c:v>
                </c:pt>
                <c:pt idx="786">
                  <c:v>6.8970000000000002</c:v>
                </c:pt>
                <c:pt idx="787">
                  <c:v>6.3340000000000005</c:v>
                </c:pt>
                <c:pt idx="788">
                  <c:v>5.5060000000000002</c:v>
                </c:pt>
                <c:pt idx="789">
                  <c:v>4.968</c:v>
                </c:pt>
                <c:pt idx="790">
                  <c:v>4.6029999999999998</c:v>
                </c:pt>
                <c:pt idx="791">
                  <c:v>3.6049999999999995</c:v>
                </c:pt>
                <c:pt idx="792">
                  <c:v>2.4739999999999998</c:v>
                </c:pt>
                <c:pt idx="793">
                  <c:v>1.2849999999999999</c:v>
                </c:pt>
                <c:pt idx="794">
                  <c:v>0.67300000000000004</c:v>
                </c:pt>
                <c:pt idx="795">
                  <c:v>1.0509999999999999</c:v>
                </c:pt>
                <c:pt idx="796">
                  <c:v>0.85299999999999998</c:v>
                </c:pt>
                <c:pt idx="797">
                  <c:v>0.88000000000000012</c:v>
                </c:pt>
                <c:pt idx="798">
                  <c:v>1.6480000000000001</c:v>
                </c:pt>
                <c:pt idx="799">
                  <c:v>3.4170000000000003</c:v>
                </c:pt>
                <c:pt idx="800">
                  <c:v>4.5990000000000002</c:v>
                </c:pt>
                <c:pt idx="801">
                  <c:v>4.5969999999999995</c:v>
                </c:pt>
                <c:pt idx="802">
                  <c:v>3.5619999999999998</c:v>
                </c:pt>
                <c:pt idx="803">
                  <c:v>3.0420000000000003</c:v>
                </c:pt>
                <c:pt idx="804">
                  <c:v>3.0579999999999998</c:v>
                </c:pt>
                <c:pt idx="805">
                  <c:v>3.0620000000000003</c:v>
                </c:pt>
                <c:pt idx="806">
                  <c:v>4.0739999999999998</c:v>
                </c:pt>
                <c:pt idx="807">
                  <c:v>4.37</c:v>
                </c:pt>
                <c:pt idx="808">
                  <c:v>4.9359999999999999</c:v>
                </c:pt>
                <c:pt idx="809">
                  <c:v>5.7829999999999995</c:v>
                </c:pt>
                <c:pt idx="810">
                  <c:v>6.8569999999999993</c:v>
                </c:pt>
                <c:pt idx="811">
                  <c:v>6.5980000000000008</c:v>
                </c:pt>
                <c:pt idx="812">
                  <c:v>5.4369999999999994</c:v>
                </c:pt>
                <c:pt idx="813">
                  <c:v>5.1210000000000004</c:v>
                </c:pt>
                <c:pt idx="814">
                  <c:v>5.0810000000000004</c:v>
                </c:pt>
                <c:pt idx="815">
                  <c:v>3.871</c:v>
                </c:pt>
                <c:pt idx="816">
                  <c:v>3.53</c:v>
                </c:pt>
                <c:pt idx="817">
                  <c:v>1.004</c:v>
                </c:pt>
                <c:pt idx="818">
                  <c:v>0.32300000000000001</c:v>
                </c:pt>
                <c:pt idx="819">
                  <c:v>6.8000000000000005E-2</c:v>
                </c:pt>
                <c:pt idx="820">
                  <c:v>0</c:v>
                </c:pt>
                <c:pt idx="821">
                  <c:v>0</c:v>
                </c:pt>
                <c:pt idx="822">
                  <c:v>0</c:v>
                </c:pt>
                <c:pt idx="823">
                  <c:v>0.10500000000000001</c:v>
                </c:pt>
                <c:pt idx="824">
                  <c:v>0.8869999999999999</c:v>
                </c:pt>
                <c:pt idx="825">
                  <c:v>0.98299999999999998</c:v>
                </c:pt>
                <c:pt idx="826">
                  <c:v>1.087</c:v>
                </c:pt>
                <c:pt idx="827">
                  <c:v>1.2810000000000001</c:v>
                </c:pt>
                <c:pt idx="828">
                  <c:v>1.3820000000000001</c:v>
                </c:pt>
                <c:pt idx="829">
                  <c:v>0.46200000000000002</c:v>
                </c:pt>
                <c:pt idx="830">
                  <c:v>0.97200000000000009</c:v>
                </c:pt>
                <c:pt idx="831">
                  <c:v>1.5720000000000001</c:v>
                </c:pt>
                <c:pt idx="832">
                  <c:v>1.843</c:v>
                </c:pt>
                <c:pt idx="833">
                  <c:v>3.8909999999999996</c:v>
                </c:pt>
                <c:pt idx="834">
                  <c:v>4.601</c:v>
                </c:pt>
                <c:pt idx="835">
                  <c:v>3.617</c:v>
                </c:pt>
                <c:pt idx="836">
                  <c:v>2.9050000000000002</c:v>
                </c:pt>
                <c:pt idx="837">
                  <c:v>2.452</c:v>
                </c:pt>
                <c:pt idx="838">
                  <c:v>2.444</c:v>
                </c:pt>
                <c:pt idx="839">
                  <c:v>5.6999999999999995E-2</c:v>
                </c:pt>
                <c:pt idx="840">
                  <c:v>0</c:v>
                </c:pt>
                <c:pt idx="841">
                  <c:v>-3.0000000000000001E-3</c:v>
                </c:pt>
                <c:pt idx="842">
                  <c:v>-7.000000000000001E-3</c:v>
                </c:pt>
                <c:pt idx="843">
                  <c:v>-1.3000000000000001E-2</c:v>
                </c:pt>
                <c:pt idx="844">
                  <c:v>-5.0000000000000001E-3</c:v>
                </c:pt>
                <c:pt idx="845">
                  <c:v>4.1999999999999996E-2</c:v>
                </c:pt>
                <c:pt idx="846">
                  <c:v>3.8969999999999998</c:v>
                </c:pt>
                <c:pt idx="847">
                  <c:v>5.891</c:v>
                </c:pt>
                <c:pt idx="848">
                  <c:v>6.2320000000000002</c:v>
                </c:pt>
                <c:pt idx="849">
                  <c:v>5.6859999999999999</c:v>
                </c:pt>
                <c:pt idx="850">
                  <c:v>5.2930000000000001</c:v>
                </c:pt>
                <c:pt idx="851">
                  <c:v>4.0149999999999997</c:v>
                </c:pt>
                <c:pt idx="852">
                  <c:v>0.70499999999999996</c:v>
                </c:pt>
                <c:pt idx="853">
                  <c:v>0.10900000000000001</c:v>
                </c:pt>
                <c:pt idx="854">
                  <c:v>0.501</c:v>
                </c:pt>
                <c:pt idx="855">
                  <c:v>5.3100000000000005</c:v>
                </c:pt>
                <c:pt idx="856">
                  <c:v>6.0720000000000001</c:v>
                </c:pt>
                <c:pt idx="857">
                  <c:v>6.8469999999999995</c:v>
                </c:pt>
                <c:pt idx="858">
                  <c:v>6.8780000000000001</c:v>
                </c:pt>
                <c:pt idx="859">
                  <c:v>6.1840000000000002</c:v>
                </c:pt>
                <c:pt idx="860">
                  <c:v>6.048</c:v>
                </c:pt>
                <c:pt idx="861">
                  <c:v>5.9649999999999999</c:v>
                </c:pt>
                <c:pt idx="862">
                  <c:v>5.63</c:v>
                </c:pt>
                <c:pt idx="863">
                  <c:v>4.7409999999999997</c:v>
                </c:pt>
                <c:pt idx="864">
                  <c:v>3.504</c:v>
                </c:pt>
                <c:pt idx="865">
                  <c:v>2.7649999999999997</c:v>
                </c:pt>
                <c:pt idx="866">
                  <c:v>0.70799999999999996</c:v>
                </c:pt>
                <c:pt idx="867">
                  <c:v>0.307</c:v>
                </c:pt>
                <c:pt idx="868">
                  <c:v>0.19400000000000001</c:v>
                </c:pt>
                <c:pt idx="869">
                  <c:v>1.9379999999999999</c:v>
                </c:pt>
                <c:pt idx="870">
                  <c:v>5</c:v>
                </c:pt>
                <c:pt idx="871">
                  <c:v>6.8159999999999998</c:v>
                </c:pt>
                <c:pt idx="872">
                  <c:v>6.2</c:v>
                </c:pt>
                <c:pt idx="873">
                  <c:v>6.1349999999999998</c:v>
                </c:pt>
                <c:pt idx="874">
                  <c:v>5.6560000000000006</c:v>
                </c:pt>
                <c:pt idx="875">
                  <c:v>5.17</c:v>
                </c:pt>
                <c:pt idx="876">
                  <c:v>4.3469999999999995</c:v>
                </c:pt>
                <c:pt idx="877">
                  <c:v>4.2539999999999996</c:v>
                </c:pt>
                <c:pt idx="878">
                  <c:v>4.0110000000000001</c:v>
                </c:pt>
                <c:pt idx="879">
                  <c:v>4.9909999999999997</c:v>
                </c:pt>
                <c:pt idx="880">
                  <c:v>5.6520000000000001</c:v>
                </c:pt>
                <c:pt idx="881">
                  <c:v>6.2969999999999997</c:v>
                </c:pt>
                <c:pt idx="882">
                  <c:v>6.1959999999999997</c:v>
                </c:pt>
                <c:pt idx="883">
                  <c:v>6.1159999999999997</c:v>
                </c:pt>
                <c:pt idx="884">
                  <c:v>5.9139999999999997</c:v>
                </c:pt>
                <c:pt idx="885">
                  <c:v>5.6440000000000001</c:v>
                </c:pt>
                <c:pt idx="886">
                  <c:v>5.6520000000000001</c:v>
                </c:pt>
                <c:pt idx="887">
                  <c:v>5.2359999999999998</c:v>
                </c:pt>
                <c:pt idx="888">
                  <c:v>4.117</c:v>
                </c:pt>
                <c:pt idx="889">
                  <c:v>3.5520000000000005</c:v>
                </c:pt>
                <c:pt idx="890">
                  <c:v>3.415</c:v>
                </c:pt>
                <c:pt idx="891">
                  <c:v>4.6590000000000007</c:v>
                </c:pt>
                <c:pt idx="892">
                  <c:v>5.4470000000000001</c:v>
                </c:pt>
                <c:pt idx="893">
                  <c:v>5.9630000000000001</c:v>
                </c:pt>
                <c:pt idx="894">
                  <c:v>7.4829999999999997</c:v>
                </c:pt>
                <c:pt idx="895">
                  <c:v>8.6669999999999998</c:v>
                </c:pt>
                <c:pt idx="896">
                  <c:v>8.6999999999999993</c:v>
                </c:pt>
                <c:pt idx="897">
                  <c:v>8.5530000000000008</c:v>
                </c:pt>
                <c:pt idx="898">
                  <c:v>8.1170000000000009</c:v>
                </c:pt>
                <c:pt idx="899">
                  <c:v>7.8010000000000002</c:v>
                </c:pt>
                <c:pt idx="900">
                  <c:v>7.5980000000000008</c:v>
                </c:pt>
                <c:pt idx="901">
                  <c:v>7.9239999999999995</c:v>
                </c:pt>
                <c:pt idx="902">
                  <c:v>7.7989999999999995</c:v>
                </c:pt>
                <c:pt idx="903">
                  <c:v>8.8209999999999997</c:v>
                </c:pt>
                <c:pt idx="904">
                  <c:v>9.73</c:v>
                </c:pt>
                <c:pt idx="905">
                  <c:v>12.004999999999999</c:v>
                </c:pt>
                <c:pt idx="906">
                  <c:v>13.622</c:v>
                </c:pt>
                <c:pt idx="907">
                  <c:v>10.97</c:v>
                </c:pt>
                <c:pt idx="908">
                  <c:v>9.9909999999999997</c:v>
                </c:pt>
                <c:pt idx="909">
                  <c:v>8.7650000000000006</c:v>
                </c:pt>
                <c:pt idx="910">
                  <c:v>8.3629999999999995</c:v>
                </c:pt>
                <c:pt idx="911">
                  <c:v>7.9209999999999994</c:v>
                </c:pt>
                <c:pt idx="912">
                  <c:v>7.37</c:v>
                </c:pt>
                <c:pt idx="913">
                  <c:v>7.32</c:v>
                </c:pt>
                <c:pt idx="914">
                  <c:v>7.2150000000000007</c:v>
                </c:pt>
                <c:pt idx="915">
                  <c:v>7.2939999999999996</c:v>
                </c:pt>
                <c:pt idx="916">
                  <c:v>7.3650000000000002</c:v>
                </c:pt>
                <c:pt idx="917">
                  <c:v>7.7849999999999993</c:v>
                </c:pt>
                <c:pt idx="918">
                  <c:v>8.7080000000000002</c:v>
                </c:pt>
                <c:pt idx="919">
                  <c:v>11</c:v>
                </c:pt>
                <c:pt idx="920">
                  <c:v>13.315000000000001</c:v>
                </c:pt>
                <c:pt idx="921">
                  <c:v>11.355</c:v>
                </c:pt>
                <c:pt idx="922">
                  <c:v>9.7789999999999999</c:v>
                </c:pt>
                <c:pt idx="923">
                  <c:v>9.1870000000000012</c:v>
                </c:pt>
                <c:pt idx="924">
                  <c:v>8.9379999999999988</c:v>
                </c:pt>
                <c:pt idx="925">
                  <c:v>9.0980000000000008</c:v>
                </c:pt>
                <c:pt idx="926">
                  <c:v>9.49</c:v>
                </c:pt>
                <c:pt idx="927">
                  <c:v>9.4379999999999988</c:v>
                </c:pt>
                <c:pt idx="928">
                  <c:v>9.3010000000000002</c:v>
                </c:pt>
                <c:pt idx="929">
                  <c:v>10.3</c:v>
                </c:pt>
                <c:pt idx="930">
                  <c:v>9.4670000000000005</c:v>
                </c:pt>
                <c:pt idx="931">
                  <c:v>8.6059999999999999</c:v>
                </c:pt>
                <c:pt idx="932">
                  <c:v>8.32</c:v>
                </c:pt>
                <c:pt idx="933">
                  <c:v>8.0609999999999999</c:v>
                </c:pt>
                <c:pt idx="934">
                  <c:v>7.56</c:v>
                </c:pt>
                <c:pt idx="935">
                  <c:v>6.5980000000000008</c:v>
                </c:pt>
                <c:pt idx="936">
                  <c:v>6.0430000000000001</c:v>
                </c:pt>
                <c:pt idx="937">
                  <c:v>5.8609999999999998</c:v>
                </c:pt>
                <c:pt idx="938">
                  <c:v>5.5739999999999998</c:v>
                </c:pt>
                <c:pt idx="939">
                  <c:v>5.1609999999999996</c:v>
                </c:pt>
                <c:pt idx="940">
                  <c:v>4.9960000000000004</c:v>
                </c:pt>
                <c:pt idx="941">
                  <c:v>5.2320000000000002</c:v>
                </c:pt>
                <c:pt idx="942">
                  <c:v>5.9079999999999995</c:v>
                </c:pt>
                <c:pt idx="943">
                  <c:v>6.6790000000000003</c:v>
                </c:pt>
                <c:pt idx="944">
                  <c:v>7.0129999999999999</c:v>
                </c:pt>
                <c:pt idx="945">
                  <c:v>6.8370000000000006</c:v>
                </c:pt>
                <c:pt idx="946">
                  <c:v>6.952</c:v>
                </c:pt>
                <c:pt idx="947">
                  <c:v>6.9939999999999998</c:v>
                </c:pt>
                <c:pt idx="948">
                  <c:v>6.7849999999999993</c:v>
                </c:pt>
                <c:pt idx="949">
                  <c:v>6.7739999999999991</c:v>
                </c:pt>
                <c:pt idx="950">
                  <c:v>7.3220000000000001</c:v>
                </c:pt>
                <c:pt idx="951">
                  <c:v>8.1560000000000006</c:v>
                </c:pt>
                <c:pt idx="952">
                  <c:v>9.0120000000000005</c:v>
                </c:pt>
                <c:pt idx="953">
                  <c:v>9.5449999999999999</c:v>
                </c:pt>
                <c:pt idx="954">
                  <c:v>9.5449999999999999</c:v>
                </c:pt>
                <c:pt idx="955">
                  <c:v>8.7050000000000001</c:v>
                </c:pt>
                <c:pt idx="956">
                  <c:v>8.0440000000000005</c:v>
                </c:pt>
                <c:pt idx="957">
                  <c:v>7.5200000000000005</c:v>
                </c:pt>
                <c:pt idx="958">
                  <c:v>7.4909999999999997</c:v>
                </c:pt>
                <c:pt idx="959">
                  <c:v>7.0939999999999994</c:v>
                </c:pt>
                <c:pt idx="960">
                  <c:v>6.3100000000000005</c:v>
                </c:pt>
                <c:pt idx="961">
                  <c:v>6.4079999999999995</c:v>
                </c:pt>
                <c:pt idx="962">
                  <c:v>6.44</c:v>
                </c:pt>
                <c:pt idx="963">
                  <c:v>6.4390000000000001</c:v>
                </c:pt>
                <c:pt idx="964">
                  <c:v>6.4409999999999998</c:v>
                </c:pt>
                <c:pt idx="965">
                  <c:v>6.581999999999999</c:v>
                </c:pt>
                <c:pt idx="966">
                  <c:v>7.0909999999999993</c:v>
                </c:pt>
                <c:pt idx="967">
                  <c:v>7.4859999999999998</c:v>
                </c:pt>
                <c:pt idx="968">
                  <c:v>7.7700000000000005</c:v>
                </c:pt>
                <c:pt idx="969">
                  <c:v>8.0380000000000003</c:v>
                </c:pt>
                <c:pt idx="970">
                  <c:v>7.4590000000000005</c:v>
                </c:pt>
                <c:pt idx="971">
                  <c:v>6.9430000000000005</c:v>
                </c:pt>
                <c:pt idx="972">
                  <c:v>6.83</c:v>
                </c:pt>
                <c:pt idx="973">
                  <c:v>6.6719999999999997</c:v>
                </c:pt>
                <c:pt idx="974">
                  <c:v>6.9530000000000003</c:v>
                </c:pt>
                <c:pt idx="975">
                  <c:v>7.7170000000000005</c:v>
                </c:pt>
                <c:pt idx="976">
                  <c:v>8.6129999999999995</c:v>
                </c:pt>
                <c:pt idx="977">
                  <c:v>8.8949999999999996</c:v>
                </c:pt>
                <c:pt idx="978">
                  <c:v>8.7620000000000005</c:v>
                </c:pt>
                <c:pt idx="979">
                  <c:v>8.1010000000000009</c:v>
                </c:pt>
                <c:pt idx="980">
                  <c:v>7.44</c:v>
                </c:pt>
                <c:pt idx="981">
                  <c:v>6.7840000000000007</c:v>
                </c:pt>
                <c:pt idx="982">
                  <c:v>6.5860000000000003</c:v>
                </c:pt>
                <c:pt idx="983">
                  <c:v>6.3460000000000001</c:v>
                </c:pt>
                <c:pt idx="984">
                  <c:v>5.548</c:v>
                </c:pt>
                <c:pt idx="985">
                  <c:v>5.367</c:v>
                </c:pt>
                <c:pt idx="986">
                  <c:v>5.26</c:v>
                </c:pt>
                <c:pt idx="987">
                  <c:v>4.6829999999999998</c:v>
                </c:pt>
                <c:pt idx="988">
                  <c:v>4.3639999999999999</c:v>
                </c:pt>
                <c:pt idx="989">
                  <c:v>4.625</c:v>
                </c:pt>
                <c:pt idx="990">
                  <c:v>4.9189999999999996</c:v>
                </c:pt>
                <c:pt idx="991">
                  <c:v>5.3159999999999998</c:v>
                </c:pt>
                <c:pt idx="992">
                  <c:v>5.5060000000000002</c:v>
                </c:pt>
                <c:pt idx="993">
                  <c:v>5.7969999999999997</c:v>
                </c:pt>
                <c:pt idx="994">
                  <c:v>6.1159999999999997</c:v>
                </c:pt>
                <c:pt idx="995">
                  <c:v>6.5540000000000003</c:v>
                </c:pt>
                <c:pt idx="996">
                  <c:v>6.4599999999999991</c:v>
                </c:pt>
                <c:pt idx="997">
                  <c:v>6.2119999999999997</c:v>
                </c:pt>
                <c:pt idx="998">
                  <c:v>6.399</c:v>
                </c:pt>
                <c:pt idx="999">
                  <c:v>6.63</c:v>
                </c:pt>
                <c:pt idx="1000">
                  <c:v>7.069</c:v>
                </c:pt>
                <c:pt idx="1001">
                  <c:v>7.85</c:v>
                </c:pt>
                <c:pt idx="1002">
                  <c:v>8.0739999999999998</c:v>
                </c:pt>
                <c:pt idx="1003">
                  <c:v>7.9719999999999995</c:v>
                </c:pt>
                <c:pt idx="1004">
                  <c:v>7.6749999999999998</c:v>
                </c:pt>
                <c:pt idx="1005">
                  <c:v>7.0720000000000001</c:v>
                </c:pt>
                <c:pt idx="1006">
                  <c:v>6.8390000000000004</c:v>
                </c:pt>
                <c:pt idx="1007">
                  <c:v>6.4010000000000007</c:v>
                </c:pt>
                <c:pt idx="1008">
                  <c:v>6.4349999999999996</c:v>
                </c:pt>
                <c:pt idx="1009">
                  <c:v>6.1590000000000007</c:v>
                </c:pt>
                <c:pt idx="1010">
                  <c:v>6.0649999999999995</c:v>
                </c:pt>
                <c:pt idx="1011">
                  <c:v>5.9390000000000001</c:v>
                </c:pt>
                <c:pt idx="1012">
                  <c:v>5.9210000000000003</c:v>
                </c:pt>
                <c:pt idx="1013">
                  <c:v>6.5</c:v>
                </c:pt>
                <c:pt idx="1014">
                  <c:v>7.6</c:v>
                </c:pt>
                <c:pt idx="1015">
                  <c:v>8.5410000000000004</c:v>
                </c:pt>
                <c:pt idx="1016">
                  <c:v>10.4</c:v>
                </c:pt>
                <c:pt idx="1017">
                  <c:v>9.65</c:v>
                </c:pt>
                <c:pt idx="1018">
                  <c:v>8.5470000000000006</c:v>
                </c:pt>
                <c:pt idx="1019">
                  <c:v>7.9139999999999997</c:v>
                </c:pt>
                <c:pt idx="1020">
                  <c:v>6.7370000000000001</c:v>
                </c:pt>
                <c:pt idx="1021">
                  <c:v>6.375</c:v>
                </c:pt>
                <c:pt idx="1022">
                  <c:v>6.3950000000000005</c:v>
                </c:pt>
                <c:pt idx="1023">
                  <c:v>6.6400000000000006</c:v>
                </c:pt>
                <c:pt idx="1024">
                  <c:v>7.8420000000000005</c:v>
                </c:pt>
                <c:pt idx="1025">
                  <c:v>9.39</c:v>
                </c:pt>
                <c:pt idx="1026">
                  <c:v>9.6</c:v>
                </c:pt>
                <c:pt idx="1027">
                  <c:v>8.9079999999999995</c:v>
                </c:pt>
                <c:pt idx="1028">
                  <c:v>7.9150000000000009</c:v>
                </c:pt>
                <c:pt idx="1029">
                  <c:v>7.1540000000000008</c:v>
                </c:pt>
                <c:pt idx="1030">
                  <c:v>6.5870000000000006</c:v>
                </c:pt>
                <c:pt idx="1031">
                  <c:v>6.1899999999999995</c:v>
                </c:pt>
                <c:pt idx="1032">
                  <c:v>6.859</c:v>
                </c:pt>
                <c:pt idx="1033">
                  <c:v>6.5370000000000008</c:v>
                </c:pt>
                <c:pt idx="1034">
                  <c:v>6.3409999999999993</c:v>
                </c:pt>
                <c:pt idx="1035">
                  <c:v>6.0490000000000004</c:v>
                </c:pt>
                <c:pt idx="1036">
                  <c:v>6.0060000000000002</c:v>
                </c:pt>
                <c:pt idx="1037">
                  <c:v>6.359</c:v>
                </c:pt>
                <c:pt idx="1038">
                  <c:v>7.069</c:v>
                </c:pt>
                <c:pt idx="1039">
                  <c:v>8.218</c:v>
                </c:pt>
                <c:pt idx="1040">
                  <c:v>8.91</c:v>
                </c:pt>
                <c:pt idx="1041">
                  <c:v>7.5120000000000005</c:v>
                </c:pt>
                <c:pt idx="1042">
                  <c:v>6.9209999999999994</c:v>
                </c:pt>
                <c:pt idx="1043">
                  <c:v>6.3869999999999996</c:v>
                </c:pt>
                <c:pt idx="1044">
                  <c:v>6.0529999999999999</c:v>
                </c:pt>
                <c:pt idx="1045">
                  <c:v>6.0259999999999998</c:v>
                </c:pt>
                <c:pt idx="1046">
                  <c:v>6.3100000000000005</c:v>
                </c:pt>
                <c:pt idx="1047">
                  <c:v>7.07</c:v>
                </c:pt>
                <c:pt idx="1048">
                  <c:v>7.8360000000000003</c:v>
                </c:pt>
                <c:pt idx="1049">
                  <c:v>9.5010000000000012</c:v>
                </c:pt>
                <c:pt idx="1050">
                  <c:v>9.9879999999999995</c:v>
                </c:pt>
                <c:pt idx="1051">
                  <c:v>9.0990000000000002</c:v>
                </c:pt>
                <c:pt idx="1052">
                  <c:v>7.7969999999999997</c:v>
                </c:pt>
                <c:pt idx="1053">
                  <c:v>7.1859999999999999</c:v>
                </c:pt>
                <c:pt idx="1054">
                  <c:v>6.8390000000000004</c:v>
                </c:pt>
                <c:pt idx="1055">
                  <c:v>6.4739999999999993</c:v>
                </c:pt>
                <c:pt idx="1056">
                  <c:v>6.0630000000000006</c:v>
                </c:pt>
                <c:pt idx="1057">
                  <c:v>5.9340000000000002</c:v>
                </c:pt>
                <c:pt idx="1058">
                  <c:v>5.5759999999999996</c:v>
                </c:pt>
                <c:pt idx="1059">
                  <c:v>5.4790000000000001</c:v>
                </c:pt>
                <c:pt idx="1060">
                  <c:v>5.5060000000000002</c:v>
                </c:pt>
                <c:pt idx="1061">
                  <c:v>5.843</c:v>
                </c:pt>
                <c:pt idx="1062">
                  <c:v>6.3229999999999995</c:v>
                </c:pt>
                <c:pt idx="1063">
                  <c:v>7.2739999999999991</c:v>
                </c:pt>
                <c:pt idx="1064">
                  <c:v>7.9730000000000008</c:v>
                </c:pt>
                <c:pt idx="1065">
                  <c:v>6.9650000000000007</c:v>
                </c:pt>
                <c:pt idx="1066">
                  <c:v>6.3860000000000001</c:v>
                </c:pt>
                <c:pt idx="1067">
                  <c:v>6.3289999999999997</c:v>
                </c:pt>
                <c:pt idx="1068">
                  <c:v>6.2629999999999999</c:v>
                </c:pt>
                <c:pt idx="1069">
                  <c:v>6.3819999999999997</c:v>
                </c:pt>
                <c:pt idx="1070">
                  <c:v>6.9030000000000005</c:v>
                </c:pt>
                <c:pt idx="1071">
                  <c:v>7.2230000000000008</c:v>
                </c:pt>
                <c:pt idx="1072">
                  <c:v>7.854000000000001</c:v>
                </c:pt>
                <c:pt idx="1073">
                  <c:v>8.2970000000000006</c:v>
                </c:pt>
                <c:pt idx="1074">
                  <c:v>8.7579999999999991</c:v>
                </c:pt>
                <c:pt idx="1075">
                  <c:v>8.4469999999999992</c:v>
                </c:pt>
                <c:pt idx="1076">
                  <c:v>7.6480000000000006</c:v>
                </c:pt>
                <c:pt idx="1077">
                  <c:v>6.9680000000000009</c:v>
                </c:pt>
                <c:pt idx="1078">
                  <c:v>6.82</c:v>
                </c:pt>
                <c:pt idx="1079">
                  <c:v>6.38</c:v>
                </c:pt>
                <c:pt idx="1080">
                  <c:v>6.1710000000000003</c:v>
                </c:pt>
                <c:pt idx="1081">
                  <c:v>6.1130000000000004</c:v>
                </c:pt>
                <c:pt idx="1082">
                  <c:v>6.0299999999999994</c:v>
                </c:pt>
                <c:pt idx="1083">
                  <c:v>5.9749999999999996</c:v>
                </c:pt>
                <c:pt idx="1084">
                  <c:v>6.194</c:v>
                </c:pt>
                <c:pt idx="1085">
                  <c:v>6.6059999999999999</c:v>
                </c:pt>
                <c:pt idx="1086">
                  <c:v>7.2209999999999992</c:v>
                </c:pt>
                <c:pt idx="1087">
                  <c:v>8.157</c:v>
                </c:pt>
                <c:pt idx="1088">
                  <c:v>8.2669999999999995</c:v>
                </c:pt>
                <c:pt idx="1089">
                  <c:v>7.8760000000000003</c:v>
                </c:pt>
                <c:pt idx="1090">
                  <c:v>7.418000000000001</c:v>
                </c:pt>
                <c:pt idx="1091">
                  <c:v>6.9959999999999996</c:v>
                </c:pt>
                <c:pt idx="1092">
                  <c:v>6.6629999999999994</c:v>
                </c:pt>
                <c:pt idx="1093">
                  <c:v>6.6189999999999998</c:v>
                </c:pt>
                <c:pt idx="1094">
                  <c:v>6.9909999999999997</c:v>
                </c:pt>
                <c:pt idx="1095">
                  <c:v>7.5049999999999999</c:v>
                </c:pt>
                <c:pt idx="1096">
                  <c:v>7.9049999999999994</c:v>
                </c:pt>
                <c:pt idx="1097">
                  <c:v>8.6999999999999993</c:v>
                </c:pt>
                <c:pt idx="1098">
                  <c:v>8.6909999999999989</c:v>
                </c:pt>
                <c:pt idx="1099">
                  <c:v>7.5609999999999999</c:v>
                </c:pt>
                <c:pt idx="1100">
                  <c:v>7.0469999999999997</c:v>
                </c:pt>
                <c:pt idx="1101">
                  <c:v>6.2969999999999997</c:v>
                </c:pt>
                <c:pt idx="1102">
                  <c:v>6.3090000000000002</c:v>
                </c:pt>
                <c:pt idx="1103">
                  <c:v>5.891</c:v>
                </c:pt>
                <c:pt idx="1104">
                  <c:v>5.1760000000000002</c:v>
                </c:pt>
                <c:pt idx="1105">
                  <c:v>5.1079999999999997</c:v>
                </c:pt>
                <c:pt idx="1106">
                  <c:v>4.992</c:v>
                </c:pt>
                <c:pt idx="1107">
                  <c:v>4.8810000000000002</c:v>
                </c:pt>
                <c:pt idx="1108">
                  <c:v>5.1379999999999999</c:v>
                </c:pt>
                <c:pt idx="1109">
                  <c:v>5.3529999999999998</c:v>
                </c:pt>
                <c:pt idx="1110">
                  <c:v>5.915</c:v>
                </c:pt>
                <c:pt idx="1111">
                  <c:v>6.9390000000000001</c:v>
                </c:pt>
                <c:pt idx="1112">
                  <c:v>7.05</c:v>
                </c:pt>
                <c:pt idx="1113">
                  <c:v>6.484</c:v>
                </c:pt>
                <c:pt idx="1114">
                  <c:v>5.4369999999999994</c:v>
                </c:pt>
                <c:pt idx="1115">
                  <c:v>5.3</c:v>
                </c:pt>
                <c:pt idx="1116">
                  <c:v>5.2329999999999997</c:v>
                </c:pt>
                <c:pt idx="1117">
                  <c:v>5.2309999999999999</c:v>
                </c:pt>
                <c:pt idx="1118">
                  <c:v>5.3780000000000001</c:v>
                </c:pt>
                <c:pt idx="1119">
                  <c:v>6.2590000000000003</c:v>
                </c:pt>
                <c:pt idx="1120">
                  <c:v>6.9989999999999997</c:v>
                </c:pt>
                <c:pt idx="1121">
                  <c:v>7.258</c:v>
                </c:pt>
                <c:pt idx="1122">
                  <c:v>7.742</c:v>
                </c:pt>
                <c:pt idx="1123">
                  <c:v>7.6779999999999999</c:v>
                </c:pt>
                <c:pt idx="1124">
                  <c:v>7.2469999999999999</c:v>
                </c:pt>
                <c:pt idx="1125">
                  <c:v>6.94</c:v>
                </c:pt>
                <c:pt idx="1126">
                  <c:v>6.8049999999999997</c:v>
                </c:pt>
                <c:pt idx="1127">
                  <c:v>6.0020000000000007</c:v>
                </c:pt>
                <c:pt idx="1128">
                  <c:v>5.7309999999999999</c:v>
                </c:pt>
                <c:pt idx="1129">
                  <c:v>5.7</c:v>
                </c:pt>
                <c:pt idx="1130">
                  <c:v>5.5880000000000001</c:v>
                </c:pt>
                <c:pt idx="1131">
                  <c:v>5.4659999999999993</c:v>
                </c:pt>
                <c:pt idx="1132">
                  <c:v>5.4619999999999997</c:v>
                </c:pt>
                <c:pt idx="1133">
                  <c:v>5.548</c:v>
                </c:pt>
                <c:pt idx="1134">
                  <c:v>5.5170000000000003</c:v>
                </c:pt>
                <c:pt idx="1135">
                  <c:v>5.6899999999999995</c:v>
                </c:pt>
                <c:pt idx="1136">
                  <c:v>6.4889999999999999</c:v>
                </c:pt>
                <c:pt idx="1137">
                  <c:v>6.3289999999999997</c:v>
                </c:pt>
                <c:pt idx="1138">
                  <c:v>6.202</c:v>
                </c:pt>
                <c:pt idx="1139">
                  <c:v>6.069</c:v>
                </c:pt>
                <c:pt idx="1140">
                  <c:v>5.8259999999999996</c:v>
                </c:pt>
                <c:pt idx="1141">
                  <c:v>5.5250000000000004</c:v>
                </c:pt>
                <c:pt idx="1142">
                  <c:v>5.9090000000000007</c:v>
                </c:pt>
                <c:pt idx="1143">
                  <c:v>6.883</c:v>
                </c:pt>
                <c:pt idx="1144">
                  <c:v>7.5030000000000001</c:v>
                </c:pt>
                <c:pt idx="1145">
                  <c:v>8.793000000000001</c:v>
                </c:pt>
                <c:pt idx="1146">
                  <c:v>11.006</c:v>
                </c:pt>
                <c:pt idx="1147">
                  <c:v>9.0280000000000005</c:v>
                </c:pt>
                <c:pt idx="1148">
                  <c:v>8.093</c:v>
                </c:pt>
                <c:pt idx="1149">
                  <c:v>7.456999999999999</c:v>
                </c:pt>
                <c:pt idx="1150">
                  <c:v>7.2439999999999998</c:v>
                </c:pt>
                <c:pt idx="1151">
                  <c:v>6.9109999999999996</c:v>
                </c:pt>
                <c:pt idx="1152">
                  <c:v>6.2380000000000004</c:v>
                </c:pt>
                <c:pt idx="1153">
                  <c:v>5.4809999999999999</c:v>
                </c:pt>
                <c:pt idx="1154">
                  <c:v>5.1440000000000001</c:v>
                </c:pt>
                <c:pt idx="1155">
                  <c:v>5.032</c:v>
                </c:pt>
                <c:pt idx="1156">
                  <c:v>5.0190000000000001</c:v>
                </c:pt>
                <c:pt idx="1157">
                  <c:v>4.8469999999999995</c:v>
                </c:pt>
                <c:pt idx="1158">
                  <c:v>4.6020000000000003</c:v>
                </c:pt>
                <c:pt idx="1159">
                  <c:v>4.8970000000000002</c:v>
                </c:pt>
                <c:pt idx="1160">
                  <c:v>4.7279999999999998</c:v>
                </c:pt>
                <c:pt idx="1161">
                  <c:v>4.3029999999999999</c:v>
                </c:pt>
                <c:pt idx="1162">
                  <c:v>4.0449999999999999</c:v>
                </c:pt>
                <c:pt idx="1163">
                  <c:v>4.0999999999999996</c:v>
                </c:pt>
                <c:pt idx="1164">
                  <c:v>4.01</c:v>
                </c:pt>
                <c:pt idx="1165">
                  <c:v>3.9880000000000004</c:v>
                </c:pt>
                <c:pt idx="1166">
                  <c:v>4.2869999999999999</c:v>
                </c:pt>
                <c:pt idx="1167">
                  <c:v>5.4290000000000003</c:v>
                </c:pt>
                <c:pt idx="1168">
                  <c:v>6.2869999999999999</c:v>
                </c:pt>
                <c:pt idx="1169">
                  <c:v>7.2</c:v>
                </c:pt>
                <c:pt idx="1170">
                  <c:v>7.3659999999999997</c:v>
                </c:pt>
                <c:pt idx="1171">
                  <c:v>7.0590000000000002</c:v>
                </c:pt>
                <c:pt idx="1172">
                  <c:v>6.4709999999999992</c:v>
                </c:pt>
                <c:pt idx="1173">
                  <c:v>5.9829999999999997</c:v>
                </c:pt>
                <c:pt idx="1174">
                  <c:v>5.7329999999999997</c:v>
                </c:pt>
                <c:pt idx="1175">
                  <c:v>5.3940000000000001</c:v>
                </c:pt>
                <c:pt idx="1176">
                  <c:v>4.4000000000000004</c:v>
                </c:pt>
                <c:pt idx="1177">
                  <c:v>4.3040000000000003</c:v>
                </c:pt>
                <c:pt idx="1178">
                  <c:v>4.4210000000000003</c:v>
                </c:pt>
                <c:pt idx="1179">
                  <c:v>4.391</c:v>
                </c:pt>
                <c:pt idx="1180">
                  <c:v>4.492</c:v>
                </c:pt>
                <c:pt idx="1181">
                  <c:v>5.157</c:v>
                </c:pt>
                <c:pt idx="1182">
                  <c:v>6.8599999999999994</c:v>
                </c:pt>
                <c:pt idx="1183">
                  <c:v>7.9090000000000007</c:v>
                </c:pt>
                <c:pt idx="1184">
                  <c:v>8.3840000000000003</c:v>
                </c:pt>
                <c:pt idx="1185">
                  <c:v>7.5030000000000001</c:v>
                </c:pt>
                <c:pt idx="1186">
                  <c:v>7.0830000000000002</c:v>
                </c:pt>
                <c:pt idx="1187">
                  <c:v>6.9129999999999994</c:v>
                </c:pt>
                <c:pt idx="1188">
                  <c:v>6.2469999999999999</c:v>
                </c:pt>
                <c:pt idx="1189">
                  <c:v>6.0990000000000002</c:v>
                </c:pt>
                <c:pt idx="1190">
                  <c:v>6.5959999999999992</c:v>
                </c:pt>
                <c:pt idx="1191">
                  <c:v>6.9279999999999999</c:v>
                </c:pt>
                <c:pt idx="1192">
                  <c:v>7.1510000000000007</c:v>
                </c:pt>
                <c:pt idx="1193">
                  <c:v>7.625</c:v>
                </c:pt>
                <c:pt idx="1194">
                  <c:v>9.7650000000000006</c:v>
                </c:pt>
                <c:pt idx="1195">
                  <c:v>7.9980000000000002</c:v>
                </c:pt>
                <c:pt idx="1196">
                  <c:v>7.1859999999999999</c:v>
                </c:pt>
                <c:pt idx="1197">
                  <c:v>6.7469999999999999</c:v>
                </c:pt>
                <c:pt idx="1198">
                  <c:v>6.6269999999999998</c:v>
                </c:pt>
                <c:pt idx="1199">
                  <c:v>5.907</c:v>
                </c:pt>
                <c:pt idx="1200">
                  <c:v>5.806</c:v>
                </c:pt>
                <c:pt idx="1201">
                  <c:v>5.4320000000000004</c:v>
                </c:pt>
                <c:pt idx="1202">
                  <c:v>5.3959999999999999</c:v>
                </c:pt>
                <c:pt idx="1203">
                  <c:v>5.3479999999999999</c:v>
                </c:pt>
                <c:pt idx="1204">
                  <c:v>5.2990000000000004</c:v>
                </c:pt>
                <c:pt idx="1205">
                  <c:v>5.4790000000000001</c:v>
                </c:pt>
                <c:pt idx="1206">
                  <c:v>7.0529999999999999</c:v>
                </c:pt>
                <c:pt idx="1207">
                  <c:v>8.84</c:v>
                </c:pt>
                <c:pt idx="1208">
                  <c:v>9.0890000000000004</c:v>
                </c:pt>
                <c:pt idx="1209">
                  <c:v>7.8549999999999995</c:v>
                </c:pt>
                <c:pt idx="1210">
                  <c:v>6.984</c:v>
                </c:pt>
                <c:pt idx="1211">
                  <c:v>6.0880000000000001</c:v>
                </c:pt>
                <c:pt idx="1212">
                  <c:v>5.3520000000000003</c:v>
                </c:pt>
                <c:pt idx="1213">
                  <c:v>5.1420000000000003</c:v>
                </c:pt>
                <c:pt idx="1214">
                  <c:v>5.1790000000000003</c:v>
                </c:pt>
                <c:pt idx="1215">
                  <c:v>5.6159999999999997</c:v>
                </c:pt>
                <c:pt idx="1216">
                  <c:v>6.3079999999999998</c:v>
                </c:pt>
                <c:pt idx="1217">
                  <c:v>7.0540000000000003</c:v>
                </c:pt>
                <c:pt idx="1218">
                  <c:v>7.125</c:v>
                </c:pt>
                <c:pt idx="1219">
                  <c:v>7.3469999999999995</c:v>
                </c:pt>
                <c:pt idx="1220">
                  <c:v>6.8480000000000008</c:v>
                </c:pt>
                <c:pt idx="1221">
                  <c:v>6.133</c:v>
                </c:pt>
                <c:pt idx="1222">
                  <c:v>5.6859999999999999</c:v>
                </c:pt>
                <c:pt idx="1223">
                  <c:v>5.2770000000000001</c:v>
                </c:pt>
                <c:pt idx="1224">
                  <c:v>5.0649999999999995</c:v>
                </c:pt>
                <c:pt idx="1225">
                  <c:v>4.8469999999999995</c:v>
                </c:pt>
                <c:pt idx="1226">
                  <c:v>4.6840000000000002</c:v>
                </c:pt>
                <c:pt idx="1227">
                  <c:v>4.4770000000000003</c:v>
                </c:pt>
                <c:pt idx="1228">
                  <c:v>4.5389999999999997</c:v>
                </c:pt>
                <c:pt idx="1229">
                  <c:v>5.0030000000000001</c:v>
                </c:pt>
                <c:pt idx="1230">
                  <c:v>6.6</c:v>
                </c:pt>
                <c:pt idx="1231">
                  <c:v>8.1340000000000003</c:v>
                </c:pt>
                <c:pt idx="1232">
                  <c:v>8.5109999999999992</c:v>
                </c:pt>
                <c:pt idx="1233">
                  <c:v>7.0340000000000007</c:v>
                </c:pt>
                <c:pt idx="1234">
                  <c:v>6.4099999999999993</c:v>
                </c:pt>
                <c:pt idx="1235">
                  <c:v>6.0389999999999997</c:v>
                </c:pt>
                <c:pt idx="1236">
                  <c:v>5.3010000000000002</c:v>
                </c:pt>
                <c:pt idx="1237">
                  <c:v>5.1219999999999999</c:v>
                </c:pt>
                <c:pt idx="1238">
                  <c:v>5.3770000000000007</c:v>
                </c:pt>
                <c:pt idx="1239">
                  <c:v>6.56</c:v>
                </c:pt>
                <c:pt idx="1240">
                  <c:v>6.992</c:v>
                </c:pt>
                <c:pt idx="1241">
                  <c:v>6.9629999999999992</c:v>
                </c:pt>
                <c:pt idx="1242">
                  <c:v>6.8579999999999997</c:v>
                </c:pt>
                <c:pt idx="1243">
                  <c:v>6.1390000000000002</c:v>
                </c:pt>
                <c:pt idx="1244">
                  <c:v>5.2110000000000003</c:v>
                </c:pt>
                <c:pt idx="1245">
                  <c:v>4.5979999999999999</c:v>
                </c:pt>
                <c:pt idx="1246">
                  <c:v>4.1710000000000003</c:v>
                </c:pt>
                <c:pt idx="1247">
                  <c:v>3.5219999999999998</c:v>
                </c:pt>
                <c:pt idx="1248">
                  <c:v>3.0469999999999997</c:v>
                </c:pt>
                <c:pt idx="1249">
                  <c:v>2.7010000000000001</c:v>
                </c:pt>
                <c:pt idx="1250">
                  <c:v>2.7069999999999999</c:v>
                </c:pt>
                <c:pt idx="1251">
                  <c:v>2.7949999999999999</c:v>
                </c:pt>
                <c:pt idx="1252">
                  <c:v>3.7</c:v>
                </c:pt>
                <c:pt idx="1253">
                  <c:v>4.8049999999999997</c:v>
                </c:pt>
                <c:pt idx="1254">
                  <c:v>6.609</c:v>
                </c:pt>
                <c:pt idx="1255">
                  <c:v>7.6530000000000005</c:v>
                </c:pt>
                <c:pt idx="1256">
                  <c:v>8.1909999999999989</c:v>
                </c:pt>
                <c:pt idx="1257">
                  <c:v>7.4090000000000007</c:v>
                </c:pt>
                <c:pt idx="1258">
                  <c:v>7.1950000000000003</c:v>
                </c:pt>
                <c:pt idx="1259">
                  <c:v>6.8529999999999998</c:v>
                </c:pt>
                <c:pt idx="1260">
                  <c:v>6.8769999999999998</c:v>
                </c:pt>
                <c:pt idx="1261">
                  <c:v>6.8980000000000006</c:v>
                </c:pt>
                <c:pt idx="1262">
                  <c:v>6.4650000000000007</c:v>
                </c:pt>
                <c:pt idx="1263">
                  <c:v>6.4749999999999996</c:v>
                </c:pt>
                <c:pt idx="1264">
                  <c:v>6.3250000000000002</c:v>
                </c:pt>
                <c:pt idx="1265">
                  <c:v>6.1760000000000002</c:v>
                </c:pt>
                <c:pt idx="1266">
                  <c:v>5.9909999999999997</c:v>
                </c:pt>
                <c:pt idx="1267">
                  <c:v>5.242</c:v>
                </c:pt>
                <c:pt idx="1268">
                  <c:v>4.2450000000000001</c:v>
                </c:pt>
                <c:pt idx="1269">
                  <c:v>2.448</c:v>
                </c:pt>
                <c:pt idx="1270">
                  <c:v>1.206</c:v>
                </c:pt>
                <c:pt idx="1271">
                  <c:v>0.191</c:v>
                </c:pt>
                <c:pt idx="1272">
                  <c:v>0.92300000000000004</c:v>
                </c:pt>
                <c:pt idx="1273">
                  <c:v>0.10700000000000001</c:v>
                </c:pt>
                <c:pt idx="1274">
                  <c:v>0.11899999999999999</c:v>
                </c:pt>
                <c:pt idx="1275">
                  <c:v>8.9999999999999993E-3</c:v>
                </c:pt>
                <c:pt idx="1276">
                  <c:v>2E-3</c:v>
                </c:pt>
                <c:pt idx="1277">
                  <c:v>8.9999999999999993E-3</c:v>
                </c:pt>
                <c:pt idx="1278">
                  <c:v>3.968</c:v>
                </c:pt>
                <c:pt idx="1279">
                  <c:v>5.7060000000000004</c:v>
                </c:pt>
                <c:pt idx="1280">
                  <c:v>5.9350000000000005</c:v>
                </c:pt>
                <c:pt idx="1281">
                  <c:v>5.1689999999999996</c:v>
                </c:pt>
                <c:pt idx="1282">
                  <c:v>4.6639999999999997</c:v>
                </c:pt>
                <c:pt idx="1283">
                  <c:v>4.165</c:v>
                </c:pt>
                <c:pt idx="1284">
                  <c:v>3.71</c:v>
                </c:pt>
                <c:pt idx="1285">
                  <c:v>3.3600000000000003</c:v>
                </c:pt>
                <c:pt idx="1286">
                  <c:v>3.9079999999999999</c:v>
                </c:pt>
                <c:pt idx="1287">
                  <c:v>4.9509999999999996</c:v>
                </c:pt>
                <c:pt idx="1288">
                  <c:v>6.3079999999999998</c:v>
                </c:pt>
                <c:pt idx="1289">
                  <c:v>7.38</c:v>
                </c:pt>
                <c:pt idx="1290">
                  <c:v>8.6440000000000001</c:v>
                </c:pt>
                <c:pt idx="1291">
                  <c:v>8.4009999999999998</c:v>
                </c:pt>
                <c:pt idx="1292">
                  <c:v>7.2969999999999997</c:v>
                </c:pt>
                <c:pt idx="1293">
                  <c:v>6.9260000000000002</c:v>
                </c:pt>
                <c:pt idx="1294">
                  <c:v>6.798</c:v>
                </c:pt>
                <c:pt idx="1295">
                  <c:v>6.51</c:v>
                </c:pt>
                <c:pt idx="1296">
                  <c:v>6.6470000000000002</c:v>
                </c:pt>
                <c:pt idx="1297">
                  <c:v>6.39</c:v>
                </c:pt>
                <c:pt idx="1298">
                  <c:v>5.95</c:v>
                </c:pt>
                <c:pt idx="1299">
                  <c:v>5.5200000000000005</c:v>
                </c:pt>
                <c:pt idx="1300">
                  <c:v>5.5389999999999997</c:v>
                </c:pt>
                <c:pt idx="1301">
                  <c:v>5.71</c:v>
                </c:pt>
                <c:pt idx="1302">
                  <c:v>6.1669999999999998</c:v>
                </c:pt>
                <c:pt idx="1303">
                  <c:v>6.6109999999999998</c:v>
                </c:pt>
                <c:pt idx="1304">
                  <c:v>6.44</c:v>
                </c:pt>
                <c:pt idx="1305">
                  <c:v>5.76</c:v>
                </c:pt>
                <c:pt idx="1306">
                  <c:v>4.9159999999999995</c:v>
                </c:pt>
                <c:pt idx="1307">
                  <c:v>4.5840000000000005</c:v>
                </c:pt>
                <c:pt idx="1308">
                  <c:v>4.032</c:v>
                </c:pt>
                <c:pt idx="1309">
                  <c:v>3.222</c:v>
                </c:pt>
                <c:pt idx="1310">
                  <c:v>3.7600000000000002</c:v>
                </c:pt>
                <c:pt idx="1311">
                  <c:v>4.5</c:v>
                </c:pt>
                <c:pt idx="1312">
                  <c:v>5.5950000000000006</c:v>
                </c:pt>
                <c:pt idx="1313">
                  <c:v>7.1669999999999998</c:v>
                </c:pt>
                <c:pt idx="1314">
                  <c:v>8</c:v>
                </c:pt>
                <c:pt idx="1315">
                  <c:v>7.4129999999999994</c:v>
                </c:pt>
                <c:pt idx="1316">
                  <c:v>6.5170000000000003</c:v>
                </c:pt>
                <c:pt idx="1317">
                  <c:v>5.9939999999999998</c:v>
                </c:pt>
                <c:pt idx="1318">
                  <c:v>5.6219999999999999</c:v>
                </c:pt>
                <c:pt idx="1319">
                  <c:v>5.2200000000000006</c:v>
                </c:pt>
                <c:pt idx="1320">
                  <c:v>5.657</c:v>
                </c:pt>
                <c:pt idx="1321">
                  <c:v>5.5439999999999996</c:v>
                </c:pt>
                <c:pt idx="1322">
                  <c:v>5.5380000000000003</c:v>
                </c:pt>
                <c:pt idx="1323">
                  <c:v>5.4889999999999999</c:v>
                </c:pt>
                <c:pt idx="1324">
                  <c:v>5.5190000000000001</c:v>
                </c:pt>
                <c:pt idx="1325">
                  <c:v>5.5069999999999997</c:v>
                </c:pt>
                <c:pt idx="1326">
                  <c:v>5.6710000000000003</c:v>
                </c:pt>
                <c:pt idx="1327">
                  <c:v>5.992</c:v>
                </c:pt>
                <c:pt idx="1328">
                  <c:v>6.1579999999999995</c:v>
                </c:pt>
                <c:pt idx="1329">
                  <c:v>6.1820000000000004</c:v>
                </c:pt>
                <c:pt idx="1330">
                  <c:v>5.6310000000000002</c:v>
                </c:pt>
                <c:pt idx="1331">
                  <c:v>5.4119999999999999</c:v>
                </c:pt>
                <c:pt idx="1332">
                  <c:v>5</c:v>
                </c:pt>
                <c:pt idx="1333">
                  <c:v>4.6029999999999998</c:v>
                </c:pt>
                <c:pt idx="1334">
                  <c:v>4.984</c:v>
                </c:pt>
                <c:pt idx="1335">
                  <c:v>5.5</c:v>
                </c:pt>
                <c:pt idx="1336">
                  <c:v>6.7799999999999994</c:v>
                </c:pt>
                <c:pt idx="1337">
                  <c:v>8.2189999999999994</c:v>
                </c:pt>
                <c:pt idx="1338">
                  <c:v>9.3689999999999998</c:v>
                </c:pt>
                <c:pt idx="1339">
                  <c:v>7.918000000000001</c:v>
                </c:pt>
                <c:pt idx="1340">
                  <c:v>6.9989999999999997</c:v>
                </c:pt>
                <c:pt idx="1341">
                  <c:v>6.5920000000000005</c:v>
                </c:pt>
                <c:pt idx="1342">
                  <c:v>6.5230000000000006</c:v>
                </c:pt>
                <c:pt idx="1343">
                  <c:v>5.8380000000000001</c:v>
                </c:pt>
                <c:pt idx="1344">
                  <c:v>5.7829999999999995</c:v>
                </c:pt>
                <c:pt idx="1345">
                  <c:v>5.6820000000000004</c:v>
                </c:pt>
                <c:pt idx="1346">
                  <c:v>5.57</c:v>
                </c:pt>
                <c:pt idx="1347">
                  <c:v>5.18</c:v>
                </c:pt>
                <c:pt idx="1348">
                  <c:v>5.33</c:v>
                </c:pt>
                <c:pt idx="1349">
                  <c:v>5.7919999999999998</c:v>
                </c:pt>
                <c:pt idx="1350">
                  <c:v>7.0019999999999998</c:v>
                </c:pt>
                <c:pt idx="1351">
                  <c:v>7.99</c:v>
                </c:pt>
                <c:pt idx="1352">
                  <c:v>8.16</c:v>
                </c:pt>
                <c:pt idx="1353">
                  <c:v>7.383</c:v>
                </c:pt>
                <c:pt idx="1354">
                  <c:v>6.6650000000000009</c:v>
                </c:pt>
                <c:pt idx="1355">
                  <c:v>6.5030000000000001</c:v>
                </c:pt>
                <c:pt idx="1356">
                  <c:v>5.8420000000000005</c:v>
                </c:pt>
                <c:pt idx="1357">
                  <c:v>5.819</c:v>
                </c:pt>
                <c:pt idx="1358">
                  <c:v>6.1289999999999996</c:v>
                </c:pt>
                <c:pt idx="1359">
                  <c:v>6.4950000000000001</c:v>
                </c:pt>
                <c:pt idx="1360">
                  <c:v>6.9989999999999997</c:v>
                </c:pt>
                <c:pt idx="1361">
                  <c:v>7.7</c:v>
                </c:pt>
                <c:pt idx="1362">
                  <c:v>8.532</c:v>
                </c:pt>
                <c:pt idx="1363">
                  <c:v>8.1010000000000009</c:v>
                </c:pt>
                <c:pt idx="1364">
                  <c:v>7.2209999999999992</c:v>
                </c:pt>
                <c:pt idx="1365">
                  <c:v>6.569</c:v>
                </c:pt>
                <c:pt idx="1366">
                  <c:v>6.520999999999999</c:v>
                </c:pt>
                <c:pt idx="1367">
                  <c:v>6.0759999999999996</c:v>
                </c:pt>
                <c:pt idx="1368">
                  <c:v>5.7619999999999996</c:v>
                </c:pt>
                <c:pt idx="1369">
                  <c:v>5.7549999999999999</c:v>
                </c:pt>
                <c:pt idx="1370">
                  <c:v>5.7350000000000003</c:v>
                </c:pt>
                <c:pt idx="1371">
                  <c:v>5.6869999999999994</c:v>
                </c:pt>
                <c:pt idx="1372">
                  <c:v>5.7350000000000003</c:v>
                </c:pt>
                <c:pt idx="1373">
                  <c:v>6.3100000000000005</c:v>
                </c:pt>
                <c:pt idx="1374">
                  <c:v>7.431</c:v>
                </c:pt>
                <c:pt idx="1375">
                  <c:v>9.5629999999999988</c:v>
                </c:pt>
                <c:pt idx="1376">
                  <c:v>9.5779999999999994</c:v>
                </c:pt>
                <c:pt idx="1377">
                  <c:v>8.0809999999999995</c:v>
                </c:pt>
                <c:pt idx="1378">
                  <c:v>6.8709999999999996</c:v>
                </c:pt>
                <c:pt idx="1379">
                  <c:v>6.4930000000000003</c:v>
                </c:pt>
                <c:pt idx="1380">
                  <c:v>5.9260000000000002</c:v>
                </c:pt>
                <c:pt idx="1381">
                  <c:v>5.9249999999999998</c:v>
                </c:pt>
                <c:pt idx="1382">
                  <c:v>6.4709999999999992</c:v>
                </c:pt>
                <c:pt idx="1383">
                  <c:v>7.2060000000000004</c:v>
                </c:pt>
                <c:pt idx="1384">
                  <c:v>7.9819999999999993</c:v>
                </c:pt>
                <c:pt idx="1385">
                  <c:v>9.8019999999999996</c:v>
                </c:pt>
                <c:pt idx="1386">
                  <c:v>11.18</c:v>
                </c:pt>
                <c:pt idx="1387">
                  <c:v>10.516999999999999</c:v>
                </c:pt>
                <c:pt idx="1388">
                  <c:v>8.4359999999999999</c:v>
                </c:pt>
                <c:pt idx="1389">
                  <c:v>7.2370000000000001</c:v>
                </c:pt>
                <c:pt idx="1390">
                  <c:v>7.0269999999999992</c:v>
                </c:pt>
                <c:pt idx="1391">
                  <c:v>6.4969999999999999</c:v>
                </c:pt>
                <c:pt idx="1392">
                  <c:v>6.0359999999999996</c:v>
                </c:pt>
                <c:pt idx="1393">
                  <c:v>5.9399999999999995</c:v>
                </c:pt>
                <c:pt idx="1394">
                  <c:v>6.1340000000000003</c:v>
                </c:pt>
                <c:pt idx="1395">
                  <c:v>6.3460000000000001</c:v>
                </c:pt>
                <c:pt idx="1396">
                  <c:v>6.3740000000000006</c:v>
                </c:pt>
                <c:pt idx="1397">
                  <c:v>6.7439999999999998</c:v>
                </c:pt>
                <c:pt idx="1398">
                  <c:v>7.43</c:v>
                </c:pt>
                <c:pt idx="1399">
                  <c:v>9.8889999999999993</c:v>
                </c:pt>
                <c:pt idx="1400">
                  <c:v>10.449</c:v>
                </c:pt>
                <c:pt idx="1401">
                  <c:v>8.5459999999999994</c:v>
                </c:pt>
                <c:pt idx="1402">
                  <c:v>7.3989999999999991</c:v>
                </c:pt>
                <c:pt idx="1403">
                  <c:v>6.7549999999999999</c:v>
                </c:pt>
                <c:pt idx="1404">
                  <c:v>6.3929999999999998</c:v>
                </c:pt>
                <c:pt idx="1405">
                  <c:v>6.0720000000000001</c:v>
                </c:pt>
                <c:pt idx="1406">
                  <c:v>6.1509999999999998</c:v>
                </c:pt>
                <c:pt idx="1407">
                  <c:v>7.043000000000001</c:v>
                </c:pt>
                <c:pt idx="1408">
                  <c:v>7.4959999999999996</c:v>
                </c:pt>
                <c:pt idx="1409">
                  <c:v>9.3040000000000003</c:v>
                </c:pt>
                <c:pt idx="1410">
                  <c:v>9.3239999999999998</c:v>
                </c:pt>
                <c:pt idx="1411">
                  <c:v>7.8290000000000006</c:v>
                </c:pt>
                <c:pt idx="1412">
                  <c:v>6.5439999999999996</c:v>
                </c:pt>
                <c:pt idx="1413">
                  <c:v>6.2590000000000003</c:v>
                </c:pt>
                <c:pt idx="1414">
                  <c:v>6.4019999999999992</c:v>
                </c:pt>
                <c:pt idx="1415">
                  <c:v>5.5119999999999996</c:v>
                </c:pt>
                <c:pt idx="1416">
                  <c:v>5.5110000000000001</c:v>
                </c:pt>
                <c:pt idx="1417">
                  <c:v>5.3330000000000002</c:v>
                </c:pt>
                <c:pt idx="1418">
                  <c:v>5.0060000000000002</c:v>
                </c:pt>
                <c:pt idx="1419">
                  <c:v>4.7030000000000003</c:v>
                </c:pt>
                <c:pt idx="1420">
                  <c:v>4.7149999999999999</c:v>
                </c:pt>
                <c:pt idx="1421">
                  <c:v>5.3319999999999999</c:v>
                </c:pt>
                <c:pt idx="1422">
                  <c:v>6.2030000000000003</c:v>
                </c:pt>
                <c:pt idx="1423">
                  <c:v>7.3739999999999997</c:v>
                </c:pt>
                <c:pt idx="1424">
                  <c:v>7.3890000000000002</c:v>
                </c:pt>
                <c:pt idx="1425">
                  <c:v>7.0389999999999997</c:v>
                </c:pt>
                <c:pt idx="1426">
                  <c:v>6.0469999999999997</c:v>
                </c:pt>
                <c:pt idx="1427">
                  <c:v>5.5009999999999994</c:v>
                </c:pt>
                <c:pt idx="1428">
                  <c:v>5.3979999999999997</c:v>
                </c:pt>
                <c:pt idx="1429">
                  <c:v>5.6020000000000003</c:v>
                </c:pt>
                <c:pt idx="1430">
                  <c:v>5.5069999999999997</c:v>
                </c:pt>
                <c:pt idx="1431">
                  <c:v>6.4959999999999996</c:v>
                </c:pt>
                <c:pt idx="1432">
                  <c:v>7.0980000000000008</c:v>
                </c:pt>
                <c:pt idx="1433">
                  <c:v>8.1280000000000001</c:v>
                </c:pt>
                <c:pt idx="1434">
                  <c:v>8.6260000000000012</c:v>
                </c:pt>
                <c:pt idx="1435">
                  <c:v>8.0990000000000002</c:v>
                </c:pt>
                <c:pt idx="1436">
                  <c:v>7.2769999999999992</c:v>
                </c:pt>
                <c:pt idx="1437">
                  <c:v>6.7249999999999996</c:v>
                </c:pt>
                <c:pt idx="1438">
                  <c:v>6.49</c:v>
                </c:pt>
                <c:pt idx="1439">
                  <c:v>6.09</c:v>
                </c:pt>
                <c:pt idx="1440">
                  <c:v>6.2039999999999997</c:v>
                </c:pt>
                <c:pt idx="1441">
                  <c:v>6.1420000000000003</c:v>
                </c:pt>
                <c:pt idx="1442">
                  <c:v>5.8140000000000001</c:v>
                </c:pt>
                <c:pt idx="1443">
                  <c:v>5.7829999999999995</c:v>
                </c:pt>
                <c:pt idx="1444">
                  <c:v>5.83</c:v>
                </c:pt>
                <c:pt idx="1445">
                  <c:v>6.2490000000000006</c:v>
                </c:pt>
                <c:pt idx="1446">
                  <c:v>7.1579999999999995</c:v>
                </c:pt>
                <c:pt idx="1447">
                  <c:v>7.9359999999999999</c:v>
                </c:pt>
                <c:pt idx="1448">
                  <c:v>8.3790000000000013</c:v>
                </c:pt>
                <c:pt idx="1449">
                  <c:v>7.5879999999999992</c:v>
                </c:pt>
                <c:pt idx="1450">
                  <c:v>6.6519999999999992</c:v>
                </c:pt>
                <c:pt idx="1451">
                  <c:v>6.4760000000000009</c:v>
                </c:pt>
                <c:pt idx="1452">
                  <c:v>6.3079999999999998</c:v>
                </c:pt>
                <c:pt idx="1453">
                  <c:v>6.4629999999999992</c:v>
                </c:pt>
                <c:pt idx="1454">
                  <c:v>6.7110000000000003</c:v>
                </c:pt>
                <c:pt idx="1455">
                  <c:v>7.2569999999999997</c:v>
                </c:pt>
                <c:pt idx="1456">
                  <c:v>7.8940000000000001</c:v>
                </c:pt>
                <c:pt idx="1457">
                  <c:v>8.9400000000000013</c:v>
                </c:pt>
                <c:pt idx="1458">
                  <c:v>9.3730000000000011</c:v>
                </c:pt>
                <c:pt idx="1459">
                  <c:v>8.7189999999999994</c:v>
                </c:pt>
                <c:pt idx="1460">
                  <c:v>7.7489999999999997</c:v>
                </c:pt>
                <c:pt idx="1461">
                  <c:v>7.1620000000000008</c:v>
                </c:pt>
                <c:pt idx="1462">
                  <c:v>7.0060000000000002</c:v>
                </c:pt>
                <c:pt idx="1463">
                  <c:v>6.6390000000000002</c:v>
                </c:pt>
                <c:pt idx="1464">
                  <c:v>5.9950000000000001</c:v>
                </c:pt>
                <c:pt idx="1465">
                  <c:v>5.6029999999999998</c:v>
                </c:pt>
                <c:pt idx="1466">
                  <c:v>5.6020000000000003</c:v>
                </c:pt>
                <c:pt idx="1467">
                  <c:v>5.548</c:v>
                </c:pt>
                <c:pt idx="1468">
                  <c:v>5.4880000000000004</c:v>
                </c:pt>
                <c:pt idx="1469">
                  <c:v>5.5990000000000002</c:v>
                </c:pt>
                <c:pt idx="1470">
                  <c:v>5.6579999999999995</c:v>
                </c:pt>
                <c:pt idx="1471">
                  <c:v>6.0670000000000002</c:v>
                </c:pt>
                <c:pt idx="1472">
                  <c:v>6.3759999999999994</c:v>
                </c:pt>
                <c:pt idx="1473">
                  <c:v>6.5750000000000002</c:v>
                </c:pt>
                <c:pt idx="1474">
                  <c:v>6.0439999999999996</c:v>
                </c:pt>
                <c:pt idx="1475">
                  <c:v>5.9180000000000001</c:v>
                </c:pt>
                <c:pt idx="1476">
                  <c:v>5.5830000000000002</c:v>
                </c:pt>
                <c:pt idx="1477">
                  <c:v>5.49</c:v>
                </c:pt>
                <c:pt idx="1478">
                  <c:v>5.9859999999999998</c:v>
                </c:pt>
                <c:pt idx="1479">
                  <c:v>6.6079999999999997</c:v>
                </c:pt>
                <c:pt idx="1480">
                  <c:v>7.3</c:v>
                </c:pt>
                <c:pt idx="1481">
                  <c:v>8.0629999999999988</c:v>
                </c:pt>
                <c:pt idx="1482">
                  <c:v>9.36</c:v>
                </c:pt>
                <c:pt idx="1483">
                  <c:v>8.99</c:v>
                </c:pt>
                <c:pt idx="1484">
                  <c:v>7.6980000000000004</c:v>
                </c:pt>
                <c:pt idx="1485">
                  <c:v>6.9809999999999999</c:v>
                </c:pt>
                <c:pt idx="1486">
                  <c:v>6.0939999999999994</c:v>
                </c:pt>
                <c:pt idx="1487">
                  <c:v>5.4990000000000006</c:v>
                </c:pt>
                <c:pt idx="1488">
                  <c:v>5.45</c:v>
                </c:pt>
                <c:pt idx="1489">
                  <c:v>5.3630000000000004</c:v>
                </c:pt>
                <c:pt idx="1490">
                  <c:v>5.38</c:v>
                </c:pt>
                <c:pt idx="1491">
                  <c:v>5.5590000000000002</c:v>
                </c:pt>
                <c:pt idx="1492">
                  <c:v>5.5310000000000006</c:v>
                </c:pt>
                <c:pt idx="1493">
                  <c:v>5.5819999999999999</c:v>
                </c:pt>
                <c:pt idx="1494">
                  <c:v>5.6</c:v>
                </c:pt>
                <c:pt idx="1495">
                  <c:v>5.6880000000000006</c:v>
                </c:pt>
                <c:pt idx="1496">
                  <c:v>5.4770000000000003</c:v>
                </c:pt>
                <c:pt idx="1497">
                  <c:v>5.399</c:v>
                </c:pt>
                <c:pt idx="1498">
                  <c:v>5.2009999999999996</c:v>
                </c:pt>
                <c:pt idx="1499">
                  <c:v>4.9459999999999997</c:v>
                </c:pt>
                <c:pt idx="1500">
                  <c:v>4.7509999999999994</c:v>
                </c:pt>
                <c:pt idx="1501">
                  <c:v>4.2509999999999994</c:v>
                </c:pt>
                <c:pt idx="1502">
                  <c:v>4.6840000000000002</c:v>
                </c:pt>
                <c:pt idx="1503">
                  <c:v>5.4130000000000003</c:v>
                </c:pt>
                <c:pt idx="1504">
                  <c:v>6.0280000000000005</c:v>
                </c:pt>
                <c:pt idx="1505">
                  <c:v>7.5579999999999998</c:v>
                </c:pt>
                <c:pt idx="1506">
                  <c:v>8.4359999999999999</c:v>
                </c:pt>
                <c:pt idx="1507">
                  <c:v>8.6959999999999997</c:v>
                </c:pt>
                <c:pt idx="1508">
                  <c:v>8.18</c:v>
                </c:pt>
                <c:pt idx="1509">
                  <c:v>7.5</c:v>
                </c:pt>
                <c:pt idx="1510">
                  <c:v>7.2180000000000009</c:v>
                </c:pt>
                <c:pt idx="1511">
                  <c:v>7.242</c:v>
                </c:pt>
                <c:pt idx="1512">
                  <c:v>6.9129999999999994</c:v>
                </c:pt>
                <c:pt idx="1513">
                  <c:v>6.7900000000000009</c:v>
                </c:pt>
                <c:pt idx="1514">
                  <c:v>6.7409999999999997</c:v>
                </c:pt>
                <c:pt idx="1515">
                  <c:v>6.6219999999999999</c:v>
                </c:pt>
                <c:pt idx="1516">
                  <c:v>6.5590000000000002</c:v>
                </c:pt>
                <c:pt idx="1517">
                  <c:v>7.0830000000000002</c:v>
                </c:pt>
                <c:pt idx="1518">
                  <c:v>8.1180000000000003</c:v>
                </c:pt>
                <c:pt idx="1519">
                  <c:v>9.6669999999999998</c:v>
                </c:pt>
                <c:pt idx="1520">
                  <c:v>10.297000000000001</c:v>
                </c:pt>
                <c:pt idx="1521">
                  <c:v>8.5019999999999989</c:v>
                </c:pt>
                <c:pt idx="1522">
                  <c:v>7.1930000000000005</c:v>
                </c:pt>
                <c:pt idx="1523">
                  <c:v>6.4889999999999999</c:v>
                </c:pt>
                <c:pt idx="1524">
                  <c:v>6.3929999999999998</c:v>
                </c:pt>
                <c:pt idx="1525">
                  <c:v>6.11</c:v>
                </c:pt>
                <c:pt idx="1526">
                  <c:v>6.25</c:v>
                </c:pt>
                <c:pt idx="1527">
                  <c:v>6.9859999999999998</c:v>
                </c:pt>
                <c:pt idx="1528">
                  <c:v>7.5950000000000006</c:v>
                </c:pt>
                <c:pt idx="1529">
                  <c:v>9.0590000000000011</c:v>
                </c:pt>
                <c:pt idx="1530">
                  <c:v>10.518000000000001</c:v>
                </c:pt>
                <c:pt idx="1531">
                  <c:v>9.9130000000000003</c:v>
                </c:pt>
                <c:pt idx="1532">
                  <c:v>8.0519999999999996</c:v>
                </c:pt>
                <c:pt idx="1533">
                  <c:v>7.1390000000000002</c:v>
                </c:pt>
                <c:pt idx="1534">
                  <c:v>6.7489999999999997</c:v>
                </c:pt>
                <c:pt idx="1535">
                  <c:v>6.3929999999999998</c:v>
                </c:pt>
                <c:pt idx="1536">
                  <c:v>6.1959999999999997</c:v>
                </c:pt>
                <c:pt idx="1537">
                  <c:v>6.1669999999999998</c:v>
                </c:pt>
                <c:pt idx="1538">
                  <c:v>6.133</c:v>
                </c:pt>
                <c:pt idx="1539">
                  <c:v>5.9859999999999998</c:v>
                </c:pt>
                <c:pt idx="1540">
                  <c:v>6.056</c:v>
                </c:pt>
                <c:pt idx="1541">
                  <c:v>6.1669999999999998</c:v>
                </c:pt>
                <c:pt idx="1542">
                  <c:v>7.1530000000000005</c:v>
                </c:pt>
                <c:pt idx="1543">
                  <c:v>7.9279999999999999</c:v>
                </c:pt>
                <c:pt idx="1544">
                  <c:v>8.3019999999999996</c:v>
                </c:pt>
                <c:pt idx="1545">
                  <c:v>7.7</c:v>
                </c:pt>
                <c:pt idx="1546">
                  <c:v>7.1150000000000002</c:v>
                </c:pt>
                <c:pt idx="1547">
                  <c:v>6.9719999999999995</c:v>
                </c:pt>
                <c:pt idx="1548">
                  <c:v>6.6010000000000009</c:v>
                </c:pt>
                <c:pt idx="1549">
                  <c:v>6.5830000000000002</c:v>
                </c:pt>
                <c:pt idx="1550">
                  <c:v>6.9610000000000003</c:v>
                </c:pt>
                <c:pt idx="1551">
                  <c:v>7.0670000000000002</c:v>
                </c:pt>
                <c:pt idx="1552">
                  <c:v>7.6280000000000001</c:v>
                </c:pt>
                <c:pt idx="1553">
                  <c:v>8.206999999999999</c:v>
                </c:pt>
                <c:pt idx="1554">
                  <c:v>10.437999999999999</c:v>
                </c:pt>
                <c:pt idx="1555">
                  <c:v>11.298999999999999</c:v>
                </c:pt>
                <c:pt idx="1556">
                  <c:v>9.3120000000000012</c:v>
                </c:pt>
                <c:pt idx="1557">
                  <c:v>8.2810000000000006</c:v>
                </c:pt>
                <c:pt idx="1558">
                  <c:v>7.6079999999999997</c:v>
                </c:pt>
                <c:pt idx="1559">
                  <c:v>7.1829999999999998</c:v>
                </c:pt>
                <c:pt idx="1560">
                  <c:v>7.1</c:v>
                </c:pt>
                <c:pt idx="1561">
                  <c:v>7.07</c:v>
                </c:pt>
                <c:pt idx="1562">
                  <c:v>7.0459999999999994</c:v>
                </c:pt>
                <c:pt idx="1563">
                  <c:v>6.9739999999999993</c:v>
                </c:pt>
                <c:pt idx="1564">
                  <c:v>7.0459999999999994</c:v>
                </c:pt>
                <c:pt idx="1565">
                  <c:v>7.391</c:v>
                </c:pt>
                <c:pt idx="1566">
                  <c:v>8.3979999999999997</c:v>
                </c:pt>
                <c:pt idx="1567">
                  <c:v>10.664</c:v>
                </c:pt>
                <c:pt idx="1568">
                  <c:v>10.870000000000001</c:v>
                </c:pt>
                <c:pt idx="1569">
                  <c:v>8.7210000000000001</c:v>
                </c:pt>
                <c:pt idx="1570">
                  <c:v>7.5920000000000005</c:v>
                </c:pt>
                <c:pt idx="1571">
                  <c:v>7.202</c:v>
                </c:pt>
                <c:pt idx="1572">
                  <c:v>6.9349999999999996</c:v>
                </c:pt>
                <c:pt idx="1573">
                  <c:v>6.9290000000000003</c:v>
                </c:pt>
                <c:pt idx="1574">
                  <c:v>7.0640000000000001</c:v>
                </c:pt>
                <c:pt idx="1575">
                  <c:v>7.2260000000000009</c:v>
                </c:pt>
                <c:pt idx="1576">
                  <c:v>8.1059999999999999</c:v>
                </c:pt>
                <c:pt idx="1577">
                  <c:v>10</c:v>
                </c:pt>
                <c:pt idx="1578">
                  <c:v>11.958</c:v>
                </c:pt>
                <c:pt idx="1579">
                  <c:v>11.925000000000001</c:v>
                </c:pt>
                <c:pt idx="1580">
                  <c:v>9.34</c:v>
                </c:pt>
                <c:pt idx="1581">
                  <c:v>8.0150000000000006</c:v>
                </c:pt>
                <c:pt idx="1582">
                  <c:v>7.798</c:v>
                </c:pt>
                <c:pt idx="1583">
                  <c:v>7.4340000000000002</c:v>
                </c:pt>
                <c:pt idx="1584">
                  <c:v>7.3330000000000002</c:v>
                </c:pt>
                <c:pt idx="1585">
                  <c:v>7.2319999999999993</c:v>
                </c:pt>
                <c:pt idx="1586">
                  <c:v>7.0340000000000007</c:v>
                </c:pt>
                <c:pt idx="1587">
                  <c:v>6.8709999999999996</c:v>
                </c:pt>
                <c:pt idx="1588">
                  <c:v>6.9889999999999999</c:v>
                </c:pt>
                <c:pt idx="1589">
                  <c:v>7.3129999999999997</c:v>
                </c:pt>
                <c:pt idx="1590">
                  <c:v>8.4269999999999996</c:v>
                </c:pt>
                <c:pt idx="1591">
                  <c:v>10.32</c:v>
                </c:pt>
                <c:pt idx="1592">
                  <c:v>9.67</c:v>
                </c:pt>
                <c:pt idx="1593">
                  <c:v>7.9090000000000007</c:v>
                </c:pt>
                <c:pt idx="1594">
                  <c:v>7.1310000000000002</c:v>
                </c:pt>
                <c:pt idx="1595">
                  <c:v>6.6159999999999997</c:v>
                </c:pt>
                <c:pt idx="1596">
                  <c:v>6.1689999999999996</c:v>
                </c:pt>
                <c:pt idx="1597">
                  <c:v>6.0259999999999998</c:v>
                </c:pt>
                <c:pt idx="1598">
                  <c:v>6.3330000000000002</c:v>
                </c:pt>
                <c:pt idx="1599">
                  <c:v>6.604000000000001</c:v>
                </c:pt>
                <c:pt idx="1600">
                  <c:v>6.992</c:v>
                </c:pt>
                <c:pt idx="1601">
                  <c:v>8.92</c:v>
                </c:pt>
                <c:pt idx="1602">
                  <c:v>10.571</c:v>
                </c:pt>
                <c:pt idx="1603">
                  <c:v>9.0299999999999994</c:v>
                </c:pt>
                <c:pt idx="1604">
                  <c:v>8.2489999999999988</c:v>
                </c:pt>
                <c:pt idx="1605">
                  <c:v>7.3349999999999991</c:v>
                </c:pt>
                <c:pt idx="1606">
                  <c:v>7.331999999999999</c:v>
                </c:pt>
                <c:pt idx="1607">
                  <c:v>6.7720000000000002</c:v>
                </c:pt>
                <c:pt idx="1608">
                  <c:v>6.8450000000000006</c:v>
                </c:pt>
                <c:pt idx="1609">
                  <c:v>6.6959999999999997</c:v>
                </c:pt>
                <c:pt idx="1610">
                  <c:v>6.7010000000000005</c:v>
                </c:pt>
                <c:pt idx="1611">
                  <c:v>6.5989999999999993</c:v>
                </c:pt>
                <c:pt idx="1612">
                  <c:v>6.63</c:v>
                </c:pt>
                <c:pt idx="1613">
                  <c:v>6.7110000000000003</c:v>
                </c:pt>
                <c:pt idx="1614">
                  <c:v>8.2910000000000004</c:v>
                </c:pt>
                <c:pt idx="1615">
                  <c:v>9.5060000000000002</c:v>
                </c:pt>
                <c:pt idx="1616">
                  <c:v>8.8889999999999993</c:v>
                </c:pt>
                <c:pt idx="1617">
                  <c:v>7.4359999999999999</c:v>
                </c:pt>
                <c:pt idx="1618">
                  <c:v>5.7590000000000003</c:v>
                </c:pt>
                <c:pt idx="1619">
                  <c:v>5.2050000000000001</c:v>
                </c:pt>
                <c:pt idx="1620">
                  <c:v>2.177</c:v>
                </c:pt>
                <c:pt idx="1621">
                  <c:v>0.42599999999999999</c:v>
                </c:pt>
                <c:pt idx="1622">
                  <c:v>2.42</c:v>
                </c:pt>
                <c:pt idx="1623">
                  <c:v>4.0250000000000004</c:v>
                </c:pt>
                <c:pt idx="1624">
                  <c:v>5.5739999999999998</c:v>
                </c:pt>
                <c:pt idx="1625">
                  <c:v>7.1980000000000004</c:v>
                </c:pt>
                <c:pt idx="1626">
                  <c:v>8.3760000000000012</c:v>
                </c:pt>
                <c:pt idx="1627">
                  <c:v>7.9980000000000002</c:v>
                </c:pt>
                <c:pt idx="1628">
                  <c:v>7.145999999999999</c:v>
                </c:pt>
                <c:pt idx="1629">
                  <c:v>6.49</c:v>
                </c:pt>
                <c:pt idx="1630">
                  <c:v>6.5030000000000001</c:v>
                </c:pt>
                <c:pt idx="1631">
                  <c:v>5.9889999999999999</c:v>
                </c:pt>
                <c:pt idx="1632">
                  <c:v>5.6560000000000006</c:v>
                </c:pt>
                <c:pt idx="1633">
                  <c:v>5.4909999999999997</c:v>
                </c:pt>
                <c:pt idx="1634">
                  <c:v>5.3719999999999999</c:v>
                </c:pt>
                <c:pt idx="1635">
                  <c:v>5.2560000000000002</c:v>
                </c:pt>
                <c:pt idx="1636">
                  <c:v>4.8600000000000003</c:v>
                </c:pt>
                <c:pt idx="1637">
                  <c:v>4.7789999999999999</c:v>
                </c:pt>
                <c:pt idx="1638">
                  <c:v>5.0469999999999997</c:v>
                </c:pt>
                <c:pt idx="1639">
                  <c:v>5.306</c:v>
                </c:pt>
                <c:pt idx="1640">
                  <c:v>5.306</c:v>
                </c:pt>
                <c:pt idx="1641">
                  <c:v>4.8119999999999994</c:v>
                </c:pt>
                <c:pt idx="1642">
                  <c:v>3.2939999999999996</c:v>
                </c:pt>
                <c:pt idx="1643">
                  <c:v>0.02</c:v>
                </c:pt>
                <c:pt idx="1644">
                  <c:v>-0.11499999999999999</c:v>
                </c:pt>
                <c:pt idx="1645">
                  <c:v>-0.502</c:v>
                </c:pt>
                <c:pt idx="1646">
                  <c:v>-4.0000000000000001E-3</c:v>
                </c:pt>
                <c:pt idx="1647">
                  <c:v>2.819</c:v>
                </c:pt>
                <c:pt idx="1648">
                  <c:v>5.2640000000000002</c:v>
                </c:pt>
                <c:pt idx="1649">
                  <c:v>6.9489999999999998</c:v>
                </c:pt>
                <c:pt idx="1650">
                  <c:v>7.8019999999999996</c:v>
                </c:pt>
                <c:pt idx="1651">
                  <c:v>7.4989999999999997</c:v>
                </c:pt>
                <c:pt idx="1652">
                  <c:v>6.7260000000000009</c:v>
                </c:pt>
                <c:pt idx="1653">
                  <c:v>6.0469999999999997</c:v>
                </c:pt>
                <c:pt idx="1654">
                  <c:v>6.0529999999999999</c:v>
                </c:pt>
                <c:pt idx="1655">
                  <c:v>5.7290000000000001</c:v>
                </c:pt>
                <c:pt idx="1656">
                  <c:v>4.8650000000000002</c:v>
                </c:pt>
                <c:pt idx="1657">
                  <c:v>4.6059999999999999</c:v>
                </c:pt>
                <c:pt idx="1658">
                  <c:v>4.0979999999999999</c:v>
                </c:pt>
                <c:pt idx="1659">
                  <c:v>3.5549999999999997</c:v>
                </c:pt>
                <c:pt idx="1660">
                  <c:v>3.2389999999999999</c:v>
                </c:pt>
                <c:pt idx="1661">
                  <c:v>3.2280000000000002</c:v>
                </c:pt>
                <c:pt idx="1662">
                  <c:v>3.3909999999999996</c:v>
                </c:pt>
                <c:pt idx="1663">
                  <c:v>3.9490000000000003</c:v>
                </c:pt>
                <c:pt idx="1664">
                  <c:v>3.4820000000000002</c:v>
                </c:pt>
                <c:pt idx="1665">
                  <c:v>2.5249999999999999</c:v>
                </c:pt>
                <c:pt idx="1666">
                  <c:v>0.23500000000000001</c:v>
                </c:pt>
                <c:pt idx="1667">
                  <c:v>-0.01</c:v>
                </c:pt>
                <c:pt idx="1668">
                  <c:v>-0.82400000000000007</c:v>
                </c:pt>
                <c:pt idx="1669">
                  <c:v>-0.998</c:v>
                </c:pt>
                <c:pt idx="1670">
                  <c:v>-5.1000000000000004E-2</c:v>
                </c:pt>
                <c:pt idx="1671">
                  <c:v>1.4410000000000001</c:v>
                </c:pt>
                <c:pt idx="1672">
                  <c:v>4.7960000000000003</c:v>
                </c:pt>
                <c:pt idx="1673">
                  <c:v>5.5969999999999995</c:v>
                </c:pt>
                <c:pt idx="1674">
                  <c:v>6.6349999999999998</c:v>
                </c:pt>
                <c:pt idx="1675">
                  <c:v>6.2320000000000002</c:v>
                </c:pt>
                <c:pt idx="1676">
                  <c:v>5.7140000000000004</c:v>
                </c:pt>
                <c:pt idx="1677">
                  <c:v>5.3740000000000006</c:v>
                </c:pt>
                <c:pt idx="1678">
                  <c:v>5.3079999999999998</c:v>
                </c:pt>
                <c:pt idx="1679">
                  <c:v>5.2050000000000001</c:v>
                </c:pt>
                <c:pt idx="1680">
                  <c:v>4.8929999999999998</c:v>
                </c:pt>
                <c:pt idx="1681">
                  <c:v>4.9329999999999998</c:v>
                </c:pt>
                <c:pt idx="1682">
                  <c:v>5.0209999999999999</c:v>
                </c:pt>
                <c:pt idx="1683">
                  <c:v>4.9279999999999999</c:v>
                </c:pt>
                <c:pt idx="1684">
                  <c:v>4.9990000000000006</c:v>
                </c:pt>
                <c:pt idx="1685">
                  <c:v>5.63</c:v>
                </c:pt>
                <c:pt idx="1686">
                  <c:v>7.6639999999999997</c:v>
                </c:pt>
                <c:pt idx="1687">
                  <c:v>8.26</c:v>
                </c:pt>
                <c:pt idx="1688">
                  <c:v>8.5590000000000011</c:v>
                </c:pt>
                <c:pt idx="1689">
                  <c:v>8.0449999999999999</c:v>
                </c:pt>
                <c:pt idx="1690">
                  <c:v>7.12</c:v>
                </c:pt>
                <c:pt idx="1691">
                  <c:v>6.5030000000000001</c:v>
                </c:pt>
                <c:pt idx="1692">
                  <c:v>6.0789999999999997</c:v>
                </c:pt>
                <c:pt idx="1693">
                  <c:v>6.625</c:v>
                </c:pt>
                <c:pt idx="1694">
                  <c:v>6.7</c:v>
                </c:pt>
                <c:pt idx="1695">
                  <c:v>7.3469999999999995</c:v>
                </c:pt>
                <c:pt idx="1696">
                  <c:v>8.0190000000000001</c:v>
                </c:pt>
                <c:pt idx="1697">
                  <c:v>9.1389999999999993</c:v>
                </c:pt>
                <c:pt idx="1698">
                  <c:v>10.07</c:v>
                </c:pt>
                <c:pt idx="1699">
                  <c:v>10.801</c:v>
                </c:pt>
                <c:pt idx="1700">
                  <c:v>8.7989999999999995</c:v>
                </c:pt>
                <c:pt idx="1701">
                  <c:v>7.6709999999999994</c:v>
                </c:pt>
                <c:pt idx="1702">
                  <c:v>7.5040000000000004</c:v>
                </c:pt>
                <c:pt idx="1703">
                  <c:v>6.7080000000000002</c:v>
                </c:pt>
                <c:pt idx="1704">
                  <c:v>6.9189999999999996</c:v>
                </c:pt>
                <c:pt idx="1705">
                  <c:v>6.556</c:v>
                </c:pt>
                <c:pt idx="1706">
                  <c:v>6.6510000000000007</c:v>
                </c:pt>
                <c:pt idx="1707">
                  <c:v>6.5200000000000005</c:v>
                </c:pt>
                <c:pt idx="1708">
                  <c:v>6.6579999999999995</c:v>
                </c:pt>
                <c:pt idx="1709">
                  <c:v>7.1370000000000005</c:v>
                </c:pt>
                <c:pt idx="1710">
                  <c:v>8.7059999999999995</c:v>
                </c:pt>
                <c:pt idx="1711">
                  <c:v>9.6549999999999994</c:v>
                </c:pt>
                <c:pt idx="1712">
                  <c:v>10.077999999999999</c:v>
                </c:pt>
                <c:pt idx="1713">
                  <c:v>9.3810000000000002</c:v>
                </c:pt>
                <c:pt idx="1714">
                  <c:v>8.5419999999999998</c:v>
                </c:pt>
                <c:pt idx="1715">
                  <c:v>8.0680000000000014</c:v>
                </c:pt>
                <c:pt idx="1716">
                  <c:v>7.8439999999999994</c:v>
                </c:pt>
                <c:pt idx="1717">
                  <c:v>7.8260000000000005</c:v>
                </c:pt>
                <c:pt idx="1718">
                  <c:v>7.9019999999999992</c:v>
                </c:pt>
                <c:pt idx="1719">
                  <c:v>8.6340000000000003</c:v>
                </c:pt>
                <c:pt idx="1720">
                  <c:v>10.161</c:v>
                </c:pt>
                <c:pt idx="1721">
                  <c:v>11.306000000000001</c:v>
                </c:pt>
                <c:pt idx="1722">
                  <c:v>13.491999999999999</c:v>
                </c:pt>
                <c:pt idx="1723">
                  <c:v>12.456999999999999</c:v>
                </c:pt>
                <c:pt idx="1724">
                  <c:v>9.7480000000000011</c:v>
                </c:pt>
                <c:pt idx="1725">
                  <c:v>8.3629999999999995</c:v>
                </c:pt>
                <c:pt idx="1726">
                  <c:v>7.8930000000000007</c:v>
                </c:pt>
                <c:pt idx="1727">
                  <c:v>7.0329999999999995</c:v>
                </c:pt>
                <c:pt idx="1728">
                  <c:v>6.3929999999999998</c:v>
                </c:pt>
                <c:pt idx="1729">
                  <c:v>6.2299999999999995</c:v>
                </c:pt>
                <c:pt idx="1730">
                  <c:v>6.1790000000000003</c:v>
                </c:pt>
                <c:pt idx="1731">
                  <c:v>6.1369999999999996</c:v>
                </c:pt>
                <c:pt idx="1732">
                  <c:v>6.4</c:v>
                </c:pt>
                <c:pt idx="1733">
                  <c:v>6.68</c:v>
                </c:pt>
                <c:pt idx="1734">
                  <c:v>7.7319999999999993</c:v>
                </c:pt>
                <c:pt idx="1735">
                  <c:v>8.827</c:v>
                </c:pt>
                <c:pt idx="1736">
                  <c:v>8.9909999999999997</c:v>
                </c:pt>
                <c:pt idx="1737">
                  <c:v>7.770999999999999</c:v>
                </c:pt>
                <c:pt idx="1738">
                  <c:v>6.8069999999999995</c:v>
                </c:pt>
                <c:pt idx="1739">
                  <c:v>6.4849999999999994</c:v>
                </c:pt>
                <c:pt idx="1740">
                  <c:v>6.4610000000000003</c:v>
                </c:pt>
                <c:pt idx="1741">
                  <c:v>6.4829999999999997</c:v>
                </c:pt>
                <c:pt idx="1742">
                  <c:v>6.3959999999999999</c:v>
                </c:pt>
                <c:pt idx="1743">
                  <c:v>6.7840000000000007</c:v>
                </c:pt>
                <c:pt idx="1744">
                  <c:v>7.3529999999999998</c:v>
                </c:pt>
                <c:pt idx="1745">
                  <c:v>8.9909999999999997</c:v>
                </c:pt>
                <c:pt idx="1746">
                  <c:v>9.7799999999999994</c:v>
                </c:pt>
                <c:pt idx="1747">
                  <c:v>9.4359999999999999</c:v>
                </c:pt>
                <c:pt idx="1748">
                  <c:v>7.6980000000000004</c:v>
                </c:pt>
                <c:pt idx="1749">
                  <c:v>6.6819999999999995</c:v>
                </c:pt>
                <c:pt idx="1750">
                  <c:v>6.8109999999999999</c:v>
                </c:pt>
                <c:pt idx="1751">
                  <c:v>6.3879999999999999</c:v>
                </c:pt>
                <c:pt idx="1752">
                  <c:v>6.3289999999999997</c:v>
                </c:pt>
                <c:pt idx="1753">
                  <c:v>5.6899999999999995</c:v>
                </c:pt>
                <c:pt idx="1754">
                  <c:v>5.7520000000000007</c:v>
                </c:pt>
                <c:pt idx="1755">
                  <c:v>5.7</c:v>
                </c:pt>
                <c:pt idx="1756">
                  <c:v>6.14</c:v>
                </c:pt>
                <c:pt idx="1757">
                  <c:v>6.4069999999999991</c:v>
                </c:pt>
                <c:pt idx="1758">
                  <c:v>7.5049999999999999</c:v>
                </c:pt>
                <c:pt idx="1759">
                  <c:v>8.8060000000000009</c:v>
                </c:pt>
                <c:pt idx="1760">
                  <c:v>8.1989999999999998</c:v>
                </c:pt>
                <c:pt idx="1761">
                  <c:v>6.5709999999999997</c:v>
                </c:pt>
                <c:pt idx="1762">
                  <c:v>5.4320000000000004</c:v>
                </c:pt>
                <c:pt idx="1763">
                  <c:v>5.2370000000000001</c:v>
                </c:pt>
                <c:pt idx="1764">
                  <c:v>5.2829999999999995</c:v>
                </c:pt>
                <c:pt idx="1765">
                  <c:v>4.9159999999999995</c:v>
                </c:pt>
                <c:pt idx="1766">
                  <c:v>5.2840000000000007</c:v>
                </c:pt>
                <c:pt idx="1767">
                  <c:v>5.891</c:v>
                </c:pt>
                <c:pt idx="1768">
                  <c:v>7.3209999999999997</c:v>
                </c:pt>
                <c:pt idx="1769">
                  <c:v>9.104000000000001</c:v>
                </c:pt>
                <c:pt idx="1770">
                  <c:v>11.477</c:v>
                </c:pt>
                <c:pt idx="1771">
                  <c:v>9.104000000000001</c:v>
                </c:pt>
                <c:pt idx="1772">
                  <c:v>7.4090000000000007</c:v>
                </c:pt>
                <c:pt idx="1773">
                  <c:v>6.2629999999999999</c:v>
                </c:pt>
                <c:pt idx="1774">
                  <c:v>5.9619999999999997</c:v>
                </c:pt>
                <c:pt idx="1775">
                  <c:v>5.1659999999999995</c:v>
                </c:pt>
                <c:pt idx="1776">
                  <c:v>4.8390000000000004</c:v>
                </c:pt>
                <c:pt idx="1777">
                  <c:v>4.6579999999999995</c:v>
                </c:pt>
                <c:pt idx="1778">
                  <c:v>4.5570000000000004</c:v>
                </c:pt>
                <c:pt idx="1779">
                  <c:v>4.3950000000000005</c:v>
                </c:pt>
                <c:pt idx="1780">
                  <c:v>4.6959999999999997</c:v>
                </c:pt>
                <c:pt idx="1781">
                  <c:v>4.9350000000000005</c:v>
                </c:pt>
                <c:pt idx="1782">
                  <c:v>6.226</c:v>
                </c:pt>
                <c:pt idx="1783">
                  <c:v>6.9530000000000003</c:v>
                </c:pt>
                <c:pt idx="1784">
                  <c:v>6.875</c:v>
                </c:pt>
                <c:pt idx="1785">
                  <c:v>5.38</c:v>
                </c:pt>
                <c:pt idx="1786">
                  <c:v>4.6560000000000006</c:v>
                </c:pt>
                <c:pt idx="1787">
                  <c:v>3.9270000000000005</c:v>
                </c:pt>
                <c:pt idx="1788">
                  <c:v>3.8340000000000005</c:v>
                </c:pt>
                <c:pt idx="1789">
                  <c:v>3.6869999999999998</c:v>
                </c:pt>
                <c:pt idx="1790">
                  <c:v>4.4930000000000003</c:v>
                </c:pt>
                <c:pt idx="1791">
                  <c:v>5.1549999999999994</c:v>
                </c:pt>
                <c:pt idx="1792">
                  <c:v>6.67</c:v>
                </c:pt>
                <c:pt idx="1793">
                  <c:v>8.6920000000000002</c:v>
                </c:pt>
                <c:pt idx="1794">
                  <c:v>8.2029999999999994</c:v>
                </c:pt>
                <c:pt idx="1795">
                  <c:v>8.7989999999999995</c:v>
                </c:pt>
                <c:pt idx="1796">
                  <c:v>6.4260000000000002</c:v>
                </c:pt>
                <c:pt idx="1797">
                  <c:v>5.5359999999999996</c:v>
                </c:pt>
                <c:pt idx="1798">
                  <c:v>5.6349999999999998</c:v>
                </c:pt>
                <c:pt idx="1799">
                  <c:v>4.9329999999999998</c:v>
                </c:pt>
                <c:pt idx="1800">
                  <c:v>4.4119999999999999</c:v>
                </c:pt>
                <c:pt idx="1801">
                  <c:v>4.2009999999999996</c:v>
                </c:pt>
                <c:pt idx="1802">
                  <c:v>4.069</c:v>
                </c:pt>
                <c:pt idx="1803">
                  <c:v>3.8880000000000003</c:v>
                </c:pt>
                <c:pt idx="1804">
                  <c:v>3.867</c:v>
                </c:pt>
                <c:pt idx="1805">
                  <c:v>4.0340000000000007</c:v>
                </c:pt>
                <c:pt idx="1806">
                  <c:v>4.726</c:v>
                </c:pt>
                <c:pt idx="1807">
                  <c:v>5.1310000000000002</c:v>
                </c:pt>
                <c:pt idx="1808">
                  <c:v>5.2240000000000002</c:v>
                </c:pt>
                <c:pt idx="1809">
                  <c:v>4.7009999999999996</c:v>
                </c:pt>
                <c:pt idx="1810">
                  <c:v>4.4880000000000004</c:v>
                </c:pt>
                <c:pt idx="1811">
                  <c:v>4.1619999999999999</c:v>
                </c:pt>
                <c:pt idx="1812">
                  <c:v>3.6700000000000004</c:v>
                </c:pt>
                <c:pt idx="1813">
                  <c:v>2.1019999999999999</c:v>
                </c:pt>
                <c:pt idx="1814">
                  <c:v>1.099</c:v>
                </c:pt>
                <c:pt idx="1815">
                  <c:v>3.101</c:v>
                </c:pt>
                <c:pt idx="1816">
                  <c:v>4.6979999999999995</c:v>
                </c:pt>
                <c:pt idx="1817">
                  <c:v>7.2080000000000002</c:v>
                </c:pt>
                <c:pt idx="1818">
                  <c:v>8.1690000000000005</c:v>
                </c:pt>
                <c:pt idx="1819">
                  <c:v>8.7309999999999999</c:v>
                </c:pt>
                <c:pt idx="1820">
                  <c:v>7.9459999999999997</c:v>
                </c:pt>
                <c:pt idx="1821">
                  <c:v>7.2989999999999995</c:v>
                </c:pt>
                <c:pt idx="1822">
                  <c:v>7.2309999999999999</c:v>
                </c:pt>
                <c:pt idx="1823">
                  <c:v>6.7099999999999991</c:v>
                </c:pt>
                <c:pt idx="1824">
                  <c:v>6.4989999999999997</c:v>
                </c:pt>
                <c:pt idx="1825">
                  <c:v>6.0490000000000004</c:v>
                </c:pt>
                <c:pt idx="1826">
                  <c:v>5.5969999999999995</c:v>
                </c:pt>
                <c:pt idx="1827">
                  <c:v>5.875</c:v>
                </c:pt>
                <c:pt idx="1828">
                  <c:v>6.0449999999999999</c:v>
                </c:pt>
                <c:pt idx="1829">
                  <c:v>6.0490000000000004</c:v>
                </c:pt>
                <c:pt idx="1830">
                  <c:v>6.26</c:v>
                </c:pt>
                <c:pt idx="1831">
                  <c:v>5.66</c:v>
                </c:pt>
                <c:pt idx="1832">
                  <c:v>5.0579999999999998</c:v>
                </c:pt>
                <c:pt idx="1833">
                  <c:v>4.7149999999999999</c:v>
                </c:pt>
                <c:pt idx="1834">
                  <c:v>4.54</c:v>
                </c:pt>
                <c:pt idx="1835">
                  <c:v>4.5909999999999993</c:v>
                </c:pt>
                <c:pt idx="1836">
                  <c:v>4.181</c:v>
                </c:pt>
                <c:pt idx="1837">
                  <c:v>4.0149999999999997</c:v>
                </c:pt>
                <c:pt idx="1838">
                  <c:v>4.806</c:v>
                </c:pt>
                <c:pt idx="1839">
                  <c:v>5.6120000000000001</c:v>
                </c:pt>
                <c:pt idx="1840">
                  <c:v>7.1760000000000002</c:v>
                </c:pt>
                <c:pt idx="1841">
                  <c:v>8.5440000000000005</c:v>
                </c:pt>
                <c:pt idx="1842">
                  <c:v>9.4310000000000009</c:v>
                </c:pt>
                <c:pt idx="1843">
                  <c:v>8.8290000000000006</c:v>
                </c:pt>
                <c:pt idx="1844">
                  <c:v>7.7889999999999997</c:v>
                </c:pt>
                <c:pt idx="1845">
                  <c:v>7.2329999999999997</c:v>
                </c:pt>
                <c:pt idx="1846">
                  <c:v>7.2099999999999991</c:v>
                </c:pt>
                <c:pt idx="1847">
                  <c:v>6.5909999999999993</c:v>
                </c:pt>
                <c:pt idx="1848">
                  <c:v>6.4120000000000008</c:v>
                </c:pt>
                <c:pt idx="1849">
                  <c:v>5.7140000000000004</c:v>
                </c:pt>
                <c:pt idx="1850">
                  <c:v>5.8310000000000004</c:v>
                </c:pt>
                <c:pt idx="1851">
                  <c:v>5.9380000000000006</c:v>
                </c:pt>
                <c:pt idx="1852">
                  <c:v>6.4379999999999997</c:v>
                </c:pt>
                <c:pt idx="1853">
                  <c:v>7.08</c:v>
                </c:pt>
                <c:pt idx="1854">
                  <c:v>8.6319999999999997</c:v>
                </c:pt>
                <c:pt idx="1855">
                  <c:v>9.7870000000000008</c:v>
                </c:pt>
                <c:pt idx="1856">
                  <c:v>9.4450000000000003</c:v>
                </c:pt>
                <c:pt idx="1857">
                  <c:v>8.2799999999999994</c:v>
                </c:pt>
                <c:pt idx="1858">
                  <c:v>7.2840000000000007</c:v>
                </c:pt>
                <c:pt idx="1859">
                  <c:v>6.6639999999999997</c:v>
                </c:pt>
                <c:pt idx="1860">
                  <c:v>6.7700000000000005</c:v>
                </c:pt>
                <c:pt idx="1861">
                  <c:v>6.83</c:v>
                </c:pt>
                <c:pt idx="1862">
                  <c:v>6.8940000000000001</c:v>
                </c:pt>
                <c:pt idx="1863">
                  <c:v>7.3400000000000007</c:v>
                </c:pt>
                <c:pt idx="1864">
                  <c:v>7.8980000000000006</c:v>
                </c:pt>
                <c:pt idx="1865">
                  <c:v>10.765000000000001</c:v>
                </c:pt>
                <c:pt idx="1866">
                  <c:v>14.571000000000002</c:v>
                </c:pt>
                <c:pt idx="1867">
                  <c:v>12.653</c:v>
                </c:pt>
                <c:pt idx="1868">
                  <c:v>10.372</c:v>
                </c:pt>
                <c:pt idx="1869">
                  <c:v>8.120000000000001</c:v>
                </c:pt>
                <c:pt idx="1870">
                  <c:v>7.8379999999999992</c:v>
                </c:pt>
                <c:pt idx="1871">
                  <c:v>7.4450000000000003</c:v>
                </c:pt>
                <c:pt idx="1872">
                  <c:v>7.2</c:v>
                </c:pt>
                <c:pt idx="1873">
                  <c:v>7.1239999999999997</c:v>
                </c:pt>
                <c:pt idx="1874">
                  <c:v>7.1650000000000009</c:v>
                </c:pt>
                <c:pt idx="1875">
                  <c:v>7.1549999999999994</c:v>
                </c:pt>
                <c:pt idx="1876">
                  <c:v>7.1239999999999997</c:v>
                </c:pt>
                <c:pt idx="1877">
                  <c:v>7.1010000000000009</c:v>
                </c:pt>
                <c:pt idx="1878">
                  <c:v>8.9499999999999993</c:v>
                </c:pt>
                <c:pt idx="1879">
                  <c:v>11.077999999999999</c:v>
                </c:pt>
                <c:pt idx="1880">
                  <c:v>9.5869999999999997</c:v>
                </c:pt>
                <c:pt idx="1881">
                  <c:v>7.202</c:v>
                </c:pt>
                <c:pt idx="1882">
                  <c:v>6.5359999999999996</c:v>
                </c:pt>
                <c:pt idx="1883">
                  <c:v>5.8819999999999997</c:v>
                </c:pt>
                <c:pt idx="1884">
                  <c:v>5.4470000000000001</c:v>
                </c:pt>
                <c:pt idx="1885">
                  <c:v>5.6719999999999997</c:v>
                </c:pt>
                <c:pt idx="1886">
                  <c:v>6.048</c:v>
                </c:pt>
                <c:pt idx="1887">
                  <c:v>7.0049999999999999</c:v>
                </c:pt>
                <c:pt idx="1888">
                  <c:v>7.37</c:v>
                </c:pt>
                <c:pt idx="1889">
                  <c:v>10.395</c:v>
                </c:pt>
                <c:pt idx="1890">
                  <c:v>13.141999999999999</c:v>
                </c:pt>
                <c:pt idx="1891">
                  <c:v>12.896000000000001</c:v>
                </c:pt>
                <c:pt idx="1892">
                  <c:v>11</c:v>
                </c:pt>
                <c:pt idx="1893">
                  <c:v>8.9019999999999992</c:v>
                </c:pt>
                <c:pt idx="1894">
                  <c:v>8.1720000000000006</c:v>
                </c:pt>
                <c:pt idx="1895">
                  <c:v>7.6099999999999994</c:v>
                </c:pt>
                <c:pt idx="1896">
                  <c:v>7.6010000000000009</c:v>
                </c:pt>
                <c:pt idx="1897">
                  <c:v>7.3400000000000007</c:v>
                </c:pt>
                <c:pt idx="1898">
                  <c:v>7.49</c:v>
                </c:pt>
                <c:pt idx="1899">
                  <c:v>7.57</c:v>
                </c:pt>
                <c:pt idx="1900">
                  <c:v>7.6360000000000001</c:v>
                </c:pt>
                <c:pt idx="1901">
                  <c:v>8.09</c:v>
                </c:pt>
                <c:pt idx="1902">
                  <c:v>11.6</c:v>
                </c:pt>
                <c:pt idx="1903">
                  <c:v>11.623999999999999</c:v>
                </c:pt>
                <c:pt idx="1904">
                  <c:v>9.8330000000000002</c:v>
                </c:pt>
                <c:pt idx="1905">
                  <c:v>7.0629999999999997</c:v>
                </c:pt>
                <c:pt idx="1906">
                  <c:v>6.6</c:v>
                </c:pt>
                <c:pt idx="1907">
                  <c:v>6.5389999999999997</c:v>
                </c:pt>
                <c:pt idx="1908">
                  <c:v>6.1429999999999998</c:v>
                </c:pt>
                <c:pt idx="1909">
                  <c:v>6.3950000000000005</c:v>
                </c:pt>
                <c:pt idx="1910">
                  <c:v>6.4349999999999996</c:v>
                </c:pt>
                <c:pt idx="1911">
                  <c:v>7.0780000000000003</c:v>
                </c:pt>
                <c:pt idx="1912">
                  <c:v>8.706999999999999</c:v>
                </c:pt>
                <c:pt idx="1913">
                  <c:v>11.968</c:v>
                </c:pt>
                <c:pt idx="1914">
                  <c:v>16.853999999999999</c:v>
                </c:pt>
                <c:pt idx="1915">
                  <c:v>15.905000000000001</c:v>
                </c:pt>
                <c:pt idx="1916">
                  <c:v>12.495000000000001</c:v>
                </c:pt>
                <c:pt idx="1917">
                  <c:v>10.651999999999999</c:v>
                </c:pt>
                <c:pt idx="1918">
                  <c:v>9.6069999999999993</c:v>
                </c:pt>
                <c:pt idx="1919">
                  <c:v>7.9980000000000002</c:v>
                </c:pt>
                <c:pt idx="1920">
                  <c:v>7.6180000000000003</c:v>
                </c:pt>
                <c:pt idx="1921">
                  <c:v>7.3370000000000006</c:v>
                </c:pt>
                <c:pt idx="1922">
                  <c:v>7.1549999999999994</c:v>
                </c:pt>
                <c:pt idx="1923">
                  <c:v>7.1319999999999997</c:v>
                </c:pt>
                <c:pt idx="1924">
                  <c:v>7.1</c:v>
                </c:pt>
                <c:pt idx="1925">
                  <c:v>7.3510000000000009</c:v>
                </c:pt>
                <c:pt idx="1926">
                  <c:v>8.9260000000000002</c:v>
                </c:pt>
                <c:pt idx="1927">
                  <c:v>9.8209999999999997</c:v>
                </c:pt>
                <c:pt idx="1928">
                  <c:v>10.229000000000001</c:v>
                </c:pt>
                <c:pt idx="1929">
                  <c:v>8</c:v>
                </c:pt>
                <c:pt idx="1930">
                  <c:v>7.2409999999999997</c:v>
                </c:pt>
                <c:pt idx="1931">
                  <c:v>6.8029999999999999</c:v>
                </c:pt>
                <c:pt idx="1932">
                  <c:v>6.4640000000000004</c:v>
                </c:pt>
                <c:pt idx="1933">
                  <c:v>5.9960000000000004</c:v>
                </c:pt>
                <c:pt idx="1934">
                  <c:v>6.6849999999999996</c:v>
                </c:pt>
                <c:pt idx="1935">
                  <c:v>6.6280000000000001</c:v>
                </c:pt>
                <c:pt idx="1936">
                  <c:v>7.5269999999999992</c:v>
                </c:pt>
                <c:pt idx="1937">
                  <c:v>10.09</c:v>
                </c:pt>
                <c:pt idx="1938">
                  <c:v>12.712999999999999</c:v>
                </c:pt>
                <c:pt idx="1939">
                  <c:v>12.285</c:v>
                </c:pt>
                <c:pt idx="1940">
                  <c:v>9.4039999999999999</c:v>
                </c:pt>
                <c:pt idx="1941">
                  <c:v>7.9599999999999991</c:v>
                </c:pt>
                <c:pt idx="1942">
                  <c:v>7.7480000000000002</c:v>
                </c:pt>
                <c:pt idx="1943">
                  <c:v>7.1230000000000002</c:v>
                </c:pt>
                <c:pt idx="1944">
                  <c:v>5.6340000000000003</c:v>
                </c:pt>
                <c:pt idx="1945">
                  <c:v>5.2240000000000002</c:v>
                </c:pt>
                <c:pt idx="1946">
                  <c:v>4.9689999999999994</c:v>
                </c:pt>
                <c:pt idx="1947">
                  <c:v>5.1829999999999998</c:v>
                </c:pt>
                <c:pt idx="1948">
                  <c:v>5.2799999999999994</c:v>
                </c:pt>
                <c:pt idx="1949">
                  <c:v>5.9889999999999999</c:v>
                </c:pt>
                <c:pt idx="1950">
                  <c:v>7.4099999999999993</c:v>
                </c:pt>
                <c:pt idx="1951">
                  <c:v>6.7389999999999999</c:v>
                </c:pt>
                <c:pt idx="1952">
                  <c:v>6.8090000000000002</c:v>
                </c:pt>
                <c:pt idx="1953">
                  <c:v>5.6319999999999997</c:v>
                </c:pt>
                <c:pt idx="1954">
                  <c:v>5.181</c:v>
                </c:pt>
                <c:pt idx="1955">
                  <c:v>4.9850000000000003</c:v>
                </c:pt>
                <c:pt idx="1956">
                  <c:v>4.976</c:v>
                </c:pt>
                <c:pt idx="1957">
                  <c:v>5.149</c:v>
                </c:pt>
                <c:pt idx="1958">
                  <c:v>5.2389999999999999</c:v>
                </c:pt>
                <c:pt idx="1959">
                  <c:v>5.9969999999999999</c:v>
                </c:pt>
                <c:pt idx="1960">
                  <c:v>7.6870000000000003</c:v>
                </c:pt>
                <c:pt idx="1961">
                  <c:v>8.8979999999999997</c:v>
                </c:pt>
                <c:pt idx="1962">
                  <c:v>12.159000000000001</c:v>
                </c:pt>
                <c:pt idx="1963">
                  <c:v>11.870999999999999</c:v>
                </c:pt>
                <c:pt idx="1964">
                  <c:v>9.5</c:v>
                </c:pt>
                <c:pt idx="1965">
                  <c:v>8.2249999999999996</c:v>
                </c:pt>
                <c:pt idx="1966">
                  <c:v>8.0150000000000006</c:v>
                </c:pt>
                <c:pt idx="1967">
                  <c:v>7.7469999999999999</c:v>
                </c:pt>
                <c:pt idx="1968">
                  <c:v>7.7769999999999992</c:v>
                </c:pt>
                <c:pt idx="1969">
                  <c:v>7.2469999999999999</c:v>
                </c:pt>
                <c:pt idx="1970">
                  <c:v>6.5920000000000005</c:v>
                </c:pt>
                <c:pt idx="1971">
                  <c:v>6.3979999999999997</c:v>
                </c:pt>
                <c:pt idx="1972">
                  <c:v>5.984</c:v>
                </c:pt>
                <c:pt idx="1973">
                  <c:v>6.1440000000000001</c:v>
                </c:pt>
                <c:pt idx="1974">
                  <c:v>5.8340000000000005</c:v>
                </c:pt>
                <c:pt idx="1975">
                  <c:v>5.282</c:v>
                </c:pt>
                <c:pt idx="1976">
                  <c:v>3.9119999999999999</c:v>
                </c:pt>
                <c:pt idx="1977">
                  <c:v>1.3199999999999998</c:v>
                </c:pt>
                <c:pt idx="1978">
                  <c:v>2E-3</c:v>
                </c:pt>
                <c:pt idx="1979">
                  <c:v>-5.0000000000000001E-3</c:v>
                </c:pt>
                <c:pt idx="1980">
                  <c:v>-0.19400000000000001</c:v>
                </c:pt>
                <c:pt idx="1981">
                  <c:v>-0.57099999999999995</c:v>
                </c:pt>
                <c:pt idx="1982">
                  <c:v>-0.84499999999999997</c:v>
                </c:pt>
                <c:pt idx="1983">
                  <c:v>-0.14599999999999999</c:v>
                </c:pt>
                <c:pt idx="1984">
                  <c:v>7.000000000000001E-3</c:v>
                </c:pt>
                <c:pt idx="1985">
                  <c:v>4.7799999999999994</c:v>
                </c:pt>
                <c:pt idx="1986">
                  <c:v>7.0090000000000003</c:v>
                </c:pt>
                <c:pt idx="1987">
                  <c:v>6.9150000000000009</c:v>
                </c:pt>
                <c:pt idx="1988">
                  <c:v>5.2939999999999996</c:v>
                </c:pt>
                <c:pt idx="1989">
                  <c:v>4.5840000000000005</c:v>
                </c:pt>
                <c:pt idx="1990">
                  <c:v>4.0280000000000005</c:v>
                </c:pt>
                <c:pt idx="1991">
                  <c:v>2.839</c:v>
                </c:pt>
                <c:pt idx="1992">
                  <c:v>3.21</c:v>
                </c:pt>
                <c:pt idx="1993">
                  <c:v>1.3279999999999998</c:v>
                </c:pt>
                <c:pt idx="1994">
                  <c:v>1.0130000000000001</c:v>
                </c:pt>
                <c:pt idx="1995">
                  <c:v>1.7</c:v>
                </c:pt>
                <c:pt idx="1996">
                  <c:v>1.9920000000000002</c:v>
                </c:pt>
                <c:pt idx="1997">
                  <c:v>2.6819999999999999</c:v>
                </c:pt>
                <c:pt idx="1998">
                  <c:v>1.4869999999999999</c:v>
                </c:pt>
                <c:pt idx="1999">
                  <c:v>0.19600000000000001</c:v>
                </c:pt>
                <c:pt idx="2000">
                  <c:v>0</c:v>
                </c:pt>
                <c:pt idx="2001">
                  <c:v>0</c:v>
                </c:pt>
                <c:pt idx="2002">
                  <c:v>0</c:v>
                </c:pt>
                <c:pt idx="2003">
                  <c:v>0</c:v>
                </c:pt>
                <c:pt idx="2004">
                  <c:v>0</c:v>
                </c:pt>
                <c:pt idx="2005">
                  <c:v>0</c:v>
                </c:pt>
                <c:pt idx="2006">
                  <c:v>0</c:v>
                </c:pt>
                <c:pt idx="2007">
                  <c:v>0</c:v>
                </c:pt>
                <c:pt idx="2008">
                  <c:v>1.669</c:v>
                </c:pt>
                <c:pt idx="2009">
                  <c:v>5.9399999999999995</c:v>
                </c:pt>
                <c:pt idx="2010">
                  <c:v>7.5</c:v>
                </c:pt>
                <c:pt idx="2011">
                  <c:v>7.49</c:v>
                </c:pt>
                <c:pt idx="2012">
                  <c:v>6.69</c:v>
                </c:pt>
                <c:pt idx="2013">
                  <c:v>6.4769999999999994</c:v>
                </c:pt>
                <c:pt idx="2014">
                  <c:v>6.4269999999999996</c:v>
                </c:pt>
                <c:pt idx="2015">
                  <c:v>6.2969999999999997</c:v>
                </c:pt>
                <c:pt idx="2016">
                  <c:v>6.2509999999999994</c:v>
                </c:pt>
                <c:pt idx="2017">
                  <c:v>6.2290000000000001</c:v>
                </c:pt>
                <c:pt idx="2018">
                  <c:v>6.2479999999999993</c:v>
                </c:pt>
                <c:pt idx="2019">
                  <c:v>6.4510000000000005</c:v>
                </c:pt>
                <c:pt idx="2020">
                  <c:v>6.6959999999999997</c:v>
                </c:pt>
                <c:pt idx="2021">
                  <c:v>7.7140000000000004</c:v>
                </c:pt>
                <c:pt idx="2022">
                  <c:v>8.843</c:v>
                </c:pt>
                <c:pt idx="2023">
                  <c:v>11.387</c:v>
                </c:pt>
                <c:pt idx="2024">
                  <c:v>9.968</c:v>
                </c:pt>
                <c:pt idx="2025">
                  <c:v>7.7430000000000003</c:v>
                </c:pt>
                <c:pt idx="2026">
                  <c:v>7.0049999999999999</c:v>
                </c:pt>
                <c:pt idx="2027">
                  <c:v>6.3659999999999997</c:v>
                </c:pt>
                <c:pt idx="2028">
                  <c:v>6.1850000000000005</c:v>
                </c:pt>
                <c:pt idx="2029">
                  <c:v>6.3220000000000001</c:v>
                </c:pt>
                <c:pt idx="2030">
                  <c:v>6.452</c:v>
                </c:pt>
                <c:pt idx="2031">
                  <c:v>7.3970000000000002</c:v>
                </c:pt>
                <c:pt idx="2032">
                  <c:v>8.1050000000000004</c:v>
                </c:pt>
                <c:pt idx="2033">
                  <c:v>11.187999999999999</c:v>
                </c:pt>
                <c:pt idx="2034">
                  <c:v>17.47</c:v>
                </c:pt>
                <c:pt idx="2035">
                  <c:v>14.975</c:v>
                </c:pt>
                <c:pt idx="2036">
                  <c:v>10.273</c:v>
                </c:pt>
                <c:pt idx="2037">
                  <c:v>8.2390000000000008</c:v>
                </c:pt>
                <c:pt idx="2038">
                  <c:v>7.9560000000000004</c:v>
                </c:pt>
                <c:pt idx="2039">
                  <c:v>7.4739999999999993</c:v>
                </c:pt>
                <c:pt idx="2040">
                  <c:v>7.99</c:v>
                </c:pt>
                <c:pt idx="2041">
                  <c:v>7.33</c:v>
                </c:pt>
                <c:pt idx="2042">
                  <c:v>6.891</c:v>
                </c:pt>
                <c:pt idx="2043">
                  <c:v>6.798</c:v>
                </c:pt>
                <c:pt idx="2044">
                  <c:v>7.0069999999999997</c:v>
                </c:pt>
                <c:pt idx="2045">
                  <c:v>7.2279999999999998</c:v>
                </c:pt>
                <c:pt idx="2046">
                  <c:v>8.0380000000000003</c:v>
                </c:pt>
                <c:pt idx="2047">
                  <c:v>7.92</c:v>
                </c:pt>
                <c:pt idx="2048">
                  <c:v>7.2099999999999991</c:v>
                </c:pt>
                <c:pt idx="2049">
                  <c:v>6.2</c:v>
                </c:pt>
                <c:pt idx="2050">
                  <c:v>4.95</c:v>
                </c:pt>
                <c:pt idx="2051">
                  <c:v>3.7030000000000003</c:v>
                </c:pt>
                <c:pt idx="2052">
                  <c:v>1.149</c:v>
                </c:pt>
                <c:pt idx="2053">
                  <c:v>2.7350000000000003</c:v>
                </c:pt>
                <c:pt idx="2054">
                  <c:v>3.71</c:v>
                </c:pt>
                <c:pt idx="2055">
                  <c:v>5.1929999999999996</c:v>
                </c:pt>
                <c:pt idx="2056">
                  <c:v>6.806</c:v>
                </c:pt>
                <c:pt idx="2057">
                  <c:v>8.1050000000000004</c:v>
                </c:pt>
                <c:pt idx="2058">
                  <c:v>10.074999999999999</c:v>
                </c:pt>
                <c:pt idx="2059">
                  <c:v>10.029999999999999</c:v>
                </c:pt>
                <c:pt idx="2060">
                  <c:v>8</c:v>
                </c:pt>
                <c:pt idx="2061">
                  <c:v>7.7050000000000001</c:v>
                </c:pt>
                <c:pt idx="2062">
                  <c:v>7.2819999999999991</c:v>
                </c:pt>
                <c:pt idx="2063">
                  <c:v>6.6920000000000002</c:v>
                </c:pt>
                <c:pt idx="2064">
                  <c:v>5.835</c:v>
                </c:pt>
                <c:pt idx="2065">
                  <c:v>5.7090000000000005</c:v>
                </c:pt>
                <c:pt idx="2066">
                  <c:v>5.7279999999999998</c:v>
                </c:pt>
                <c:pt idx="2067">
                  <c:v>5.7789999999999999</c:v>
                </c:pt>
                <c:pt idx="2068">
                  <c:v>6.0030000000000001</c:v>
                </c:pt>
                <c:pt idx="2069">
                  <c:v>7.2379999999999995</c:v>
                </c:pt>
                <c:pt idx="2070">
                  <c:v>8.1170000000000009</c:v>
                </c:pt>
                <c:pt idx="2071">
                  <c:v>8.2780000000000005</c:v>
                </c:pt>
                <c:pt idx="2072">
                  <c:v>8.0010000000000012</c:v>
                </c:pt>
                <c:pt idx="2073">
                  <c:v>6.8120000000000003</c:v>
                </c:pt>
                <c:pt idx="2074">
                  <c:v>6.39</c:v>
                </c:pt>
                <c:pt idx="2075">
                  <c:v>5.7130000000000001</c:v>
                </c:pt>
                <c:pt idx="2076">
                  <c:v>5.766</c:v>
                </c:pt>
                <c:pt idx="2077">
                  <c:v>6</c:v>
                </c:pt>
                <c:pt idx="2078">
                  <c:v>6.7799999999999994</c:v>
                </c:pt>
                <c:pt idx="2079">
                  <c:v>7.8930000000000007</c:v>
                </c:pt>
                <c:pt idx="2080">
                  <c:v>8.4139999999999997</c:v>
                </c:pt>
                <c:pt idx="2081">
                  <c:v>10.053000000000001</c:v>
                </c:pt>
                <c:pt idx="2082">
                  <c:v>12.593</c:v>
                </c:pt>
                <c:pt idx="2083">
                  <c:v>11.894</c:v>
                </c:pt>
                <c:pt idx="2084">
                  <c:v>9.9420000000000002</c:v>
                </c:pt>
                <c:pt idx="2085">
                  <c:v>8.4250000000000007</c:v>
                </c:pt>
                <c:pt idx="2086">
                  <c:v>8.3019999999999996</c:v>
                </c:pt>
                <c:pt idx="2087">
                  <c:v>7.4470000000000001</c:v>
                </c:pt>
                <c:pt idx="2088">
                  <c:v>7.9090000000000007</c:v>
                </c:pt>
                <c:pt idx="2089">
                  <c:v>7.26</c:v>
                </c:pt>
                <c:pt idx="2090">
                  <c:v>6.5239999999999991</c:v>
                </c:pt>
                <c:pt idx="2091">
                  <c:v>6.4409999999999998</c:v>
                </c:pt>
                <c:pt idx="2092">
                  <c:v>6.6689999999999996</c:v>
                </c:pt>
                <c:pt idx="2093">
                  <c:v>7.1599999999999993</c:v>
                </c:pt>
                <c:pt idx="2094">
                  <c:v>8.206999999999999</c:v>
                </c:pt>
                <c:pt idx="2095">
                  <c:v>8.3189999999999991</c:v>
                </c:pt>
                <c:pt idx="2096">
                  <c:v>8.0920000000000005</c:v>
                </c:pt>
                <c:pt idx="2097">
                  <c:v>6.3239999999999998</c:v>
                </c:pt>
                <c:pt idx="2098">
                  <c:v>4.7069999999999999</c:v>
                </c:pt>
                <c:pt idx="2099">
                  <c:v>3.7</c:v>
                </c:pt>
                <c:pt idx="2100">
                  <c:v>0.67400000000000004</c:v>
                </c:pt>
                <c:pt idx="2101">
                  <c:v>5.0000000000000001E-3</c:v>
                </c:pt>
                <c:pt idx="2102">
                  <c:v>4.0000000000000001E-3</c:v>
                </c:pt>
                <c:pt idx="2103">
                  <c:v>0.98199999999999998</c:v>
                </c:pt>
                <c:pt idx="2104">
                  <c:v>3.3170000000000002</c:v>
                </c:pt>
                <c:pt idx="2105">
                  <c:v>5.2720000000000002</c:v>
                </c:pt>
                <c:pt idx="2106">
                  <c:v>7.3970000000000002</c:v>
                </c:pt>
                <c:pt idx="2107">
                  <c:v>7.0329999999999995</c:v>
                </c:pt>
                <c:pt idx="2108">
                  <c:v>6.2539999999999996</c:v>
                </c:pt>
                <c:pt idx="2109">
                  <c:v>5.1829999999999998</c:v>
                </c:pt>
                <c:pt idx="2110">
                  <c:v>3.3049999999999997</c:v>
                </c:pt>
                <c:pt idx="2111">
                  <c:v>2.5</c:v>
                </c:pt>
                <c:pt idx="2112">
                  <c:v>2.06</c:v>
                </c:pt>
                <c:pt idx="2113">
                  <c:v>1.8829999999999998</c:v>
                </c:pt>
                <c:pt idx="2114">
                  <c:v>1.2429999999999999</c:v>
                </c:pt>
                <c:pt idx="2115">
                  <c:v>1.024</c:v>
                </c:pt>
                <c:pt idx="2116">
                  <c:v>1.2589999999999999</c:v>
                </c:pt>
                <c:pt idx="2117">
                  <c:v>1.4319999999999999</c:v>
                </c:pt>
                <c:pt idx="2118">
                  <c:v>2.202</c:v>
                </c:pt>
                <c:pt idx="2119">
                  <c:v>2.2389999999999999</c:v>
                </c:pt>
                <c:pt idx="2120">
                  <c:v>1.5939999999999999</c:v>
                </c:pt>
                <c:pt idx="2121">
                  <c:v>1.3279999999999998</c:v>
                </c:pt>
                <c:pt idx="2122">
                  <c:v>1.6879999999999999</c:v>
                </c:pt>
                <c:pt idx="2123">
                  <c:v>1.8829999999999998</c:v>
                </c:pt>
                <c:pt idx="2124">
                  <c:v>1.3</c:v>
                </c:pt>
                <c:pt idx="2125">
                  <c:v>0.98599999999999999</c:v>
                </c:pt>
                <c:pt idx="2126">
                  <c:v>1.3439999999999999</c:v>
                </c:pt>
                <c:pt idx="2127">
                  <c:v>2.1579999999999999</c:v>
                </c:pt>
                <c:pt idx="2128">
                  <c:v>4.95</c:v>
                </c:pt>
                <c:pt idx="2129">
                  <c:v>7.9930000000000003</c:v>
                </c:pt>
                <c:pt idx="2130">
                  <c:v>10.196999999999999</c:v>
                </c:pt>
                <c:pt idx="2131">
                  <c:v>10.545</c:v>
                </c:pt>
                <c:pt idx="2132">
                  <c:v>8.74</c:v>
                </c:pt>
                <c:pt idx="2133">
                  <c:v>7.9930000000000003</c:v>
                </c:pt>
                <c:pt idx="2134">
                  <c:v>7.5890000000000004</c:v>
                </c:pt>
                <c:pt idx="2135">
                  <c:v>7</c:v>
                </c:pt>
                <c:pt idx="2136">
                  <c:v>6.93</c:v>
                </c:pt>
                <c:pt idx="2137">
                  <c:v>5.8159999999999998</c:v>
                </c:pt>
                <c:pt idx="2138">
                  <c:v>5.8879999999999999</c:v>
                </c:pt>
                <c:pt idx="2139">
                  <c:v>5.8950000000000005</c:v>
                </c:pt>
                <c:pt idx="2140">
                  <c:v>5.923</c:v>
                </c:pt>
                <c:pt idx="2141">
                  <c:v>6.5049999999999999</c:v>
                </c:pt>
                <c:pt idx="2142">
                  <c:v>5.8570000000000002</c:v>
                </c:pt>
                <c:pt idx="2143">
                  <c:v>4.7789999999999999</c:v>
                </c:pt>
                <c:pt idx="2144">
                  <c:v>4.5229999999999997</c:v>
                </c:pt>
                <c:pt idx="2145">
                  <c:v>4.3380000000000001</c:v>
                </c:pt>
                <c:pt idx="2146">
                  <c:v>3.4490000000000003</c:v>
                </c:pt>
                <c:pt idx="2147">
                  <c:v>2.3210000000000002</c:v>
                </c:pt>
                <c:pt idx="2148">
                  <c:v>1.476</c:v>
                </c:pt>
                <c:pt idx="2149">
                  <c:v>0.68499999999999994</c:v>
                </c:pt>
                <c:pt idx="2150">
                  <c:v>1.587</c:v>
                </c:pt>
                <c:pt idx="2151">
                  <c:v>3.4200000000000004</c:v>
                </c:pt>
                <c:pt idx="2152">
                  <c:v>5.2520000000000007</c:v>
                </c:pt>
                <c:pt idx="2153">
                  <c:v>7.7750000000000004</c:v>
                </c:pt>
                <c:pt idx="2154">
                  <c:v>8.8109999999999999</c:v>
                </c:pt>
                <c:pt idx="2155">
                  <c:v>8.3529999999999998</c:v>
                </c:pt>
                <c:pt idx="2156">
                  <c:v>7.4109999999999996</c:v>
                </c:pt>
                <c:pt idx="2157">
                  <c:v>7.1470000000000002</c:v>
                </c:pt>
                <c:pt idx="2158">
                  <c:v>7.0830000000000002</c:v>
                </c:pt>
                <c:pt idx="2159">
                  <c:v>6.5739999999999998</c:v>
                </c:pt>
                <c:pt idx="2160">
                  <c:v>7.57</c:v>
                </c:pt>
                <c:pt idx="2161">
                  <c:v>6.6709999999999994</c:v>
                </c:pt>
                <c:pt idx="2162">
                  <c:v>6.4980000000000002</c:v>
                </c:pt>
                <c:pt idx="2163">
                  <c:v>6.048</c:v>
                </c:pt>
                <c:pt idx="2164">
                  <c:v>5.8740000000000006</c:v>
                </c:pt>
                <c:pt idx="2165">
                  <c:v>6.4459999999999997</c:v>
                </c:pt>
                <c:pt idx="2166">
                  <c:v>7.1510000000000007</c:v>
                </c:pt>
                <c:pt idx="2167">
                  <c:v>6.5030000000000001</c:v>
                </c:pt>
                <c:pt idx="2168">
                  <c:v>5.032</c:v>
                </c:pt>
                <c:pt idx="2169">
                  <c:v>4.1029999999999998</c:v>
                </c:pt>
                <c:pt idx="2170">
                  <c:v>2.952</c:v>
                </c:pt>
                <c:pt idx="2171">
                  <c:v>1.9850000000000001</c:v>
                </c:pt>
                <c:pt idx="2172">
                  <c:v>0.30599999999999999</c:v>
                </c:pt>
                <c:pt idx="2173">
                  <c:v>0.10300000000000001</c:v>
                </c:pt>
                <c:pt idx="2174">
                  <c:v>1.5269999999999999</c:v>
                </c:pt>
                <c:pt idx="2175">
                  <c:v>4.1070000000000002</c:v>
                </c:pt>
                <c:pt idx="2176">
                  <c:v>6.6739999999999995</c:v>
                </c:pt>
                <c:pt idx="2177">
                  <c:v>8.9319999999999986</c:v>
                </c:pt>
                <c:pt idx="2178">
                  <c:v>11.729000000000001</c:v>
                </c:pt>
                <c:pt idx="2179">
                  <c:v>8.3719999999999999</c:v>
                </c:pt>
                <c:pt idx="2180">
                  <c:v>7</c:v>
                </c:pt>
                <c:pt idx="2181">
                  <c:v>6.4510000000000005</c:v>
                </c:pt>
                <c:pt idx="2182">
                  <c:v>5.49</c:v>
                </c:pt>
                <c:pt idx="2183">
                  <c:v>4.9950000000000001</c:v>
                </c:pt>
                <c:pt idx="2184">
                  <c:v>4.8979999999999997</c:v>
                </c:pt>
                <c:pt idx="2185">
                  <c:v>4.6059999999999999</c:v>
                </c:pt>
                <c:pt idx="2186">
                  <c:v>4.3579999999999997</c:v>
                </c:pt>
                <c:pt idx="2187">
                  <c:v>4.9399999999999995</c:v>
                </c:pt>
                <c:pt idx="2188">
                  <c:v>5.2350000000000003</c:v>
                </c:pt>
                <c:pt idx="2189">
                  <c:v>5.8710000000000004</c:v>
                </c:pt>
                <c:pt idx="2190">
                  <c:v>6.4489999999999998</c:v>
                </c:pt>
                <c:pt idx="2191">
                  <c:v>5.8710000000000004</c:v>
                </c:pt>
                <c:pt idx="2192">
                  <c:v>6.0890000000000004</c:v>
                </c:pt>
                <c:pt idx="2193">
                  <c:v>5.4359999999999999</c:v>
                </c:pt>
                <c:pt idx="2194">
                  <c:v>3.5390000000000001</c:v>
                </c:pt>
                <c:pt idx="2195">
                  <c:v>1.3039999999999998</c:v>
                </c:pt>
                <c:pt idx="2196">
                  <c:v>3.0000000000000001E-3</c:v>
                </c:pt>
                <c:pt idx="2197">
                  <c:v>-1E-3</c:v>
                </c:pt>
                <c:pt idx="2198">
                  <c:v>-1E-3</c:v>
                </c:pt>
                <c:pt idx="2199">
                  <c:v>-1E-3</c:v>
                </c:pt>
                <c:pt idx="2200">
                  <c:v>0.57899999999999996</c:v>
                </c:pt>
                <c:pt idx="2201">
                  <c:v>4.1970000000000001</c:v>
                </c:pt>
                <c:pt idx="2202">
                  <c:v>4.8529999999999998</c:v>
                </c:pt>
                <c:pt idx="2203">
                  <c:v>4.9880000000000004</c:v>
                </c:pt>
                <c:pt idx="2204">
                  <c:v>4.569</c:v>
                </c:pt>
                <c:pt idx="2205">
                  <c:v>2.597</c:v>
                </c:pt>
                <c:pt idx="2206">
                  <c:v>0.747</c:v>
                </c:pt>
                <c:pt idx="2207">
                  <c:v>0.79699999999999993</c:v>
                </c:pt>
                <c:pt idx="2208">
                  <c:v>0.128</c:v>
                </c:pt>
                <c:pt idx="2209">
                  <c:v>6.0999999999999999E-2</c:v>
                </c:pt>
                <c:pt idx="2210">
                  <c:v>8.6999999999999994E-2</c:v>
                </c:pt>
                <c:pt idx="2211">
                  <c:v>0.19400000000000001</c:v>
                </c:pt>
                <c:pt idx="2212">
                  <c:v>0.72699999999999998</c:v>
                </c:pt>
                <c:pt idx="2213">
                  <c:v>5.7219999999999995</c:v>
                </c:pt>
                <c:pt idx="2214">
                  <c:v>7.4359999999999999</c:v>
                </c:pt>
                <c:pt idx="2215">
                  <c:v>6.8930000000000007</c:v>
                </c:pt>
                <c:pt idx="2216">
                  <c:v>4.6979999999999995</c:v>
                </c:pt>
                <c:pt idx="2217">
                  <c:v>0.26600000000000001</c:v>
                </c:pt>
                <c:pt idx="2218">
                  <c:v>-6.0000000000000001E-3</c:v>
                </c:pt>
                <c:pt idx="2219">
                  <c:v>-0.10900000000000001</c:v>
                </c:pt>
                <c:pt idx="2220">
                  <c:v>-9.7000000000000003E-2</c:v>
                </c:pt>
                <c:pt idx="2221">
                  <c:v>-7.000000000000001E-3</c:v>
                </c:pt>
                <c:pt idx="2222">
                  <c:v>0</c:v>
                </c:pt>
                <c:pt idx="2223">
                  <c:v>0.43099999999999994</c:v>
                </c:pt>
                <c:pt idx="2224">
                  <c:v>4.1459999999999999</c:v>
                </c:pt>
                <c:pt idx="2225">
                  <c:v>7.2700000000000005</c:v>
                </c:pt>
                <c:pt idx="2226">
                  <c:v>9.5389999999999997</c:v>
                </c:pt>
                <c:pt idx="2227">
                  <c:v>9.4879999999999995</c:v>
                </c:pt>
                <c:pt idx="2228">
                  <c:v>7.8129999999999997</c:v>
                </c:pt>
                <c:pt idx="2229">
                  <c:v>7.4859999999999998</c:v>
                </c:pt>
                <c:pt idx="2230">
                  <c:v>7.0879999999999992</c:v>
                </c:pt>
                <c:pt idx="2231">
                  <c:v>7.4129999999999994</c:v>
                </c:pt>
                <c:pt idx="2232">
                  <c:v>7.1749999999999998</c:v>
                </c:pt>
                <c:pt idx="2233">
                  <c:v>7.0049999999999999</c:v>
                </c:pt>
                <c:pt idx="2234">
                  <c:v>7.2510000000000003</c:v>
                </c:pt>
                <c:pt idx="2235">
                  <c:v>7.234</c:v>
                </c:pt>
                <c:pt idx="2236">
                  <c:v>7.8709999999999996</c:v>
                </c:pt>
                <c:pt idx="2237">
                  <c:v>9.4909999999999997</c:v>
                </c:pt>
                <c:pt idx="2238">
                  <c:v>11.793000000000001</c:v>
                </c:pt>
                <c:pt idx="2239">
                  <c:v>11.793000000000001</c:v>
                </c:pt>
                <c:pt idx="2240">
                  <c:v>10.098000000000001</c:v>
                </c:pt>
                <c:pt idx="2241">
                  <c:v>10.734999999999999</c:v>
                </c:pt>
                <c:pt idx="2242">
                  <c:v>9.0809999999999995</c:v>
                </c:pt>
                <c:pt idx="2243">
                  <c:v>8.2029999999999994</c:v>
                </c:pt>
                <c:pt idx="2244">
                  <c:v>7.6879999999999997</c:v>
                </c:pt>
                <c:pt idx="2245">
                  <c:v>7.3040000000000003</c:v>
                </c:pt>
                <c:pt idx="2246">
                  <c:v>7.3069999999999995</c:v>
                </c:pt>
                <c:pt idx="2247">
                  <c:v>7.67</c:v>
                </c:pt>
                <c:pt idx="2248">
                  <c:v>9.2439999999999998</c:v>
                </c:pt>
                <c:pt idx="2249">
                  <c:v>10.814</c:v>
                </c:pt>
                <c:pt idx="2250">
                  <c:v>12.33</c:v>
                </c:pt>
                <c:pt idx="2251">
                  <c:v>10.157999999999999</c:v>
                </c:pt>
                <c:pt idx="2252">
                  <c:v>8.0969999999999995</c:v>
                </c:pt>
                <c:pt idx="2253">
                  <c:v>7.5510000000000002</c:v>
                </c:pt>
                <c:pt idx="2254">
                  <c:v>6.3890000000000002</c:v>
                </c:pt>
                <c:pt idx="2255">
                  <c:v>5.452</c:v>
                </c:pt>
                <c:pt idx="2256">
                  <c:v>5.2009999999999996</c:v>
                </c:pt>
                <c:pt idx="2257">
                  <c:v>5.0170000000000003</c:v>
                </c:pt>
                <c:pt idx="2258">
                  <c:v>5.157</c:v>
                </c:pt>
                <c:pt idx="2259">
                  <c:v>5.194</c:v>
                </c:pt>
                <c:pt idx="2260">
                  <c:v>5.51</c:v>
                </c:pt>
                <c:pt idx="2261">
                  <c:v>6.7519999999999998</c:v>
                </c:pt>
                <c:pt idx="2262">
                  <c:v>7.9159999999999995</c:v>
                </c:pt>
                <c:pt idx="2263">
                  <c:v>7.7180000000000009</c:v>
                </c:pt>
                <c:pt idx="2264">
                  <c:v>7.194</c:v>
                </c:pt>
                <c:pt idx="2265">
                  <c:v>6.9450000000000003</c:v>
                </c:pt>
                <c:pt idx="2266">
                  <c:v>6.306</c:v>
                </c:pt>
                <c:pt idx="2267">
                  <c:v>5.8079999999999998</c:v>
                </c:pt>
                <c:pt idx="2268">
                  <c:v>5.6219999999999999</c:v>
                </c:pt>
                <c:pt idx="2269">
                  <c:v>5.5490000000000004</c:v>
                </c:pt>
                <c:pt idx="2270">
                  <c:v>5.617</c:v>
                </c:pt>
                <c:pt idx="2271">
                  <c:v>5.7080000000000002</c:v>
                </c:pt>
                <c:pt idx="2272">
                  <c:v>6.9079999999999995</c:v>
                </c:pt>
                <c:pt idx="2273">
                  <c:v>7.5359999999999996</c:v>
                </c:pt>
                <c:pt idx="2274">
                  <c:v>9.0659999999999989</c:v>
                </c:pt>
                <c:pt idx="2275">
                  <c:v>8.0579999999999998</c:v>
                </c:pt>
                <c:pt idx="2276">
                  <c:v>7.3290000000000006</c:v>
                </c:pt>
                <c:pt idx="2277">
                  <c:v>7.1470000000000002</c:v>
                </c:pt>
                <c:pt idx="2278">
                  <c:v>6.1530000000000005</c:v>
                </c:pt>
                <c:pt idx="2279">
                  <c:v>6.2720000000000002</c:v>
                </c:pt>
                <c:pt idx="2280">
                  <c:v>5.9079999999999995</c:v>
                </c:pt>
                <c:pt idx="2281">
                  <c:v>5.5960000000000001</c:v>
                </c:pt>
                <c:pt idx="2282">
                  <c:v>5.6590000000000007</c:v>
                </c:pt>
                <c:pt idx="2283">
                  <c:v>5.39</c:v>
                </c:pt>
                <c:pt idx="2284">
                  <c:v>6.25</c:v>
                </c:pt>
                <c:pt idx="2285">
                  <c:v>7.6290000000000004</c:v>
                </c:pt>
                <c:pt idx="2286">
                  <c:v>8.4239999999999995</c:v>
                </c:pt>
                <c:pt idx="2287">
                  <c:v>8.1</c:v>
                </c:pt>
                <c:pt idx="2288">
                  <c:v>6.7590000000000003</c:v>
                </c:pt>
                <c:pt idx="2289">
                  <c:v>5.05</c:v>
                </c:pt>
                <c:pt idx="2290">
                  <c:v>2.597</c:v>
                </c:pt>
                <c:pt idx="2291">
                  <c:v>0.91600000000000004</c:v>
                </c:pt>
                <c:pt idx="2292">
                  <c:v>0</c:v>
                </c:pt>
                <c:pt idx="2293">
                  <c:v>-0.01</c:v>
                </c:pt>
                <c:pt idx="2294">
                  <c:v>5.0000000000000001E-3</c:v>
                </c:pt>
                <c:pt idx="2295">
                  <c:v>0.80899999999999994</c:v>
                </c:pt>
                <c:pt idx="2296">
                  <c:v>3.746</c:v>
                </c:pt>
                <c:pt idx="2297">
                  <c:v>4.9649999999999999</c:v>
                </c:pt>
                <c:pt idx="2298">
                  <c:v>5.5939999999999994</c:v>
                </c:pt>
                <c:pt idx="2299">
                  <c:v>5.5640000000000001</c:v>
                </c:pt>
                <c:pt idx="2300">
                  <c:v>5.4710000000000001</c:v>
                </c:pt>
                <c:pt idx="2301">
                  <c:v>5.6130000000000004</c:v>
                </c:pt>
                <c:pt idx="2302">
                  <c:v>5.5069999999999997</c:v>
                </c:pt>
                <c:pt idx="2303">
                  <c:v>4.3079999999999998</c:v>
                </c:pt>
                <c:pt idx="2304">
                  <c:v>4.5009999999999994</c:v>
                </c:pt>
                <c:pt idx="2305">
                  <c:v>4.6890000000000001</c:v>
                </c:pt>
                <c:pt idx="2306">
                  <c:v>4.7560000000000002</c:v>
                </c:pt>
                <c:pt idx="2307">
                  <c:v>5.0649999999999995</c:v>
                </c:pt>
                <c:pt idx="2308">
                  <c:v>5.4880000000000004</c:v>
                </c:pt>
                <c:pt idx="2309">
                  <c:v>5.8729999999999993</c:v>
                </c:pt>
                <c:pt idx="2310">
                  <c:v>5.9870000000000001</c:v>
                </c:pt>
                <c:pt idx="2311">
                  <c:v>5.9240000000000004</c:v>
                </c:pt>
                <c:pt idx="2312">
                  <c:v>4.8940000000000001</c:v>
                </c:pt>
                <c:pt idx="2313">
                  <c:v>2.9420000000000002</c:v>
                </c:pt>
                <c:pt idx="2314">
                  <c:v>-7.2999999999999995E-2</c:v>
                </c:pt>
                <c:pt idx="2315">
                  <c:v>-1.64</c:v>
                </c:pt>
                <c:pt idx="2316">
                  <c:v>-5.992</c:v>
                </c:pt>
                <c:pt idx="2317">
                  <c:v>-5.7590000000000003</c:v>
                </c:pt>
                <c:pt idx="2318">
                  <c:v>-3.4609999999999999</c:v>
                </c:pt>
                <c:pt idx="2319">
                  <c:v>-0.46600000000000003</c:v>
                </c:pt>
                <c:pt idx="2320">
                  <c:v>1.581</c:v>
                </c:pt>
                <c:pt idx="2321">
                  <c:v>6.7560000000000002</c:v>
                </c:pt>
                <c:pt idx="2322">
                  <c:v>7.3989999999999991</c:v>
                </c:pt>
                <c:pt idx="2323">
                  <c:v>6.8650000000000002</c:v>
                </c:pt>
                <c:pt idx="2324">
                  <c:v>4.6459999999999999</c:v>
                </c:pt>
                <c:pt idx="2325">
                  <c:v>4.5069999999999997</c:v>
                </c:pt>
                <c:pt idx="2326">
                  <c:v>2.5880000000000001</c:v>
                </c:pt>
                <c:pt idx="2327">
                  <c:v>1.097</c:v>
                </c:pt>
                <c:pt idx="2328">
                  <c:v>8.9999999999999993E-3</c:v>
                </c:pt>
                <c:pt idx="2329">
                  <c:v>0</c:v>
                </c:pt>
                <c:pt idx="2330">
                  <c:v>0</c:v>
                </c:pt>
                <c:pt idx="2331">
                  <c:v>0</c:v>
                </c:pt>
                <c:pt idx="2332">
                  <c:v>0</c:v>
                </c:pt>
                <c:pt idx="2333">
                  <c:v>0</c:v>
                </c:pt>
                <c:pt idx="2334">
                  <c:v>0</c:v>
                </c:pt>
                <c:pt idx="2335">
                  <c:v>0</c:v>
                </c:pt>
                <c:pt idx="2336">
                  <c:v>-1E-3</c:v>
                </c:pt>
                <c:pt idx="2337">
                  <c:v>-1.6E-2</c:v>
                </c:pt>
                <c:pt idx="2338">
                  <c:v>-0.32500000000000001</c:v>
                </c:pt>
                <c:pt idx="2339">
                  <c:v>-0.99399999999999999</c:v>
                </c:pt>
                <c:pt idx="2340">
                  <c:v>-2.6789999999999998</c:v>
                </c:pt>
                <c:pt idx="2341">
                  <c:v>-2.0059999999999998</c:v>
                </c:pt>
                <c:pt idx="2342">
                  <c:v>-0.504</c:v>
                </c:pt>
                <c:pt idx="2343">
                  <c:v>-1.6E-2</c:v>
                </c:pt>
                <c:pt idx="2344">
                  <c:v>0.69199999999999995</c:v>
                </c:pt>
                <c:pt idx="2345">
                  <c:v>9.145999999999999</c:v>
                </c:pt>
                <c:pt idx="2346">
                  <c:v>10.839</c:v>
                </c:pt>
                <c:pt idx="2347">
                  <c:v>10.64</c:v>
                </c:pt>
                <c:pt idx="2348">
                  <c:v>8.995000000000001</c:v>
                </c:pt>
                <c:pt idx="2349">
                  <c:v>7.7459999999999996</c:v>
                </c:pt>
                <c:pt idx="2350">
                  <c:v>7.2060000000000004</c:v>
                </c:pt>
                <c:pt idx="2351">
                  <c:v>7.077</c:v>
                </c:pt>
                <c:pt idx="2352">
                  <c:v>7.0709999999999997</c:v>
                </c:pt>
                <c:pt idx="2353">
                  <c:v>6.8120000000000003</c:v>
                </c:pt>
                <c:pt idx="2354">
                  <c:v>7.0709999999999997</c:v>
                </c:pt>
                <c:pt idx="2355">
                  <c:v>7.1569999999999991</c:v>
                </c:pt>
                <c:pt idx="2356">
                  <c:v>7.7439999999999998</c:v>
                </c:pt>
                <c:pt idx="2357">
                  <c:v>10.199</c:v>
                </c:pt>
                <c:pt idx="2358">
                  <c:v>14.978</c:v>
                </c:pt>
                <c:pt idx="2359">
                  <c:v>12.852</c:v>
                </c:pt>
                <c:pt idx="2360">
                  <c:v>8.5510000000000002</c:v>
                </c:pt>
                <c:pt idx="2361">
                  <c:v>8.0599999999999987</c:v>
                </c:pt>
                <c:pt idx="2362">
                  <c:v>7.1230000000000002</c:v>
                </c:pt>
                <c:pt idx="2363">
                  <c:v>6.4700000000000006</c:v>
                </c:pt>
                <c:pt idx="2364">
                  <c:v>6</c:v>
                </c:pt>
                <c:pt idx="2365">
                  <c:v>5.7889999999999997</c:v>
                </c:pt>
                <c:pt idx="2366">
                  <c:v>6.34</c:v>
                </c:pt>
                <c:pt idx="2367">
                  <c:v>7</c:v>
                </c:pt>
                <c:pt idx="2368">
                  <c:v>7.5010000000000003</c:v>
                </c:pt>
                <c:pt idx="2369">
                  <c:v>10.49</c:v>
                </c:pt>
                <c:pt idx="2370">
                  <c:v>13.73</c:v>
                </c:pt>
                <c:pt idx="2371">
                  <c:v>12.48</c:v>
                </c:pt>
                <c:pt idx="2372">
                  <c:v>8.4849999999999994</c:v>
                </c:pt>
                <c:pt idx="2373">
                  <c:v>7.7</c:v>
                </c:pt>
                <c:pt idx="2374">
                  <c:v>7.0190000000000001</c:v>
                </c:pt>
                <c:pt idx="2375">
                  <c:v>7.8209999999999997</c:v>
                </c:pt>
                <c:pt idx="2376">
                  <c:v>6.9390000000000001</c:v>
                </c:pt>
                <c:pt idx="2377">
                  <c:v>6.4730000000000008</c:v>
                </c:pt>
                <c:pt idx="2378">
                  <c:v>5.9950000000000001</c:v>
                </c:pt>
                <c:pt idx="2379">
                  <c:v>6.2479999999999993</c:v>
                </c:pt>
                <c:pt idx="2380">
                  <c:v>6.8340000000000005</c:v>
                </c:pt>
                <c:pt idx="2381">
                  <c:v>8.6690000000000005</c:v>
                </c:pt>
                <c:pt idx="2382">
                  <c:v>9.09</c:v>
                </c:pt>
                <c:pt idx="2383">
                  <c:v>7.9779999999999998</c:v>
                </c:pt>
                <c:pt idx="2384">
                  <c:v>6.83</c:v>
                </c:pt>
                <c:pt idx="2385">
                  <c:v>5.16</c:v>
                </c:pt>
                <c:pt idx="2386">
                  <c:v>4.3979999999999997</c:v>
                </c:pt>
                <c:pt idx="2387">
                  <c:v>3.6049999999999995</c:v>
                </c:pt>
                <c:pt idx="2388">
                  <c:v>1.0089999999999999</c:v>
                </c:pt>
                <c:pt idx="2389">
                  <c:v>1.05</c:v>
                </c:pt>
                <c:pt idx="2390">
                  <c:v>2.9039999999999999</c:v>
                </c:pt>
                <c:pt idx="2391">
                  <c:v>3.8270000000000004</c:v>
                </c:pt>
                <c:pt idx="2392">
                  <c:v>5.0149999999999997</c:v>
                </c:pt>
                <c:pt idx="2393">
                  <c:v>6.5900000000000007</c:v>
                </c:pt>
                <c:pt idx="2394">
                  <c:v>8.1750000000000007</c:v>
                </c:pt>
                <c:pt idx="2395">
                  <c:v>8.1739999999999995</c:v>
                </c:pt>
                <c:pt idx="2396">
                  <c:v>6.798</c:v>
                </c:pt>
                <c:pt idx="2397">
                  <c:v>6.0510000000000002</c:v>
                </c:pt>
                <c:pt idx="2398">
                  <c:v>3.5490000000000004</c:v>
                </c:pt>
                <c:pt idx="2399">
                  <c:v>2.2890000000000001</c:v>
                </c:pt>
                <c:pt idx="2400">
                  <c:v>0.59499999999999997</c:v>
                </c:pt>
                <c:pt idx="2401">
                  <c:v>0.61899999999999999</c:v>
                </c:pt>
                <c:pt idx="2402">
                  <c:v>0.89900000000000002</c:v>
                </c:pt>
                <c:pt idx="2403">
                  <c:v>2.63</c:v>
                </c:pt>
                <c:pt idx="2404">
                  <c:v>5.0030000000000001</c:v>
                </c:pt>
                <c:pt idx="2405">
                  <c:v>7.5909999999999993</c:v>
                </c:pt>
                <c:pt idx="2406">
                  <c:v>9.9629999999999992</c:v>
                </c:pt>
                <c:pt idx="2407">
                  <c:v>10.602</c:v>
                </c:pt>
                <c:pt idx="2408">
                  <c:v>8.0459999999999994</c:v>
                </c:pt>
                <c:pt idx="2409">
                  <c:v>6.766</c:v>
                </c:pt>
                <c:pt idx="2410">
                  <c:v>5.6049999999999995</c:v>
                </c:pt>
                <c:pt idx="2411">
                  <c:v>5.5619999999999994</c:v>
                </c:pt>
                <c:pt idx="2412">
                  <c:v>3.032</c:v>
                </c:pt>
                <c:pt idx="2413">
                  <c:v>3.129</c:v>
                </c:pt>
                <c:pt idx="2414">
                  <c:v>5.5350000000000001</c:v>
                </c:pt>
                <c:pt idx="2415">
                  <c:v>6.2909999999999995</c:v>
                </c:pt>
                <c:pt idx="2416">
                  <c:v>7.5319999999999991</c:v>
                </c:pt>
                <c:pt idx="2417">
                  <c:v>10.083</c:v>
                </c:pt>
                <c:pt idx="2418">
                  <c:v>19.115000000000002</c:v>
                </c:pt>
                <c:pt idx="2419">
                  <c:v>19.119</c:v>
                </c:pt>
                <c:pt idx="2420">
                  <c:v>11.559000000000001</c:v>
                </c:pt>
                <c:pt idx="2421">
                  <c:v>8.61</c:v>
                </c:pt>
                <c:pt idx="2422">
                  <c:v>7.6099999999999994</c:v>
                </c:pt>
                <c:pt idx="2423">
                  <c:v>7.258</c:v>
                </c:pt>
                <c:pt idx="2424">
                  <c:v>6.7359999999999998</c:v>
                </c:pt>
                <c:pt idx="2425">
                  <c:v>6.2240000000000002</c:v>
                </c:pt>
                <c:pt idx="2426">
                  <c:v>5.8810000000000002</c:v>
                </c:pt>
                <c:pt idx="2427">
                  <c:v>5.9079999999999995</c:v>
                </c:pt>
                <c:pt idx="2428">
                  <c:v>5.5570000000000004</c:v>
                </c:pt>
                <c:pt idx="2429">
                  <c:v>7.4629999999999992</c:v>
                </c:pt>
                <c:pt idx="2430">
                  <c:v>6.88</c:v>
                </c:pt>
                <c:pt idx="2431">
                  <c:v>5.2200000000000006</c:v>
                </c:pt>
                <c:pt idx="2432">
                  <c:v>3</c:v>
                </c:pt>
                <c:pt idx="2433">
                  <c:v>1.0050000000000001</c:v>
                </c:pt>
                <c:pt idx="2434">
                  <c:v>8.5999999999999993E-2</c:v>
                </c:pt>
                <c:pt idx="2435">
                  <c:v>9.0999999999999998E-2</c:v>
                </c:pt>
                <c:pt idx="2436">
                  <c:v>0.11000000000000001</c:v>
                </c:pt>
                <c:pt idx="2437">
                  <c:v>5.6999999999999995E-2</c:v>
                </c:pt>
                <c:pt idx="2438">
                  <c:v>2.9569999999999999</c:v>
                </c:pt>
                <c:pt idx="2439">
                  <c:v>5.9740000000000002</c:v>
                </c:pt>
                <c:pt idx="2440">
                  <c:v>7.6739999999999995</c:v>
                </c:pt>
                <c:pt idx="2441">
                  <c:v>10.07</c:v>
                </c:pt>
                <c:pt idx="2442">
                  <c:v>13.436000000000002</c:v>
                </c:pt>
                <c:pt idx="2443">
                  <c:v>13.782</c:v>
                </c:pt>
                <c:pt idx="2444">
                  <c:v>9.8790000000000013</c:v>
                </c:pt>
                <c:pt idx="2445">
                  <c:v>8.2420000000000009</c:v>
                </c:pt>
                <c:pt idx="2446">
                  <c:v>7.6510000000000007</c:v>
                </c:pt>
                <c:pt idx="2447">
                  <c:v>7.5709999999999997</c:v>
                </c:pt>
                <c:pt idx="2448">
                  <c:v>7.1739999999999995</c:v>
                </c:pt>
                <c:pt idx="2449">
                  <c:v>6.8890000000000002</c:v>
                </c:pt>
                <c:pt idx="2450">
                  <c:v>6.9260000000000002</c:v>
                </c:pt>
                <c:pt idx="2451">
                  <c:v>6.952</c:v>
                </c:pt>
                <c:pt idx="2452">
                  <c:v>7.7530000000000001</c:v>
                </c:pt>
                <c:pt idx="2453">
                  <c:v>9.1230000000000011</c:v>
                </c:pt>
                <c:pt idx="2454">
                  <c:v>9.6999999999999993</c:v>
                </c:pt>
                <c:pt idx="2455">
                  <c:v>8.6829999999999998</c:v>
                </c:pt>
                <c:pt idx="2456">
                  <c:v>7.0980000000000008</c:v>
                </c:pt>
                <c:pt idx="2457">
                  <c:v>4.2859999999999996</c:v>
                </c:pt>
                <c:pt idx="2458">
                  <c:v>1.8859999999999999</c:v>
                </c:pt>
                <c:pt idx="2459">
                  <c:v>0</c:v>
                </c:pt>
                <c:pt idx="2460">
                  <c:v>-7.000000000000001E-3</c:v>
                </c:pt>
                <c:pt idx="2461">
                  <c:v>1E-3</c:v>
                </c:pt>
                <c:pt idx="2462">
                  <c:v>1.7999999999999999E-2</c:v>
                </c:pt>
                <c:pt idx="2463">
                  <c:v>2.1999999999999999E-2</c:v>
                </c:pt>
                <c:pt idx="2464">
                  <c:v>5.7370000000000001</c:v>
                </c:pt>
                <c:pt idx="2465">
                  <c:v>8.1930000000000014</c:v>
                </c:pt>
                <c:pt idx="2466">
                  <c:v>12.595000000000001</c:v>
                </c:pt>
                <c:pt idx="2467">
                  <c:v>12.413</c:v>
                </c:pt>
                <c:pt idx="2468">
                  <c:v>8.66</c:v>
                </c:pt>
                <c:pt idx="2469">
                  <c:v>7.7989999999999995</c:v>
                </c:pt>
                <c:pt idx="2470">
                  <c:v>6.81</c:v>
                </c:pt>
                <c:pt idx="2471">
                  <c:v>6.0220000000000002</c:v>
                </c:pt>
                <c:pt idx="2472">
                  <c:v>4.907</c:v>
                </c:pt>
                <c:pt idx="2473">
                  <c:v>2.4409999999999998</c:v>
                </c:pt>
                <c:pt idx="2474">
                  <c:v>1.9410000000000001</c:v>
                </c:pt>
                <c:pt idx="2475">
                  <c:v>1.9949999999999999</c:v>
                </c:pt>
                <c:pt idx="2476">
                  <c:v>2.532</c:v>
                </c:pt>
                <c:pt idx="2477">
                  <c:v>3.0179999999999998</c:v>
                </c:pt>
                <c:pt idx="2478">
                  <c:v>3.5259999999999998</c:v>
                </c:pt>
                <c:pt idx="2479">
                  <c:v>2.2600000000000002</c:v>
                </c:pt>
                <c:pt idx="2480">
                  <c:v>0.88000000000000012</c:v>
                </c:pt>
                <c:pt idx="2481">
                  <c:v>-2E-3</c:v>
                </c:pt>
                <c:pt idx="2482">
                  <c:v>-0.99700000000000011</c:v>
                </c:pt>
                <c:pt idx="2483">
                  <c:v>-2.5960000000000001</c:v>
                </c:pt>
                <c:pt idx="2484">
                  <c:v>-5</c:v>
                </c:pt>
                <c:pt idx="2485">
                  <c:v>-5.5009999999999994</c:v>
                </c:pt>
                <c:pt idx="2486">
                  <c:v>-4.9909999999999997</c:v>
                </c:pt>
                <c:pt idx="2487">
                  <c:v>-1.9159999999999999</c:v>
                </c:pt>
                <c:pt idx="2488">
                  <c:v>-1.6E-2</c:v>
                </c:pt>
                <c:pt idx="2489">
                  <c:v>3.9909999999999997</c:v>
                </c:pt>
                <c:pt idx="2490">
                  <c:v>7.3439999999999994</c:v>
                </c:pt>
                <c:pt idx="2491">
                  <c:v>6.5780000000000003</c:v>
                </c:pt>
                <c:pt idx="2492">
                  <c:v>3.9350000000000001</c:v>
                </c:pt>
                <c:pt idx="2493">
                  <c:v>2.1109999999999998</c:v>
                </c:pt>
                <c:pt idx="2494">
                  <c:v>0.70499999999999996</c:v>
                </c:pt>
                <c:pt idx="2495">
                  <c:v>4.2999999999999997E-2</c:v>
                </c:pt>
                <c:pt idx="2496">
                  <c:v>8.299999999999999E-2</c:v>
                </c:pt>
                <c:pt idx="2497">
                  <c:v>9.2999999999999999E-2</c:v>
                </c:pt>
                <c:pt idx="2498">
                  <c:v>0.11299999999999999</c:v>
                </c:pt>
                <c:pt idx="2499">
                  <c:v>0.23399999999999999</c:v>
                </c:pt>
                <c:pt idx="2500">
                  <c:v>0.59499999999999997</c:v>
                </c:pt>
                <c:pt idx="2501">
                  <c:v>1.286</c:v>
                </c:pt>
                <c:pt idx="2502">
                  <c:v>1.3</c:v>
                </c:pt>
                <c:pt idx="2503">
                  <c:v>0.74099999999999999</c:v>
                </c:pt>
                <c:pt idx="2504">
                  <c:v>0</c:v>
                </c:pt>
                <c:pt idx="2505">
                  <c:v>-0.23700000000000002</c:v>
                </c:pt>
                <c:pt idx="2506">
                  <c:v>-1.2170000000000001</c:v>
                </c:pt>
                <c:pt idx="2507">
                  <c:v>-4.2270000000000003</c:v>
                </c:pt>
                <c:pt idx="2508">
                  <c:v>-6.0049999999999999</c:v>
                </c:pt>
                <c:pt idx="2509">
                  <c:v>-6.0069999999999997</c:v>
                </c:pt>
                <c:pt idx="2510">
                  <c:v>-4.0049999999999999</c:v>
                </c:pt>
                <c:pt idx="2511">
                  <c:v>-0.625</c:v>
                </c:pt>
                <c:pt idx="2512">
                  <c:v>0.157</c:v>
                </c:pt>
                <c:pt idx="2513">
                  <c:v>6.7230000000000008</c:v>
                </c:pt>
                <c:pt idx="2514">
                  <c:v>8.7799999999999994</c:v>
                </c:pt>
                <c:pt idx="2515">
                  <c:v>11.991</c:v>
                </c:pt>
                <c:pt idx="2516">
                  <c:v>11.260999999999999</c:v>
                </c:pt>
                <c:pt idx="2517">
                  <c:v>10.395</c:v>
                </c:pt>
                <c:pt idx="2518">
                  <c:v>8.7240000000000002</c:v>
                </c:pt>
                <c:pt idx="2519">
                  <c:v>8.1959999999999997</c:v>
                </c:pt>
                <c:pt idx="2520">
                  <c:v>8.1260000000000012</c:v>
                </c:pt>
                <c:pt idx="2521">
                  <c:v>7.7540000000000004</c:v>
                </c:pt>
                <c:pt idx="2522">
                  <c:v>7.8180000000000005</c:v>
                </c:pt>
                <c:pt idx="2523">
                  <c:v>7.5230000000000006</c:v>
                </c:pt>
                <c:pt idx="2524">
                  <c:v>8.6739999999999995</c:v>
                </c:pt>
                <c:pt idx="2525">
                  <c:v>11.573</c:v>
                </c:pt>
                <c:pt idx="2526">
                  <c:v>16.914999999999999</c:v>
                </c:pt>
                <c:pt idx="2527">
                  <c:v>15.324000000000002</c:v>
                </c:pt>
                <c:pt idx="2528">
                  <c:v>9.1560000000000006</c:v>
                </c:pt>
                <c:pt idx="2529">
                  <c:v>8.0549999999999997</c:v>
                </c:pt>
                <c:pt idx="2530">
                  <c:v>6.3149999999999995</c:v>
                </c:pt>
                <c:pt idx="2531">
                  <c:v>4.415</c:v>
                </c:pt>
                <c:pt idx="2532">
                  <c:v>3.1739999999999999</c:v>
                </c:pt>
                <c:pt idx="2533">
                  <c:v>1.296</c:v>
                </c:pt>
                <c:pt idx="2534">
                  <c:v>0.78</c:v>
                </c:pt>
                <c:pt idx="2535">
                  <c:v>0.79900000000000004</c:v>
                </c:pt>
                <c:pt idx="2536">
                  <c:v>4.63</c:v>
                </c:pt>
                <c:pt idx="2537">
                  <c:v>6.92</c:v>
                </c:pt>
                <c:pt idx="2538">
                  <c:v>7.8920000000000003</c:v>
                </c:pt>
                <c:pt idx="2539">
                  <c:v>7.702</c:v>
                </c:pt>
                <c:pt idx="2540">
                  <c:v>6.6310000000000002</c:v>
                </c:pt>
                <c:pt idx="2541">
                  <c:v>5.3770000000000007</c:v>
                </c:pt>
                <c:pt idx="2542">
                  <c:v>3.4170000000000003</c:v>
                </c:pt>
                <c:pt idx="2543">
                  <c:v>0.20200000000000001</c:v>
                </c:pt>
                <c:pt idx="2544">
                  <c:v>4.0000000000000001E-3</c:v>
                </c:pt>
                <c:pt idx="2545">
                  <c:v>1.4000000000000002E-2</c:v>
                </c:pt>
                <c:pt idx="2546">
                  <c:v>7.2999999999999995E-2</c:v>
                </c:pt>
                <c:pt idx="2547">
                  <c:v>1.7469999999999999</c:v>
                </c:pt>
                <c:pt idx="2548">
                  <c:v>3.6219999999999999</c:v>
                </c:pt>
                <c:pt idx="2549">
                  <c:v>6.3140000000000001</c:v>
                </c:pt>
                <c:pt idx="2550">
                  <c:v>7.4260000000000002</c:v>
                </c:pt>
                <c:pt idx="2551">
                  <c:v>7.4260000000000002</c:v>
                </c:pt>
                <c:pt idx="2552">
                  <c:v>6.4809999999999999</c:v>
                </c:pt>
                <c:pt idx="2553">
                  <c:v>5.1029999999999998</c:v>
                </c:pt>
                <c:pt idx="2554">
                  <c:v>4.2640000000000002</c:v>
                </c:pt>
                <c:pt idx="2555">
                  <c:v>4</c:v>
                </c:pt>
                <c:pt idx="2556">
                  <c:v>4.0220000000000002</c:v>
                </c:pt>
                <c:pt idx="2557">
                  <c:v>4.2080000000000002</c:v>
                </c:pt>
                <c:pt idx="2558">
                  <c:v>4.8529999999999998</c:v>
                </c:pt>
                <c:pt idx="2559">
                  <c:v>6.2840000000000007</c:v>
                </c:pt>
                <c:pt idx="2560">
                  <c:v>7.9670000000000005</c:v>
                </c:pt>
                <c:pt idx="2561">
                  <c:v>9.2919999999999998</c:v>
                </c:pt>
                <c:pt idx="2562">
                  <c:v>11.398999999999999</c:v>
                </c:pt>
                <c:pt idx="2563">
                  <c:v>12.452</c:v>
                </c:pt>
                <c:pt idx="2564">
                  <c:v>10.446</c:v>
                </c:pt>
                <c:pt idx="2565">
                  <c:v>9.01</c:v>
                </c:pt>
                <c:pt idx="2566">
                  <c:v>8.41</c:v>
                </c:pt>
                <c:pt idx="2567">
                  <c:v>8.3840000000000003</c:v>
                </c:pt>
                <c:pt idx="2568">
                  <c:v>8.3840000000000003</c:v>
                </c:pt>
                <c:pt idx="2569">
                  <c:v>8.1349999999999998</c:v>
                </c:pt>
                <c:pt idx="2570">
                  <c:v>8.24</c:v>
                </c:pt>
                <c:pt idx="2571">
                  <c:v>8.2959999999999994</c:v>
                </c:pt>
                <c:pt idx="2572">
                  <c:v>8.3730000000000011</c:v>
                </c:pt>
                <c:pt idx="2573">
                  <c:v>10.939</c:v>
                </c:pt>
                <c:pt idx="2574">
                  <c:v>16.997</c:v>
                </c:pt>
                <c:pt idx="2575">
                  <c:v>15.516999999999999</c:v>
                </c:pt>
                <c:pt idx="2576">
                  <c:v>10.462</c:v>
                </c:pt>
                <c:pt idx="2577">
                  <c:v>8.39</c:v>
                </c:pt>
                <c:pt idx="2578">
                  <c:v>7.99</c:v>
                </c:pt>
                <c:pt idx="2579">
                  <c:v>8.298</c:v>
                </c:pt>
                <c:pt idx="2580">
                  <c:v>8.081999999999999</c:v>
                </c:pt>
                <c:pt idx="2581">
                  <c:v>7.770999999999999</c:v>
                </c:pt>
                <c:pt idx="2582">
                  <c:v>7.7030000000000003</c:v>
                </c:pt>
                <c:pt idx="2583">
                  <c:v>8</c:v>
                </c:pt>
                <c:pt idx="2584">
                  <c:v>8.6900000000000013</c:v>
                </c:pt>
                <c:pt idx="2585">
                  <c:v>11.497</c:v>
                </c:pt>
                <c:pt idx="2586">
                  <c:v>15.991999999999999</c:v>
                </c:pt>
                <c:pt idx="2587">
                  <c:v>16.990000000000002</c:v>
                </c:pt>
                <c:pt idx="2588">
                  <c:v>13.006</c:v>
                </c:pt>
                <c:pt idx="2589">
                  <c:v>9.9039999999999999</c:v>
                </c:pt>
                <c:pt idx="2590">
                  <c:v>8.7810000000000006</c:v>
                </c:pt>
                <c:pt idx="2591">
                  <c:v>9.1829999999999998</c:v>
                </c:pt>
                <c:pt idx="2592">
                  <c:v>8.7420000000000009</c:v>
                </c:pt>
                <c:pt idx="2593">
                  <c:v>8.8529999999999998</c:v>
                </c:pt>
                <c:pt idx="2594">
                  <c:v>8.7759999999999998</c:v>
                </c:pt>
                <c:pt idx="2595">
                  <c:v>8.9610000000000003</c:v>
                </c:pt>
                <c:pt idx="2596">
                  <c:v>9.3469999999999995</c:v>
                </c:pt>
                <c:pt idx="2597">
                  <c:v>12.187999999999999</c:v>
                </c:pt>
                <c:pt idx="2598">
                  <c:v>15.580000000000002</c:v>
                </c:pt>
                <c:pt idx="2599">
                  <c:v>13.119</c:v>
                </c:pt>
                <c:pt idx="2600">
                  <c:v>10.112</c:v>
                </c:pt>
                <c:pt idx="2601">
                  <c:v>9.020999999999999</c:v>
                </c:pt>
                <c:pt idx="2602">
                  <c:v>8.3870000000000005</c:v>
                </c:pt>
                <c:pt idx="2603">
                  <c:v>8.0640000000000001</c:v>
                </c:pt>
                <c:pt idx="2604">
                  <c:v>7.7200000000000006</c:v>
                </c:pt>
                <c:pt idx="2605">
                  <c:v>7.3010000000000002</c:v>
                </c:pt>
                <c:pt idx="2606">
                  <c:v>7.07</c:v>
                </c:pt>
                <c:pt idx="2607">
                  <c:v>7.0879999999999992</c:v>
                </c:pt>
                <c:pt idx="2608">
                  <c:v>8.1329999999999991</c:v>
                </c:pt>
                <c:pt idx="2609">
                  <c:v>9.4030000000000005</c:v>
                </c:pt>
                <c:pt idx="2610">
                  <c:v>12.523999999999999</c:v>
                </c:pt>
                <c:pt idx="2611">
                  <c:v>12.883000000000001</c:v>
                </c:pt>
                <c:pt idx="2612">
                  <c:v>10.592000000000001</c:v>
                </c:pt>
                <c:pt idx="2613">
                  <c:v>8.9890000000000008</c:v>
                </c:pt>
                <c:pt idx="2614">
                  <c:v>7.9370000000000003</c:v>
                </c:pt>
                <c:pt idx="2615">
                  <c:v>7.7209999999999992</c:v>
                </c:pt>
                <c:pt idx="2616">
                  <c:v>6.0830000000000002</c:v>
                </c:pt>
                <c:pt idx="2617">
                  <c:v>5.0529999999999999</c:v>
                </c:pt>
                <c:pt idx="2618">
                  <c:v>4.9470000000000001</c:v>
                </c:pt>
                <c:pt idx="2619">
                  <c:v>4.7969999999999997</c:v>
                </c:pt>
                <c:pt idx="2620">
                  <c:v>4.9079999999999995</c:v>
                </c:pt>
                <c:pt idx="2621">
                  <c:v>6.0119999999999996</c:v>
                </c:pt>
                <c:pt idx="2622">
                  <c:v>6.9040000000000008</c:v>
                </c:pt>
                <c:pt idx="2623">
                  <c:v>7.6</c:v>
                </c:pt>
                <c:pt idx="2624">
                  <c:v>6.83</c:v>
                </c:pt>
                <c:pt idx="2625">
                  <c:v>6.0200000000000005</c:v>
                </c:pt>
                <c:pt idx="2626">
                  <c:v>5.6079999999999997</c:v>
                </c:pt>
                <c:pt idx="2627">
                  <c:v>5.0909999999999993</c:v>
                </c:pt>
                <c:pt idx="2628">
                  <c:v>4.7</c:v>
                </c:pt>
                <c:pt idx="2629">
                  <c:v>4.4939999999999998</c:v>
                </c:pt>
                <c:pt idx="2630">
                  <c:v>4.4560000000000004</c:v>
                </c:pt>
                <c:pt idx="2631">
                  <c:v>5.0909999999999993</c:v>
                </c:pt>
                <c:pt idx="2632">
                  <c:v>5.8770000000000007</c:v>
                </c:pt>
                <c:pt idx="2633">
                  <c:v>6.3490000000000002</c:v>
                </c:pt>
                <c:pt idx="2634">
                  <c:v>6.5319999999999991</c:v>
                </c:pt>
                <c:pt idx="2635">
                  <c:v>6.6280000000000001</c:v>
                </c:pt>
                <c:pt idx="2636">
                  <c:v>6.62</c:v>
                </c:pt>
                <c:pt idx="2637">
                  <c:v>6.5269999999999992</c:v>
                </c:pt>
                <c:pt idx="2638">
                  <c:v>6.3149999999999995</c:v>
                </c:pt>
                <c:pt idx="2639">
                  <c:v>6.024</c:v>
                </c:pt>
                <c:pt idx="2640">
                  <c:v>5.7969999999999997</c:v>
                </c:pt>
                <c:pt idx="2641">
                  <c:v>5.7329999999999997</c:v>
                </c:pt>
                <c:pt idx="2642">
                  <c:v>5.7750000000000004</c:v>
                </c:pt>
                <c:pt idx="2643">
                  <c:v>6.1040000000000001</c:v>
                </c:pt>
                <c:pt idx="2644">
                  <c:v>6.2829999999999995</c:v>
                </c:pt>
                <c:pt idx="2645">
                  <c:v>6.3920000000000003</c:v>
                </c:pt>
                <c:pt idx="2646">
                  <c:v>6.798</c:v>
                </c:pt>
                <c:pt idx="2647">
                  <c:v>6.5040000000000004</c:v>
                </c:pt>
                <c:pt idx="2648">
                  <c:v>5.99</c:v>
                </c:pt>
                <c:pt idx="2649">
                  <c:v>5.0049999999999999</c:v>
                </c:pt>
                <c:pt idx="2650">
                  <c:v>3.843</c:v>
                </c:pt>
                <c:pt idx="2651">
                  <c:v>2.8969999999999998</c:v>
                </c:pt>
                <c:pt idx="2652">
                  <c:v>1.2330000000000001</c:v>
                </c:pt>
                <c:pt idx="2653">
                  <c:v>1.0550000000000002</c:v>
                </c:pt>
                <c:pt idx="2654">
                  <c:v>1.8329999999999997</c:v>
                </c:pt>
                <c:pt idx="2655">
                  <c:v>3.7409999999999997</c:v>
                </c:pt>
                <c:pt idx="2656">
                  <c:v>6.2829999999999995</c:v>
                </c:pt>
                <c:pt idx="2657">
                  <c:v>7.8900000000000006</c:v>
                </c:pt>
                <c:pt idx="2658">
                  <c:v>8.9610000000000003</c:v>
                </c:pt>
                <c:pt idx="2659">
                  <c:v>9.7040000000000006</c:v>
                </c:pt>
                <c:pt idx="2660">
                  <c:v>9.0310000000000006</c:v>
                </c:pt>
                <c:pt idx="2661">
                  <c:v>8.6069999999999993</c:v>
                </c:pt>
                <c:pt idx="2662">
                  <c:v>8.2900000000000009</c:v>
                </c:pt>
                <c:pt idx="2663">
                  <c:v>8.1849999999999987</c:v>
                </c:pt>
                <c:pt idx="2664">
                  <c:v>7.0590000000000002</c:v>
                </c:pt>
                <c:pt idx="2665">
                  <c:v>6.9530000000000003</c:v>
                </c:pt>
                <c:pt idx="2666">
                  <c:v>6.44</c:v>
                </c:pt>
                <c:pt idx="2667">
                  <c:v>6.3879999999999999</c:v>
                </c:pt>
                <c:pt idx="2668">
                  <c:v>6.3620000000000001</c:v>
                </c:pt>
                <c:pt idx="2669">
                  <c:v>6.4430000000000005</c:v>
                </c:pt>
                <c:pt idx="2670">
                  <c:v>6.0529999999999999</c:v>
                </c:pt>
                <c:pt idx="2671">
                  <c:v>6.0880000000000001</c:v>
                </c:pt>
                <c:pt idx="2672">
                  <c:v>5.5380000000000003</c:v>
                </c:pt>
                <c:pt idx="2673">
                  <c:v>3.2990000000000004</c:v>
                </c:pt>
                <c:pt idx="2674">
                  <c:v>3.6960000000000002</c:v>
                </c:pt>
                <c:pt idx="2675">
                  <c:v>0.60599999999999998</c:v>
                </c:pt>
                <c:pt idx="2676">
                  <c:v>2.8000000000000004E-2</c:v>
                </c:pt>
                <c:pt idx="2677">
                  <c:v>-0.09</c:v>
                </c:pt>
                <c:pt idx="2678">
                  <c:v>7.4999999999999997E-2</c:v>
                </c:pt>
                <c:pt idx="2679">
                  <c:v>0.60099999999999998</c:v>
                </c:pt>
                <c:pt idx="2680">
                  <c:v>5.8220000000000001</c:v>
                </c:pt>
                <c:pt idx="2681">
                  <c:v>7.4599999999999991</c:v>
                </c:pt>
                <c:pt idx="2682">
                  <c:v>8.9359999999999999</c:v>
                </c:pt>
                <c:pt idx="2683">
                  <c:v>9.5259999999999998</c:v>
                </c:pt>
                <c:pt idx="2684">
                  <c:v>9.1069999999999993</c:v>
                </c:pt>
                <c:pt idx="2685">
                  <c:v>8.9409999999999989</c:v>
                </c:pt>
                <c:pt idx="2686">
                  <c:v>8.8460000000000001</c:v>
                </c:pt>
                <c:pt idx="2687">
                  <c:v>7.8970000000000002</c:v>
                </c:pt>
                <c:pt idx="2688">
                  <c:v>7.8049999999999997</c:v>
                </c:pt>
                <c:pt idx="2689">
                  <c:v>7.8439999999999994</c:v>
                </c:pt>
                <c:pt idx="2690">
                  <c:v>7.992</c:v>
                </c:pt>
                <c:pt idx="2691">
                  <c:v>7.979000000000001</c:v>
                </c:pt>
                <c:pt idx="2692">
                  <c:v>8.75</c:v>
                </c:pt>
                <c:pt idx="2693">
                  <c:v>10.59</c:v>
                </c:pt>
                <c:pt idx="2694">
                  <c:v>13.078999999999999</c:v>
                </c:pt>
                <c:pt idx="2695">
                  <c:v>11.745999999999999</c:v>
                </c:pt>
                <c:pt idx="2696">
                  <c:v>9.7050000000000001</c:v>
                </c:pt>
                <c:pt idx="2697">
                  <c:v>8.1859999999999999</c:v>
                </c:pt>
                <c:pt idx="2698">
                  <c:v>8.1239999999999988</c:v>
                </c:pt>
                <c:pt idx="2699">
                  <c:v>7.7050000000000001</c:v>
                </c:pt>
                <c:pt idx="2700">
                  <c:v>7.367</c:v>
                </c:pt>
                <c:pt idx="2701">
                  <c:v>7.4169999999999998</c:v>
                </c:pt>
                <c:pt idx="2702">
                  <c:v>7.8480000000000008</c:v>
                </c:pt>
                <c:pt idx="2703">
                  <c:v>8.157</c:v>
                </c:pt>
                <c:pt idx="2704">
                  <c:v>9.6790000000000003</c:v>
                </c:pt>
                <c:pt idx="2705">
                  <c:v>11.82</c:v>
                </c:pt>
                <c:pt idx="2706">
                  <c:v>16.405000000000001</c:v>
                </c:pt>
                <c:pt idx="2707">
                  <c:v>17.096</c:v>
                </c:pt>
                <c:pt idx="2708">
                  <c:v>13.005000000000001</c:v>
                </c:pt>
                <c:pt idx="2709">
                  <c:v>10.577</c:v>
                </c:pt>
                <c:pt idx="2710">
                  <c:v>9.6989999999999998</c:v>
                </c:pt>
                <c:pt idx="2711">
                  <c:v>8.831999999999999</c:v>
                </c:pt>
                <c:pt idx="2712">
                  <c:v>8.6690000000000005</c:v>
                </c:pt>
                <c:pt idx="2713">
                  <c:v>8.5950000000000006</c:v>
                </c:pt>
                <c:pt idx="2714">
                  <c:v>8.5419999999999998</c:v>
                </c:pt>
                <c:pt idx="2715">
                  <c:v>8.6349999999999998</c:v>
                </c:pt>
                <c:pt idx="2716">
                  <c:v>9.7690000000000001</c:v>
                </c:pt>
                <c:pt idx="2717">
                  <c:v>12.14</c:v>
                </c:pt>
                <c:pt idx="2718">
                  <c:v>18.125999999999998</c:v>
                </c:pt>
                <c:pt idx="2719">
                  <c:v>13.628</c:v>
                </c:pt>
                <c:pt idx="2720">
                  <c:v>9.8379999999999992</c:v>
                </c:pt>
                <c:pt idx="2721">
                  <c:v>8.2870000000000008</c:v>
                </c:pt>
                <c:pt idx="2722">
                  <c:v>7.7260000000000009</c:v>
                </c:pt>
                <c:pt idx="2723">
                  <c:v>7.7459999999999996</c:v>
                </c:pt>
                <c:pt idx="2724">
                  <c:v>7.9379999999999997</c:v>
                </c:pt>
                <c:pt idx="2725">
                  <c:v>7.8620000000000001</c:v>
                </c:pt>
                <c:pt idx="2726">
                  <c:v>8.0019999999999989</c:v>
                </c:pt>
                <c:pt idx="2727">
                  <c:v>8.3019999999999996</c:v>
                </c:pt>
                <c:pt idx="2728">
                  <c:v>8.9969999999999999</c:v>
                </c:pt>
                <c:pt idx="2729">
                  <c:v>10.24</c:v>
                </c:pt>
                <c:pt idx="2730">
                  <c:v>12.301</c:v>
                </c:pt>
                <c:pt idx="2731">
                  <c:v>12.507</c:v>
                </c:pt>
                <c:pt idx="2732">
                  <c:v>10.51</c:v>
                </c:pt>
                <c:pt idx="2733">
                  <c:v>9.2729999999999997</c:v>
                </c:pt>
                <c:pt idx="2734">
                  <c:v>8.1549999999999994</c:v>
                </c:pt>
                <c:pt idx="2735">
                  <c:v>8.18</c:v>
                </c:pt>
                <c:pt idx="2736">
                  <c:v>7.7969999999999997</c:v>
                </c:pt>
                <c:pt idx="2737">
                  <c:v>7.7159999999999993</c:v>
                </c:pt>
                <c:pt idx="2738">
                  <c:v>7.4859999999999998</c:v>
                </c:pt>
                <c:pt idx="2739">
                  <c:v>7.7370000000000001</c:v>
                </c:pt>
                <c:pt idx="2740">
                  <c:v>8.1829999999999998</c:v>
                </c:pt>
                <c:pt idx="2741">
                  <c:v>10.166</c:v>
                </c:pt>
                <c:pt idx="2742">
                  <c:v>12.816999999999998</c:v>
                </c:pt>
                <c:pt idx="2743">
                  <c:v>10.706999999999999</c:v>
                </c:pt>
                <c:pt idx="2744">
                  <c:v>9.1810000000000009</c:v>
                </c:pt>
                <c:pt idx="2745">
                  <c:v>9.0739999999999998</c:v>
                </c:pt>
                <c:pt idx="2746">
                  <c:v>8.8349999999999991</c:v>
                </c:pt>
                <c:pt idx="2747">
                  <c:v>8.26</c:v>
                </c:pt>
                <c:pt idx="2748">
                  <c:v>8.0090000000000003</c:v>
                </c:pt>
                <c:pt idx="2749">
                  <c:v>7.6530000000000005</c:v>
                </c:pt>
                <c:pt idx="2750">
                  <c:v>8.0709999999999997</c:v>
                </c:pt>
                <c:pt idx="2751">
                  <c:v>8.1120000000000001</c:v>
                </c:pt>
                <c:pt idx="2752">
                  <c:v>8.66</c:v>
                </c:pt>
                <c:pt idx="2753">
                  <c:v>10.154</c:v>
                </c:pt>
                <c:pt idx="2754">
                  <c:v>13.52</c:v>
                </c:pt>
                <c:pt idx="2755">
                  <c:v>14.343999999999999</c:v>
                </c:pt>
                <c:pt idx="2756">
                  <c:v>12.116</c:v>
                </c:pt>
                <c:pt idx="2757">
                  <c:v>10.531000000000001</c:v>
                </c:pt>
                <c:pt idx="2758">
                  <c:v>9.020999999999999</c:v>
                </c:pt>
                <c:pt idx="2759">
                  <c:v>8.35</c:v>
                </c:pt>
                <c:pt idx="2760">
                  <c:v>8</c:v>
                </c:pt>
                <c:pt idx="2761">
                  <c:v>7.7370000000000001</c:v>
                </c:pt>
                <c:pt idx="2762">
                  <c:v>7.6049999999999995</c:v>
                </c:pt>
                <c:pt idx="2763">
                  <c:v>7.5239999999999991</c:v>
                </c:pt>
                <c:pt idx="2764">
                  <c:v>8.4019999999999992</c:v>
                </c:pt>
                <c:pt idx="2765">
                  <c:v>10.244</c:v>
                </c:pt>
                <c:pt idx="2766">
                  <c:v>12.905000000000001</c:v>
                </c:pt>
                <c:pt idx="2767">
                  <c:v>11.270999999999999</c:v>
                </c:pt>
                <c:pt idx="2768">
                  <c:v>9.2099999999999991</c:v>
                </c:pt>
                <c:pt idx="2769">
                  <c:v>8.0010000000000012</c:v>
                </c:pt>
                <c:pt idx="2770">
                  <c:v>7.82</c:v>
                </c:pt>
                <c:pt idx="2771">
                  <c:v>7.3920000000000003</c:v>
                </c:pt>
                <c:pt idx="2772">
                  <c:v>6.867</c:v>
                </c:pt>
                <c:pt idx="2773">
                  <c:v>6.641</c:v>
                </c:pt>
                <c:pt idx="2774">
                  <c:v>6.9319999999999995</c:v>
                </c:pt>
                <c:pt idx="2775">
                  <c:v>7.2810000000000006</c:v>
                </c:pt>
                <c:pt idx="2776">
                  <c:v>7.9879999999999995</c:v>
                </c:pt>
                <c:pt idx="2777">
                  <c:v>9.5169999999999995</c:v>
                </c:pt>
                <c:pt idx="2778">
                  <c:v>14.109</c:v>
                </c:pt>
                <c:pt idx="2779">
                  <c:v>15.228999999999999</c:v>
                </c:pt>
                <c:pt idx="2780">
                  <c:v>11.370999999999999</c:v>
                </c:pt>
                <c:pt idx="2781">
                  <c:v>9.1349999999999998</c:v>
                </c:pt>
                <c:pt idx="2782">
                  <c:v>7.9739999999999993</c:v>
                </c:pt>
                <c:pt idx="2783">
                  <c:v>7.9870000000000001</c:v>
                </c:pt>
                <c:pt idx="2784">
                  <c:v>7.4</c:v>
                </c:pt>
                <c:pt idx="2785">
                  <c:v>7.4700000000000006</c:v>
                </c:pt>
                <c:pt idx="2786">
                  <c:v>7.4069999999999991</c:v>
                </c:pt>
                <c:pt idx="2787">
                  <c:v>7.7099999999999991</c:v>
                </c:pt>
                <c:pt idx="2788">
                  <c:v>8.3689999999999998</c:v>
                </c:pt>
                <c:pt idx="2789">
                  <c:v>9.35</c:v>
                </c:pt>
                <c:pt idx="2790">
                  <c:v>10.406000000000001</c:v>
                </c:pt>
                <c:pt idx="2791">
                  <c:v>9.6059999999999999</c:v>
                </c:pt>
                <c:pt idx="2792">
                  <c:v>8.1080000000000005</c:v>
                </c:pt>
                <c:pt idx="2793">
                  <c:v>7.7810000000000006</c:v>
                </c:pt>
                <c:pt idx="2794">
                  <c:v>7.2949999999999999</c:v>
                </c:pt>
                <c:pt idx="2795">
                  <c:v>7.0349999999999993</c:v>
                </c:pt>
                <c:pt idx="2796">
                  <c:v>6.8739999999999997</c:v>
                </c:pt>
                <c:pt idx="2797">
                  <c:v>6.5370000000000008</c:v>
                </c:pt>
                <c:pt idx="2798">
                  <c:v>6.992</c:v>
                </c:pt>
                <c:pt idx="2799">
                  <c:v>7.17</c:v>
                </c:pt>
                <c:pt idx="2800">
                  <c:v>8.0459999999999994</c:v>
                </c:pt>
                <c:pt idx="2801">
                  <c:v>9.4779999999999998</c:v>
                </c:pt>
                <c:pt idx="2802">
                  <c:v>13.190000000000001</c:v>
                </c:pt>
                <c:pt idx="2803">
                  <c:v>14.158000000000001</c:v>
                </c:pt>
                <c:pt idx="2804">
                  <c:v>11</c:v>
                </c:pt>
                <c:pt idx="2805">
                  <c:v>9.270999999999999</c:v>
                </c:pt>
                <c:pt idx="2806">
                  <c:v>8.8260000000000005</c:v>
                </c:pt>
                <c:pt idx="2807">
                  <c:v>9.0289999999999999</c:v>
                </c:pt>
                <c:pt idx="2808">
                  <c:v>8.89</c:v>
                </c:pt>
                <c:pt idx="2809">
                  <c:v>8.6590000000000007</c:v>
                </c:pt>
                <c:pt idx="2810">
                  <c:v>8.9030000000000005</c:v>
                </c:pt>
                <c:pt idx="2811">
                  <c:v>8.7690000000000001</c:v>
                </c:pt>
                <c:pt idx="2812">
                  <c:v>8.5680000000000014</c:v>
                </c:pt>
                <c:pt idx="2813">
                  <c:v>8.6080000000000005</c:v>
                </c:pt>
                <c:pt idx="2814">
                  <c:v>7.9040000000000008</c:v>
                </c:pt>
                <c:pt idx="2815">
                  <c:v>6.8650000000000002</c:v>
                </c:pt>
                <c:pt idx="2816">
                  <c:v>5.907</c:v>
                </c:pt>
                <c:pt idx="2817">
                  <c:v>3.6020000000000003</c:v>
                </c:pt>
                <c:pt idx="2818">
                  <c:v>0.84299999999999997</c:v>
                </c:pt>
                <c:pt idx="2819">
                  <c:v>3.0000000000000001E-3</c:v>
                </c:pt>
                <c:pt idx="2820">
                  <c:v>-6.0000000000000001E-3</c:v>
                </c:pt>
                <c:pt idx="2821">
                  <c:v>0</c:v>
                </c:pt>
                <c:pt idx="2822">
                  <c:v>0</c:v>
                </c:pt>
                <c:pt idx="2823">
                  <c:v>1.9949999999999999</c:v>
                </c:pt>
                <c:pt idx="2824">
                  <c:v>6.218</c:v>
                </c:pt>
                <c:pt idx="2825">
                  <c:v>8.6180000000000003</c:v>
                </c:pt>
                <c:pt idx="2826">
                  <c:v>11.99</c:v>
                </c:pt>
                <c:pt idx="2827">
                  <c:v>11.227</c:v>
                </c:pt>
                <c:pt idx="2828">
                  <c:v>8.5</c:v>
                </c:pt>
                <c:pt idx="2829">
                  <c:v>7.5900000000000007</c:v>
                </c:pt>
                <c:pt idx="2830">
                  <c:v>6.5230000000000006</c:v>
                </c:pt>
                <c:pt idx="2831">
                  <c:v>5.6390000000000002</c:v>
                </c:pt>
                <c:pt idx="2832">
                  <c:v>4.6139999999999999</c:v>
                </c:pt>
                <c:pt idx="2833">
                  <c:v>3.96</c:v>
                </c:pt>
                <c:pt idx="2834">
                  <c:v>3.1550000000000002</c:v>
                </c:pt>
                <c:pt idx="2835">
                  <c:v>2.7600000000000002</c:v>
                </c:pt>
                <c:pt idx="2836">
                  <c:v>2.605</c:v>
                </c:pt>
                <c:pt idx="2837">
                  <c:v>0.99199999999999999</c:v>
                </c:pt>
                <c:pt idx="2838">
                  <c:v>0.01</c:v>
                </c:pt>
                <c:pt idx="2839">
                  <c:v>-7.000000000000001E-3</c:v>
                </c:pt>
                <c:pt idx="2840">
                  <c:v>-0.10200000000000001</c:v>
                </c:pt>
                <c:pt idx="2841">
                  <c:v>-1.6629999999999998</c:v>
                </c:pt>
                <c:pt idx="2842">
                  <c:v>-3.6719999999999997</c:v>
                </c:pt>
                <c:pt idx="2843">
                  <c:v>-6.0049999999999999</c:v>
                </c:pt>
                <c:pt idx="2844">
                  <c:v>-6.0090000000000003</c:v>
                </c:pt>
                <c:pt idx="2845">
                  <c:v>-6.5060000000000002</c:v>
                </c:pt>
                <c:pt idx="2846">
                  <c:v>-5.2430000000000003</c:v>
                </c:pt>
                <c:pt idx="2847">
                  <c:v>-2.3449999999999998</c:v>
                </c:pt>
                <c:pt idx="2848">
                  <c:v>-2E-3</c:v>
                </c:pt>
                <c:pt idx="2849">
                  <c:v>2.5379999999999998</c:v>
                </c:pt>
                <c:pt idx="2850">
                  <c:v>6.9359999999999999</c:v>
                </c:pt>
                <c:pt idx="2851">
                  <c:v>7.7450000000000001</c:v>
                </c:pt>
                <c:pt idx="2852">
                  <c:v>7.8559999999999999</c:v>
                </c:pt>
                <c:pt idx="2853">
                  <c:v>7.2209999999999992</c:v>
                </c:pt>
                <c:pt idx="2854">
                  <c:v>6.694</c:v>
                </c:pt>
                <c:pt idx="2855">
                  <c:v>6.3149999999999995</c:v>
                </c:pt>
                <c:pt idx="2856">
                  <c:v>6.0049999999999999</c:v>
                </c:pt>
                <c:pt idx="2857">
                  <c:v>5.8929999999999998</c:v>
                </c:pt>
                <c:pt idx="2858">
                  <c:v>6.2460000000000004</c:v>
                </c:pt>
                <c:pt idx="2859">
                  <c:v>7.6819999999999995</c:v>
                </c:pt>
                <c:pt idx="2860">
                  <c:v>8.5180000000000007</c:v>
                </c:pt>
                <c:pt idx="2861">
                  <c:v>10.238</c:v>
                </c:pt>
                <c:pt idx="2862">
                  <c:v>11.795</c:v>
                </c:pt>
                <c:pt idx="2863">
                  <c:v>10.068999999999999</c:v>
                </c:pt>
                <c:pt idx="2864">
                  <c:v>7.5170000000000003</c:v>
                </c:pt>
                <c:pt idx="2865">
                  <c:v>5.9210000000000003</c:v>
                </c:pt>
                <c:pt idx="2866">
                  <c:v>3.6459999999999999</c:v>
                </c:pt>
                <c:pt idx="2867">
                  <c:v>3.6179999999999999</c:v>
                </c:pt>
                <c:pt idx="2868">
                  <c:v>3.5590000000000002</c:v>
                </c:pt>
                <c:pt idx="2869">
                  <c:v>3.3630000000000004</c:v>
                </c:pt>
                <c:pt idx="2870">
                  <c:v>3.5569999999999999</c:v>
                </c:pt>
                <c:pt idx="2871">
                  <c:v>4.7679999999999998</c:v>
                </c:pt>
                <c:pt idx="2872">
                  <c:v>8.5749999999999993</c:v>
                </c:pt>
                <c:pt idx="2873">
                  <c:v>10.473000000000001</c:v>
                </c:pt>
                <c:pt idx="2874">
                  <c:v>18.003999999999998</c:v>
                </c:pt>
                <c:pt idx="2875">
                  <c:v>20.457000000000001</c:v>
                </c:pt>
                <c:pt idx="2876">
                  <c:v>10.855</c:v>
                </c:pt>
                <c:pt idx="2877">
                  <c:v>8.729000000000001</c:v>
                </c:pt>
                <c:pt idx="2878">
                  <c:v>8.1150000000000002</c:v>
                </c:pt>
                <c:pt idx="2879">
                  <c:v>7.3760000000000003</c:v>
                </c:pt>
                <c:pt idx="2880">
                  <c:v>6.6769999999999996</c:v>
                </c:pt>
                <c:pt idx="2881">
                  <c:v>7.0409999999999995</c:v>
                </c:pt>
                <c:pt idx="2882">
                  <c:v>7</c:v>
                </c:pt>
                <c:pt idx="2883">
                  <c:v>7</c:v>
                </c:pt>
                <c:pt idx="2884">
                  <c:v>7.8769999999999998</c:v>
                </c:pt>
                <c:pt idx="2885">
                  <c:v>9.495000000000001</c:v>
                </c:pt>
                <c:pt idx="2886">
                  <c:v>10.195</c:v>
                </c:pt>
                <c:pt idx="2887">
                  <c:v>8.8460000000000001</c:v>
                </c:pt>
                <c:pt idx="2888">
                  <c:v>7.7</c:v>
                </c:pt>
                <c:pt idx="2889">
                  <c:v>6.2060000000000004</c:v>
                </c:pt>
                <c:pt idx="2890">
                  <c:v>4.71</c:v>
                </c:pt>
                <c:pt idx="2891">
                  <c:v>2.8050000000000002</c:v>
                </c:pt>
                <c:pt idx="2892">
                  <c:v>1.1300000000000001</c:v>
                </c:pt>
                <c:pt idx="2893">
                  <c:v>1</c:v>
                </c:pt>
                <c:pt idx="2894">
                  <c:v>1.9140000000000001</c:v>
                </c:pt>
                <c:pt idx="2895">
                  <c:v>4.5840000000000005</c:v>
                </c:pt>
                <c:pt idx="2896">
                  <c:v>6.6950000000000003</c:v>
                </c:pt>
                <c:pt idx="2897">
                  <c:v>8.620000000000001</c:v>
                </c:pt>
                <c:pt idx="2898">
                  <c:v>12.201000000000001</c:v>
                </c:pt>
                <c:pt idx="2899">
                  <c:v>13.241</c:v>
                </c:pt>
                <c:pt idx="2900">
                  <c:v>8.8369999999999997</c:v>
                </c:pt>
                <c:pt idx="2901">
                  <c:v>7.7969999999999997</c:v>
                </c:pt>
                <c:pt idx="2902">
                  <c:v>7.569</c:v>
                </c:pt>
                <c:pt idx="2903">
                  <c:v>6.681</c:v>
                </c:pt>
                <c:pt idx="2904">
                  <c:v>5.5090000000000003</c:v>
                </c:pt>
                <c:pt idx="2905">
                  <c:v>5.0310000000000006</c:v>
                </c:pt>
                <c:pt idx="2906">
                  <c:v>4.399</c:v>
                </c:pt>
                <c:pt idx="2907">
                  <c:v>4.7810000000000006</c:v>
                </c:pt>
                <c:pt idx="2908">
                  <c:v>4.4689999999999994</c:v>
                </c:pt>
                <c:pt idx="2909">
                  <c:v>4.2479999999999993</c:v>
                </c:pt>
                <c:pt idx="2910">
                  <c:v>2.8079999999999998</c:v>
                </c:pt>
                <c:pt idx="2911">
                  <c:v>0.84499999999999997</c:v>
                </c:pt>
                <c:pt idx="2912">
                  <c:v>1E-3</c:v>
                </c:pt>
                <c:pt idx="2913">
                  <c:v>-9.7000000000000003E-2</c:v>
                </c:pt>
                <c:pt idx="2914">
                  <c:v>-4.0049999999999999</c:v>
                </c:pt>
                <c:pt idx="2915">
                  <c:v>-9.1900000000000013</c:v>
                </c:pt>
                <c:pt idx="2916">
                  <c:v>-12</c:v>
                </c:pt>
                <c:pt idx="2917">
                  <c:v>-12.007</c:v>
                </c:pt>
                <c:pt idx="2918">
                  <c:v>-7.9980000000000002</c:v>
                </c:pt>
                <c:pt idx="2919">
                  <c:v>-3.0010000000000003</c:v>
                </c:pt>
                <c:pt idx="2920">
                  <c:v>-0.11399999999999999</c:v>
                </c:pt>
                <c:pt idx="2921">
                  <c:v>1.532</c:v>
                </c:pt>
                <c:pt idx="2922">
                  <c:v>5.04</c:v>
                </c:pt>
                <c:pt idx="2923">
                  <c:v>5</c:v>
                </c:pt>
                <c:pt idx="2924">
                  <c:v>3.4009999999999998</c:v>
                </c:pt>
                <c:pt idx="2925">
                  <c:v>2.992</c:v>
                </c:pt>
                <c:pt idx="2926">
                  <c:v>2.2000000000000002</c:v>
                </c:pt>
                <c:pt idx="2927">
                  <c:v>1.456</c:v>
                </c:pt>
                <c:pt idx="2928">
                  <c:v>1.0939999999999999</c:v>
                </c:pt>
                <c:pt idx="2929">
                  <c:v>1</c:v>
                </c:pt>
                <c:pt idx="2930">
                  <c:v>0.78</c:v>
                </c:pt>
                <c:pt idx="2931">
                  <c:v>1.0630000000000002</c:v>
                </c:pt>
                <c:pt idx="2932">
                  <c:v>3.2060000000000004</c:v>
                </c:pt>
                <c:pt idx="2933">
                  <c:v>7.2720000000000002</c:v>
                </c:pt>
                <c:pt idx="2934">
                  <c:v>7.8280000000000003</c:v>
                </c:pt>
                <c:pt idx="2935">
                  <c:v>6.29</c:v>
                </c:pt>
                <c:pt idx="2936">
                  <c:v>3.145</c:v>
                </c:pt>
                <c:pt idx="2937">
                  <c:v>0.51</c:v>
                </c:pt>
                <c:pt idx="2938">
                  <c:v>-8.0000000000000002E-3</c:v>
                </c:pt>
                <c:pt idx="2939">
                  <c:v>-0.17299999999999999</c:v>
                </c:pt>
                <c:pt idx="2940">
                  <c:v>-0.41900000000000004</c:v>
                </c:pt>
                <c:pt idx="2941">
                  <c:v>-5.0000000000000001E-3</c:v>
                </c:pt>
                <c:pt idx="2942">
                  <c:v>-0.13899999999999998</c:v>
                </c:pt>
                <c:pt idx="2943">
                  <c:v>0.40400000000000003</c:v>
                </c:pt>
                <c:pt idx="2944">
                  <c:v>5.516</c:v>
                </c:pt>
                <c:pt idx="2945">
                  <c:v>8.1219999999999999</c:v>
                </c:pt>
                <c:pt idx="2946">
                  <c:v>8.7959999999999994</c:v>
                </c:pt>
                <c:pt idx="2947">
                  <c:v>8.5139999999999993</c:v>
                </c:pt>
                <c:pt idx="2948">
                  <c:v>8.2309999999999999</c:v>
                </c:pt>
                <c:pt idx="2949">
                  <c:v>7.8209999999999997</c:v>
                </c:pt>
                <c:pt idx="2950">
                  <c:v>7.1019999999999994</c:v>
                </c:pt>
                <c:pt idx="2951">
                  <c:v>6.1899999999999995</c:v>
                </c:pt>
                <c:pt idx="2952">
                  <c:v>5.9139999999999997</c:v>
                </c:pt>
                <c:pt idx="2953">
                  <c:v>5.7949999999999999</c:v>
                </c:pt>
                <c:pt idx="2954">
                  <c:v>5.85</c:v>
                </c:pt>
                <c:pt idx="2955">
                  <c:v>5.9139999999999997</c:v>
                </c:pt>
                <c:pt idx="2956">
                  <c:v>6.9169999999999998</c:v>
                </c:pt>
                <c:pt idx="2957">
                  <c:v>8.3760000000000012</c:v>
                </c:pt>
                <c:pt idx="2958">
                  <c:v>8.5470000000000006</c:v>
                </c:pt>
                <c:pt idx="2959">
                  <c:v>9.2309999999999999</c:v>
                </c:pt>
                <c:pt idx="2960">
                  <c:v>8.8249999999999993</c:v>
                </c:pt>
                <c:pt idx="2961">
                  <c:v>7.7949999999999999</c:v>
                </c:pt>
                <c:pt idx="2962">
                  <c:v>7.258</c:v>
                </c:pt>
                <c:pt idx="2963">
                  <c:v>6.4109999999999996</c:v>
                </c:pt>
                <c:pt idx="2964">
                  <c:v>5.9329999999999998</c:v>
                </c:pt>
                <c:pt idx="2965">
                  <c:v>6.0049999999999999</c:v>
                </c:pt>
                <c:pt idx="2966">
                  <c:v>6.4689999999999994</c:v>
                </c:pt>
                <c:pt idx="2967">
                  <c:v>7.229000000000001</c:v>
                </c:pt>
                <c:pt idx="2968">
                  <c:v>7.9550000000000001</c:v>
                </c:pt>
                <c:pt idx="2969">
                  <c:v>8.8889999999999993</c:v>
                </c:pt>
                <c:pt idx="2970">
                  <c:v>10.548999999999999</c:v>
                </c:pt>
                <c:pt idx="2971">
                  <c:v>11.994</c:v>
                </c:pt>
                <c:pt idx="2972">
                  <c:v>10.795</c:v>
                </c:pt>
                <c:pt idx="2973">
                  <c:v>9.3460000000000001</c:v>
                </c:pt>
                <c:pt idx="2974">
                  <c:v>8.5560000000000009</c:v>
                </c:pt>
                <c:pt idx="2975">
                  <c:v>9.08</c:v>
                </c:pt>
                <c:pt idx="2976">
                  <c:v>8.7789999999999999</c:v>
                </c:pt>
                <c:pt idx="2977">
                  <c:v>8.6260000000000012</c:v>
                </c:pt>
                <c:pt idx="2978">
                  <c:v>8.7720000000000002</c:v>
                </c:pt>
                <c:pt idx="2979">
                  <c:v>9.0640000000000001</c:v>
                </c:pt>
                <c:pt idx="2980">
                  <c:v>9.8339999999999996</c:v>
                </c:pt>
                <c:pt idx="2981">
                  <c:v>9.4190000000000005</c:v>
                </c:pt>
                <c:pt idx="2982">
                  <c:v>9.0019999999999989</c:v>
                </c:pt>
                <c:pt idx="2983">
                  <c:v>7.8480000000000008</c:v>
                </c:pt>
                <c:pt idx="2984">
                  <c:v>6.2380000000000004</c:v>
                </c:pt>
                <c:pt idx="2985">
                  <c:v>4.117</c:v>
                </c:pt>
                <c:pt idx="2986">
                  <c:v>3.1179999999999999</c:v>
                </c:pt>
                <c:pt idx="2987">
                  <c:v>2.4929999999999999</c:v>
                </c:pt>
                <c:pt idx="2988">
                  <c:v>1.4529999999999998</c:v>
                </c:pt>
                <c:pt idx="2989">
                  <c:v>1.3340000000000001</c:v>
                </c:pt>
                <c:pt idx="2990">
                  <c:v>2.6030000000000002</c:v>
                </c:pt>
                <c:pt idx="2991">
                  <c:v>6.3620000000000001</c:v>
                </c:pt>
                <c:pt idx="2992">
                  <c:v>7.9359999999999999</c:v>
                </c:pt>
                <c:pt idx="2993">
                  <c:v>9.8010000000000002</c:v>
                </c:pt>
                <c:pt idx="2994">
                  <c:v>12.192</c:v>
                </c:pt>
                <c:pt idx="2995">
                  <c:v>13.540000000000001</c:v>
                </c:pt>
                <c:pt idx="2996">
                  <c:v>11.356</c:v>
                </c:pt>
                <c:pt idx="2997">
                  <c:v>9.0259999999999998</c:v>
                </c:pt>
                <c:pt idx="2998">
                  <c:v>8.36</c:v>
                </c:pt>
                <c:pt idx="2999">
                  <c:v>9.0579999999999998</c:v>
                </c:pt>
                <c:pt idx="3000">
                  <c:v>8.4819999999999993</c:v>
                </c:pt>
                <c:pt idx="3001">
                  <c:v>8.3520000000000003</c:v>
                </c:pt>
                <c:pt idx="3002">
                  <c:v>8.0489999999999995</c:v>
                </c:pt>
                <c:pt idx="3003">
                  <c:v>7.4739999999999993</c:v>
                </c:pt>
                <c:pt idx="3004">
                  <c:v>7.1129999999999995</c:v>
                </c:pt>
                <c:pt idx="3005">
                  <c:v>6.2159999999999993</c:v>
                </c:pt>
                <c:pt idx="3006">
                  <c:v>5.508</c:v>
                </c:pt>
                <c:pt idx="3007">
                  <c:v>4.133</c:v>
                </c:pt>
                <c:pt idx="3008">
                  <c:v>2.6120000000000001</c:v>
                </c:pt>
                <c:pt idx="3009">
                  <c:v>0.88500000000000001</c:v>
                </c:pt>
                <c:pt idx="3010">
                  <c:v>4.3999999999999997E-2</c:v>
                </c:pt>
                <c:pt idx="3011">
                  <c:v>0</c:v>
                </c:pt>
                <c:pt idx="3012">
                  <c:v>-4.0000000000000001E-3</c:v>
                </c:pt>
                <c:pt idx="3013">
                  <c:v>-9.7000000000000003E-2</c:v>
                </c:pt>
                <c:pt idx="3014">
                  <c:v>-0.01</c:v>
                </c:pt>
                <c:pt idx="3015">
                  <c:v>0</c:v>
                </c:pt>
                <c:pt idx="3016">
                  <c:v>3.2</c:v>
                </c:pt>
                <c:pt idx="3017">
                  <c:v>8.65</c:v>
                </c:pt>
                <c:pt idx="3018">
                  <c:v>9.6239999999999988</c:v>
                </c:pt>
                <c:pt idx="3019">
                  <c:v>11.192</c:v>
                </c:pt>
                <c:pt idx="3020">
                  <c:v>10.753</c:v>
                </c:pt>
                <c:pt idx="3021">
                  <c:v>9.8739999999999988</c:v>
                </c:pt>
                <c:pt idx="3022">
                  <c:v>8.8670000000000009</c:v>
                </c:pt>
                <c:pt idx="3023">
                  <c:v>8.2859999999999996</c:v>
                </c:pt>
                <c:pt idx="3024">
                  <c:v>7.9590000000000005</c:v>
                </c:pt>
                <c:pt idx="3025">
                  <c:v>8.0410000000000004</c:v>
                </c:pt>
                <c:pt idx="3026">
                  <c:v>7.9950000000000001</c:v>
                </c:pt>
                <c:pt idx="3027">
                  <c:v>8.1690000000000005</c:v>
                </c:pt>
                <c:pt idx="3028">
                  <c:v>8.8780000000000001</c:v>
                </c:pt>
                <c:pt idx="3029">
                  <c:v>10.709</c:v>
                </c:pt>
                <c:pt idx="3030">
                  <c:v>13.026</c:v>
                </c:pt>
                <c:pt idx="3031">
                  <c:v>10.135</c:v>
                </c:pt>
                <c:pt idx="3032">
                  <c:v>8.9</c:v>
                </c:pt>
                <c:pt idx="3033">
                  <c:v>8.1110000000000007</c:v>
                </c:pt>
                <c:pt idx="3034">
                  <c:v>7.6230000000000002</c:v>
                </c:pt>
                <c:pt idx="3035">
                  <c:v>7.6260000000000003</c:v>
                </c:pt>
                <c:pt idx="3036">
                  <c:v>7.4709999999999992</c:v>
                </c:pt>
                <c:pt idx="3037">
                  <c:v>7.4889999999999999</c:v>
                </c:pt>
                <c:pt idx="3038">
                  <c:v>8.1110000000000007</c:v>
                </c:pt>
                <c:pt idx="3039">
                  <c:v>8.1620000000000008</c:v>
                </c:pt>
                <c:pt idx="3040">
                  <c:v>9.3360000000000003</c:v>
                </c:pt>
                <c:pt idx="3041">
                  <c:v>10.837</c:v>
                </c:pt>
                <c:pt idx="3042">
                  <c:v>13.665000000000001</c:v>
                </c:pt>
                <c:pt idx="3043">
                  <c:v>14.399000000000001</c:v>
                </c:pt>
                <c:pt idx="3044">
                  <c:v>10.798</c:v>
                </c:pt>
                <c:pt idx="3045">
                  <c:v>9.4580000000000002</c:v>
                </c:pt>
                <c:pt idx="3046">
                  <c:v>8.4420000000000002</c:v>
                </c:pt>
                <c:pt idx="3047">
                  <c:v>8.173</c:v>
                </c:pt>
                <c:pt idx="3048">
                  <c:v>7.9169999999999998</c:v>
                </c:pt>
                <c:pt idx="3049">
                  <c:v>7.7230000000000008</c:v>
                </c:pt>
                <c:pt idx="3050">
                  <c:v>7.9989999999999997</c:v>
                </c:pt>
                <c:pt idx="3051">
                  <c:v>8.0079999999999991</c:v>
                </c:pt>
                <c:pt idx="3052">
                  <c:v>8.2059999999999995</c:v>
                </c:pt>
                <c:pt idx="3053">
                  <c:v>9.8840000000000003</c:v>
                </c:pt>
                <c:pt idx="3054">
                  <c:v>12.17</c:v>
                </c:pt>
                <c:pt idx="3055">
                  <c:v>11.266</c:v>
                </c:pt>
                <c:pt idx="3056">
                  <c:v>9.1750000000000007</c:v>
                </c:pt>
                <c:pt idx="3057">
                  <c:v>8.520999999999999</c:v>
                </c:pt>
                <c:pt idx="3058">
                  <c:v>8.1080000000000005</c:v>
                </c:pt>
                <c:pt idx="3059">
                  <c:v>7.4730000000000008</c:v>
                </c:pt>
                <c:pt idx="3060">
                  <c:v>7.043000000000001</c:v>
                </c:pt>
                <c:pt idx="3061">
                  <c:v>6.5529999999999999</c:v>
                </c:pt>
                <c:pt idx="3062">
                  <c:v>7.4049999999999994</c:v>
                </c:pt>
                <c:pt idx="3063">
                  <c:v>8.3120000000000012</c:v>
                </c:pt>
                <c:pt idx="3064">
                  <c:v>9.081999999999999</c:v>
                </c:pt>
                <c:pt idx="3065">
                  <c:v>10.586</c:v>
                </c:pt>
                <c:pt idx="3066">
                  <c:v>13.385</c:v>
                </c:pt>
                <c:pt idx="3067">
                  <c:v>15.105</c:v>
                </c:pt>
                <c:pt idx="3068">
                  <c:v>12.204000000000001</c:v>
                </c:pt>
                <c:pt idx="3069">
                  <c:v>10.17</c:v>
                </c:pt>
                <c:pt idx="3070">
                  <c:v>8.8219999999999992</c:v>
                </c:pt>
                <c:pt idx="3071">
                  <c:v>8.3970000000000002</c:v>
                </c:pt>
                <c:pt idx="3072">
                  <c:v>8.0839999999999996</c:v>
                </c:pt>
                <c:pt idx="3073">
                  <c:v>8.0879999999999992</c:v>
                </c:pt>
                <c:pt idx="3074">
                  <c:v>8.2469999999999999</c:v>
                </c:pt>
                <c:pt idx="3075">
                  <c:v>8.2480000000000011</c:v>
                </c:pt>
                <c:pt idx="3076">
                  <c:v>8.9589999999999996</c:v>
                </c:pt>
                <c:pt idx="3077">
                  <c:v>10.748000000000001</c:v>
                </c:pt>
                <c:pt idx="3078">
                  <c:v>11.895999999999999</c:v>
                </c:pt>
                <c:pt idx="3079">
                  <c:v>11.012</c:v>
                </c:pt>
                <c:pt idx="3080">
                  <c:v>9.2409999999999997</c:v>
                </c:pt>
                <c:pt idx="3081">
                  <c:v>8.5400000000000009</c:v>
                </c:pt>
                <c:pt idx="3082">
                  <c:v>7.9480000000000004</c:v>
                </c:pt>
                <c:pt idx="3083">
                  <c:v>7.293000000000001</c:v>
                </c:pt>
                <c:pt idx="3084">
                  <c:v>6.8790000000000004</c:v>
                </c:pt>
                <c:pt idx="3085">
                  <c:v>6.6579999999999995</c:v>
                </c:pt>
                <c:pt idx="3086">
                  <c:v>6.6950000000000003</c:v>
                </c:pt>
                <c:pt idx="3087">
                  <c:v>7.5720000000000001</c:v>
                </c:pt>
                <c:pt idx="3088">
                  <c:v>9.11</c:v>
                </c:pt>
                <c:pt idx="3089">
                  <c:v>10.65</c:v>
                </c:pt>
                <c:pt idx="3090">
                  <c:v>12.754000000000001</c:v>
                </c:pt>
                <c:pt idx="3091">
                  <c:v>13.441999999999998</c:v>
                </c:pt>
                <c:pt idx="3092">
                  <c:v>11.465</c:v>
                </c:pt>
                <c:pt idx="3093">
                  <c:v>9.6539999999999999</c:v>
                </c:pt>
                <c:pt idx="3094">
                  <c:v>8.7959999999999994</c:v>
                </c:pt>
                <c:pt idx="3095">
                  <c:v>8.76</c:v>
                </c:pt>
                <c:pt idx="3096">
                  <c:v>8.8060000000000009</c:v>
                </c:pt>
                <c:pt idx="3097">
                  <c:v>8.2970000000000006</c:v>
                </c:pt>
                <c:pt idx="3098">
                  <c:v>8.2949999999999999</c:v>
                </c:pt>
                <c:pt idx="3099">
                  <c:v>8.8829999999999991</c:v>
                </c:pt>
                <c:pt idx="3100">
                  <c:v>9.0389999999999997</c:v>
                </c:pt>
                <c:pt idx="3101">
                  <c:v>8.8129999999999988</c:v>
                </c:pt>
                <c:pt idx="3102">
                  <c:v>8.0650000000000013</c:v>
                </c:pt>
                <c:pt idx="3103">
                  <c:v>6.5529999999999999</c:v>
                </c:pt>
                <c:pt idx="3104">
                  <c:v>2.3340000000000001</c:v>
                </c:pt>
                <c:pt idx="3105">
                  <c:v>0.50700000000000001</c:v>
                </c:pt>
                <c:pt idx="3106">
                  <c:v>-5.2000000000000005E-2</c:v>
                </c:pt>
                <c:pt idx="3107">
                  <c:v>-8.7999999999999995E-2</c:v>
                </c:pt>
                <c:pt idx="3108">
                  <c:v>-0.13500000000000001</c:v>
                </c:pt>
                <c:pt idx="3109">
                  <c:v>-0.20299999999999999</c:v>
                </c:pt>
                <c:pt idx="3110">
                  <c:v>-9.2999999999999999E-2</c:v>
                </c:pt>
                <c:pt idx="3111">
                  <c:v>6.8000000000000005E-2</c:v>
                </c:pt>
                <c:pt idx="3112">
                  <c:v>6.4480000000000004</c:v>
                </c:pt>
                <c:pt idx="3113">
                  <c:v>8.9719999999999995</c:v>
                </c:pt>
                <c:pt idx="3114">
                  <c:v>10.785</c:v>
                </c:pt>
                <c:pt idx="3115">
                  <c:v>13.279</c:v>
                </c:pt>
                <c:pt idx="3116">
                  <c:v>12.367000000000001</c:v>
                </c:pt>
                <c:pt idx="3117">
                  <c:v>9.9939999999999998</c:v>
                </c:pt>
                <c:pt idx="3118">
                  <c:v>8.7750000000000004</c:v>
                </c:pt>
                <c:pt idx="3119">
                  <c:v>9.2129999999999992</c:v>
                </c:pt>
                <c:pt idx="3120">
                  <c:v>8.4930000000000003</c:v>
                </c:pt>
                <c:pt idx="3121">
                  <c:v>7.706999999999999</c:v>
                </c:pt>
                <c:pt idx="3122">
                  <c:v>7.4480000000000004</c:v>
                </c:pt>
                <c:pt idx="3123">
                  <c:v>7.4779999999999998</c:v>
                </c:pt>
                <c:pt idx="3124">
                  <c:v>9.0449999999999999</c:v>
                </c:pt>
                <c:pt idx="3125">
                  <c:v>11.52</c:v>
                </c:pt>
                <c:pt idx="3126">
                  <c:v>10.946999999999999</c:v>
                </c:pt>
                <c:pt idx="3127">
                  <c:v>9.5599999999999987</c:v>
                </c:pt>
                <c:pt idx="3128">
                  <c:v>6.7389999999999999</c:v>
                </c:pt>
                <c:pt idx="3129">
                  <c:v>2.0840000000000001</c:v>
                </c:pt>
                <c:pt idx="3130">
                  <c:v>0.28700000000000003</c:v>
                </c:pt>
                <c:pt idx="3131">
                  <c:v>5.2000000000000005E-2</c:v>
                </c:pt>
                <c:pt idx="3132">
                  <c:v>2E-3</c:v>
                </c:pt>
                <c:pt idx="3133">
                  <c:v>2E-3</c:v>
                </c:pt>
                <c:pt idx="3134">
                  <c:v>2.0420000000000003</c:v>
                </c:pt>
                <c:pt idx="3135">
                  <c:v>6.5459999999999994</c:v>
                </c:pt>
                <c:pt idx="3136">
                  <c:v>8.5879999999999992</c:v>
                </c:pt>
                <c:pt idx="3137">
                  <c:v>10.590999999999999</c:v>
                </c:pt>
                <c:pt idx="3138">
                  <c:v>13.625999999999999</c:v>
                </c:pt>
                <c:pt idx="3139">
                  <c:v>17.071999999999999</c:v>
                </c:pt>
                <c:pt idx="3140">
                  <c:v>13.631</c:v>
                </c:pt>
                <c:pt idx="3141">
                  <c:v>10.487</c:v>
                </c:pt>
                <c:pt idx="3142">
                  <c:v>9.2159999999999993</c:v>
                </c:pt>
                <c:pt idx="3143">
                  <c:v>9.6760000000000002</c:v>
                </c:pt>
                <c:pt idx="3144">
                  <c:v>9.418000000000001</c:v>
                </c:pt>
                <c:pt idx="3145">
                  <c:v>9.0030000000000001</c:v>
                </c:pt>
                <c:pt idx="3146">
                  <c:v>8.9090000000000007</c:v>
                </c:pt>
                <c:pt idx="3147">
                  <c:v>8.9909999999999997</c:v>
                </c:pt>
                <c:pt idx="3148">
                  <c:v>9.07</c:v>
                </c:pt>
                <c:pt idx="3149">
                  <c:v>8.6720000000000006</c:v>
                </c:pt>
                <c:pt idx="3150">
                  <c:v>7.984</c:v>
                </c:pt>
                <c:pt idx="3151">
                  <c:v>5.6470000000000002</c:v>
                </c:pt>
                <c:pt idx="3152">
                  <c:v>0.67999999999999994</c:v>
                </c:pt>
                <c:pt idx="3153">
                  <c:v>0</c:v>
                </c:pt>
                <c:pt idx="3154">
                  <c:v>-1.0470000000000002</c:v>
                </c:pt>
                <c:pt idx="3155">
                  <c:v>-2.121</c:v>
                </c:pt>
                <c:pt idx="3156">
                  <c:v>-2.1989999999999998</c:v>
                </c:pt>
                <c:pt idx="3157">
                  <c:v>-2.423</c:v>
                </c:pt>
                <c:pt idx="3158">
                  <c:v>-1.1460000000000001</c:v>
                </c:pt>
                <c:pt idx="3159">
                  <c:v>-4.0999999999999995E-2</c:v>
                </c:pt>
                <c:pt idx="3160">
                  <c:v>3.2770000000000001</c:v>
                </c:pt>
                <c:pt idx="3161">
                  <c:v>8.1829999999999998</c:v>
                </c:pt>
                <c:pt idx="3162">
                  <c:v>10.168000000000001</c:v>
                </c:pt>
                <c:pt idx="3163">
                  <c:v>12.25</c:v>
                </c:pt>
                <c:pt idx="3164">
                  <c:v>10.348000000000001</c:v>
                </c:pt>
                <c:pt idx="3165">
                  <c:v>8.6260000000000012</c:v>
                </c:pt>
                <c:pt idx="3166">
                  <c:v>6.8370000000000006</c:v>
                </c:pt>
                <c:pt idx="3167">
                  <c:v>6.5489999999999995</c:v>
                </c:pt>
                <c:pt idx="3168">
                  <c:v>5.45</c:v>
                </c:pt>
                <c:pt idx="3169">
                  <c:v>4.452</c:v>
                </c:pt>
                <c:pt idx="3170">
                  <c:v>4.1219999999999999</c:v>
                </c:pt>
                <c:pt idx="3171">
                  <c:v>4.633</c:v>
                </c:pt>
                <c:pt idx="3172">
                  <c:v>4.3499999999999996</c:v>
                </c:pt>
                <c:pt idx="3173">
                  <c:v>1.7609999999999999</c:v>
                </c:pt>
                <c:pt idx="3174">
                  <c:v>0.47899999999999998</c:v>
                </c:pt>
                <c:pt idx="3175">
                  <c:v>0.23500000000000001</c:v>
                </c:pt>
                <c:pt idx="3176">
                  <c:v>-0.27999999999999997</c:v>
                </c:pt>
                <c:pt idx="3177">
                  <c:v>-2.5</c:v>
                </c:pt>
                <c:pt idx="3178">
                  <c:v>-6.9640000000000004</c:v>
                </c:pt>
                <c:pt idx="3179">
                  <c:v>-10.006</c:v>
                </c:pt>
                <c:pt idx="3180">
                  <c:v>-13.544999999999998</c:v>
                </c:pt>
                <c:pt idx="3181">
                  <c:v>-13.285</c:v>
                </c:pt>
                <c:pt idx="3182">
                  <c:v>-8.5079999999999991</c:v>
                </c:pt>
                <c:pt idx="3183">
                  <c:v>-3</c:v>
                </c:pt>
                <c:pt idx="3184">
                  <c:v>-0.13300000000000001</c:v>
                </c:pt>
                <c:pt idx="3185">
                  <c:v>2.25</c:v>
                </c:pt>
                <c:pt idx="3186">
                  <c:v>6.7939999999999996</c:v>
                </c:pt>
                <c:pt idx="3187">
                  <c:v>7.5739999999999998</c:v>
                </c:pt>
                <c:pt idx="3188">
                  <c:v>5.8259999999999996</c:v>
                </c:pt>
                <c:pt idx="3189">
                  <c:v>4.46</c:v>
                </c:pt>
                <c:pt idx="3190">
                  <c:v>3.5609999999999999</c:v>
                </c:pt>
                <c:pt idx="3191">
                  <c:v>2.6840000000000002</c:v>
                </c:pt>
                <c:pt idx="3192">
                  <c:v>2.5880000000000001</c:v>
                </c:pt>
                <c:pt idx="3193">
                  <c:v>2.5710000000000002</c:v>
                </c:pt>
                <c:pt idx="3194">
                  <c:v>2.4699999999999998</c:v>
                </c:pt>
                <c:pt idx="3195">
                  <c:v>2.7</c:v>
                </c:pt>
                <c:pt idx="3196">
                  <c:v>3.968</c:v>
                </c:pt>
                <c:pt idx="3197">
                  <c:v>7.9969999999999999</c:v>
                </c:pt>
                <c:pt idx="3198">
                  <c:v>10.66</c:v>
                </c:pt>
                <c:pt idx="3199">
                  <c:v>7.8469999999999995</c:v>
                </c:pt>
                <c:pt idx="3200">
                  <c:v>4.351</c:v>
                </c:pt>
                <c:pt idx="3201">
                  <c:v>1.038</c:v>
                </c:pt>
                <c:pt idx="3202">
                  <c:v>-9.7000000000000003E-2</c:v>
                </c:pt>
                <c:pt idx="3203">
                  <c:v>-0.26900000000000002</c:v>
                </c:pt>
                <c:pt idx="3204">
                  <c:v>-0.22700000000000001</c:v>
                </c:pt>
                <c:pt idx="3205">
                  <c:v>-0.246</c:v>
                </c:pt>
                <c:pt idx="3206">
                  <c:v>-7.2999999999999995E-2</c:v>
                </c:pt>
                <c:pt idx="3207">
                  <c:v>7.000000000000001E-3</c:v>
                </c:pt>
                <c:pt idx="3208">
                  <c:v>5.5009999999999994</c:v>
                </c:pt>
                <c:pt idx="3209">
                  <c:v>8.3120000000000012</c:v>
                </c:pt>
                <c:pt idx="3210">
                  <c:v>14.618</c:v>
                </c:pt>
                <c:pt idx="3211">
                  <c:v>13.9</c:v>
                </c:pt>
                <c:pt idx="3212">
                  <c:v>8.870000000000001</c:v>
                </c:pt>
                <c:pt idx="3213">
                  <c:v>6.9550000000000001</c:v>
                </c:pt>
                <c:pt idx="3214">
                  <c:v>5.2700000000000005</c:v>
                </c:pt>
                <c:pt idx="3215">
                  <c:v>4.8579999999999997</c:v>
                </c:pt>
                <c:pt idx="3216">
                  <c:v>4.343</c:v>
                </c:pt>
                <c:pt idx="3217">
                  <c:v>3.5350000000000001</c:v>
                </c:pt>
                <c:pt idx="3218">
                  <c:v>3.4079999999999999</c:v>
                </c:pt>
                <c:pt idx="3219">
                  <c:v>2.8890000000000002</c:v>
                </c:pt>
                <c:pt idx="3220">
                  <c:v>5.2350000000000003</c:v>
                </c:pt>
                <c:pt idx="3221">
                  <c:v>7.1879999999999997</c:v>
                </c:pt>
                <c:pt idx="3222">
                  <c:v>7.7329999999999997</c:v>
                </c:pt>
                <c:pt idx="3223">
                  <c:v>5.15</c:v>
                </c:pt>
                <c:pt idx="3224">
                  <c:v>0.56399999999999995</c:v>
                </c:pt>
                <c:pt idx="3225">
                  <c:v>-0.23300000000000001</c:v>
                </c:pt>
                <c:pt idx="3226">
                  <c:v>-1.1119999999999999</c:v>
                </c:pt>
                <c:pt idx="3227">
                  <c:v>-3.633</c:v>
                </c:pt>
                <c:pt idx="3228">
                  <c:v>-4.2949999999999999</c:v>
                </c:pt>
                <c:pt idx="3229">
                  <c:v>-3.9659999999999997</c:v>
                </c:pt>
                <c:pt idx="3230">
                  <c:v>-1.986</c:v>
                </c:pt>
                <c:pt idx="3231">
                  <c:v>-0.29300000000000004</c:v>
                </c:pt>
                <c:pt idx="3232">
                  <c:v>-4.0000000000000001E-3</c:v>
                </c:pt>
                <c:pt idx="3233">
                  <c:v>4.3740000000000006</c:v>
                </c:pt>
                <c:pt idx="3234">
                  <c:v>8.39</c:v>
                </c:pt>
                <c:pt idx="3235">
                  <c:v>9.3469999999999995</c:v>
                </c:pt>
                <c:pt idx="3236">
                  <c:v>7.641</c:v>
                </c:pt>
                <c:pt idx="3237">
                  <c:v>4.5350000000000001</c:v>
                </c:pt>
                <c:pt idx="3238">
                  <c:v>2.7709999999999999</c:v>
                </c:pt>
                <c:pt idx="3239">
                  <c:v>3.056</c:v>
                </c:pt>
                <c:pt idx="3240">
                  <c:v>3.2340000000000004</c:v>
                </c:pt>
                <c:pt idx="3241">
                  <c:v>3.9380000000000002</c:v>
                </c:pt>
                <c:pt idx="3242">
                  <c:v>4.18</c:v>
                </c:pt>
                <c:pt idx="3243">
                  <c:v>3.7960000000000003</c:v>
                </c:pt>
                <c:pt idx="3244">
                  <c:v>5.2869999999999999</c:v>
                </c:pt>
                <c:pt idx="3245">
                  <c:v>8.5010000000000012</c:v>
                </c:pt>
                <c:pt idx="3246">
                  <c:v>8.8159999999999989</c:v>
                </c:pt>
                <c:pt idx="3247">
                  <c:v>8.4450000000000003</c:v>
                </c:pt>
                <c:pt idx="3248">
                  <c:v>4.8420000000000005</c:v>
                </c:pt>
                <c:pt idx="3249">
                  <c:v>0.73599999999999999</c:v>
                </c:pt>
                <c:pt idx="3250">
                  <c:v>-8.0000000000000002E-3</c:v>
                </c:pt>
                <c:pt idx="3251">
                  <c:v>-0.99499999999999988</c:v>
                </c:pt>
                <c:pt idx="3252">
                  <c:v>-1.1179999999999999</c:v>
                </c:pt>
                <c:pt idx="3253">
                  <c:v>-0.99099999999999999</c:v>
                </c:pt>
                <c:pt idx="3254">
                  <c:v>-8.9999999999999993E-3</c:v>
                </c:pt>
                <c:pt idx="3255">
                  <c:v>0.17299999999999999</c:v>
                </c:pt>
                <c:pt idx="3256">
                  <c:v>3.0329999999999999</c:v>
                </c:pt>
                <c:pt idx="3257">
                  <c:v>7.3659999999999997</c:v>
                </c:pt>
                <c:pt idx="3258">
                  <c:v>10.123999999999999</c:v>
                </c:pt>
                <c:pt idx="3259">
                  <c:v>11.02</c:v>
                </c:pt>
                <c:pt idx="3260">
                  <c:v>8.379999999999999</c:v>
                </c:pt>
                <c:pt idx="3261">
                  <c:v>6.3639999999999999</c:v>
                </c:pt>
                <c:pt idx="3262">
                  <c:v>4.867</c:v>
                </c:pt>
                <c:pt idx="3263">
                  <c:v>5.1139999999999999</c:v>
                </c:pt>
                <c:pt idx="3264">
                  <c:v>4.7759999999999998</c:v>
                </c:pt>
                <c:pt idx="3265">
                  <c:v>3.9619999999999997</c:v>
                </c:pt>
                <c:pt idx="3266">
                  <c:v>4.9489999999999998</c:v>
                </c:pt>
                <c:pt idx="3267">
                  <c:v>4.444</c:v>
                </c:pt>
                <c:pt idx="3268">
                  <c:v>5.75</c:v>
                </c:pt>
                <c:pt idx="3269">
                  <c:v>8.1349999999999998</c:v>
                </c:pt>
                <c:pt idx="3270">
                  <c:v>9.5809999999999995</c:v>
                </c:pt>
                <c:pt idx="3271">
                  <c:v>8.298</c:v>
                </c:pt>
                <c:pt idx="3272">
                  <c:v>5.3100000000000005</c:v>
                </c:pt>
                <c:pt idx="3273">
                  <c:v>1.1499999999999999</c:v>
                </c:pt>
                <c:pt idx="3274">
                  <c:v>8.0000000000000002E-3</c:v>
                </c:pt>
                <c:pt idx="3275">
                  <c:v>-2E-3</c:v>
                </c:pt>
                <c:pt idx="3276">
                  <c:v>-7.0999999999999994E-2</c:v>
                </c:pt>
                <c:pt idx="3277">
                  <c:v>-1.6E-2</c:v>
                </c:pt>
                <c:pt idx="3278">
                  <c:v>1E-3</c:v>
                </c:pt>
                <c:pt idx="3279">
                  <c:v>1</c:v>
                </c:pt>
                <c:pt idx="3280">
                  <c:v>4.4950000000000001</c:v>
                </c:pt>
                <c:pt idx="3281">
                  <c:v>7.4959999999999996</c:v>
                </c:pt>
                <c:pt idx="3282">
                  <c:v>9.6059999999999999</c:v>
                </c:pt>
                <c:pt idx="3283">
                  <c:v>10.991</c:v>
                </c:pt>
                <c:pt idx="3284">
                  <c:v>8.7889999999999997</c:v>
                </c:pt>
                <c:pt idx="3285">
                  <c:v>8.2569999999999997</c:v>
                </c:pt>
                <c:pt idx="3286">
                  <c:v>6.918000000000001</c:v>
                </c:pt>
                <c:pt idx="3287">
                  <c:v>6.952</c:v>
                </c:pt>
                <c:pt idx="3288">
                  <c:v>6.32</c:v>
                </c:pt>
                <c:pt idx="3289">
                  <c:v>6.3220000000000001</c:v>
                </c:pt>
                <c:pt idx="3290">
                  <c:v>6.2479999999999993</c:v>
                </c:pt>
                <c:pt idx="3291">
                  <c:v>6.4390000000000001</c:v>
                </c:pt>
                <c:pt idx="3292">
                  <c:v>6.3239999999999998</c:v>
                </c:pt>
                <c:pt idx="3293">
                  <c:v>8.3730000000000011</c:v>
                </c:pt>
                <c:pt idx="3294">
                  <c:v>9.9939999999999998</c:v>
                </c:pt>
                <c:pt idx="3295">
                  <c:v>9.4710000000000001</c:v>
                </c:pt>
                <c:pt idx="3296">
                  <c:v>7.3900000000000006</c:v>
                </c:pt>
                <c:pt idx="3297">
                  <c:v>6.4459999999999997</c:v>
                </c:pt>
                <c:pt idx="3298">
                  <c:v>5.7409999999999997</c:v>
                </c:pt>
                <c:pt idx="3299">
                  <c:v>3.8109999999999999</c:v>
                </c:pt>
                <c:pt idx="3300">
                  <c:v>2.8239999999999998</c:v>
                </c:pt>
                <c:pt idx="3301">
                  <c:v>3.16</c:v>
                </c:pt>
                <c:pt idx="3302">
                  <c:v>3.75</c:v>
                </c:pt>
                <c:pt idx="3303">
                  <c:v>5.2090000000000005</c:v>
                </c:pt>
                <c:pt idx="3304">
                  <c:v>7.0540000000000003</c:v>
                </c:pt>
                <c:pt idx="3305">
                  <c:v>6.9879999999999995</c:v>
                </c:pt>
                <c:pt idx="3306">
                  <c:v>9.495000000000001</c:v>
                </c:pt>
                <c:pt idx="3307">
                  <c:v>10.794</c:v>
                </c:pt>
                <c:pt idx="3308">
                  <c:v>9.5220000000000002</c:v>
                </c:pt>
                <c:pt idx="3309">
                  <c:v>8.9390000000000001</c:v>
                </c:pt>
                <c:pt idx="3310">
                  <c:v>8.0650000000000013</c:v>
                </c:pt>
                <c:pt idx="3311">
                  <c:v>6.7549999999999999</c:v>
                </c:pt>
                <c:pt idx="3312">
                  <c:v>6.3609999999999998</c:v>
                </c:pt>
                <c:pt idx="3313">
                  <c:v>6.3819999999999997</c:v>
                </c:pt>
                <c:pt idx="3314">
                  <c:v>6.5180000000000007</c:v>
                </c:pt>
                <c:pt idx="3315">
                  <c:v>6.9010000000000007</c:v>
                </c:pt>
                <c:pt idx="3316">
                  <c:v>7.2510000000000003</c:v>
                </c:pt>
                <c:pt idx="3317">
                  <c:v>7.1859999999999999</c:v>
                </c:pt>
                <c:pt idx="3318">
                  <c:v>7.0389999999999997</c:v>
                </c:pt>
                <c:pt idx="3319">
                  <c:v>6.3860000000000001</c:v>
                </c:pt>
                <c:pt idx="3320">
                  <c:v>4.7359999999999998</c:v>
                </c:pt>
                <c:pt idx="3321">
                  <c:v>0.94299999999999995</c:v>
                </c:pt>
                <c:pt idx="3322">
                  <c:v>7.0999999999999994E-2</c:v>
                </c:pt>
                <c:pt idx="3323">
                  <c:v>-2E-3</c:v>
                </c:pt>
                <c:pt idx="3324">
                  <c:v>-0.13</c:v>
                </c:pt>
                <c:pt idx="3325">
                  <c:v>-0.27900000000000003</c:v>
                </c:pt>
                <c:pt idx="3326">
                  <c:v>-0.192</c:v>
                </c:pt>
                <c:pt idx="3327">
                  <c:v>-4.0000000000000001E-3</c:v>
                </c:pt>
                <c:pt idx="3328">
                  <c:v>5.0659999999999998</c:v>
                </c:pt>
                <c:pt idx="3329">
                  <c:v>8.1909999999999989</c:v>
                </c:pt>
                <c:pt idx="3330">
                  <c:v>10.994</c:v>
                </c:pt>
                <c:pt idx="3331">
                  <c:v>13.166</c:v>
                </c:pt>
                <c:pt idx="3332">
                  <c:v>12.278</c:v>
                </c:pt>
                <c:pt idx="3333">
                  <c:v>9.6519999999999992</c:v>
                </c:pt>
                <c:pt idx="3334">
                  <c:v>8.66</c:v>
                </c:pt>
                <c:pt idx="3335">
                  <c:v>9.0689999999999991</c:v>
                </c:pt>
                <c:pt idx="3336">
                  <c:v>8.9060000000000006</c:v>
                </c:pt>
                <c:pt idx="3337">
                  <c:v>8.8659999999999997</c:v>
                </c:pt>
                <c:pt idx="3338">
                  <c:v>8.6909999999999989</c:v>
                </c:pt>
                <c:pt idx="3339">
                  <c:v>8.6129999999999995</c:v>
                </c:pt>
                <c:pt idx="3340">
                  <c:v>8.0560000000000009</c:v>
                </c:pt>
                <c:pt idx="3341">
                  <c:v>7.5569999999999995</c:v>
                </c:pt>
                <c:pt idx="3342">
                  <c:v>7.0239999999999991</c:v>
                </c:pt>
                <c:pt idx="3343">
                  <c:v>4.6959999999999997</c:v>
                </c:pt>
                <c:pt idx="3344">
                  <c:v>0.55999999999999994</c:v>
                </c:pt>
                <c:pt idx="3345">
                  <c:v>-3.0000000000000001E-3</c:v>
                </c:pt>
                <c:pt idx="3346">
                  <c:v>-1.7999999999999999E-2</c:v>
                </c:pt>
                <c:pt idx="3347">
                  <c:v>-0.20600000000000002</c:v>
                </c:pt>
                <c:pt idx="3348">
                  <c:v>-0.74099999999999999</c:v>
                </c:pt>
                <c:pt idx="3349">
                  <c:v>-1.5130000000000001</c:v>
                </c:pt>
                <c:pt idx="3350">
                  <c:v>-1</c:v>
                </c:pt>
                <c:pt idx="3351">
                  <c:v>-0.379</c:v>
                </c:pt>
                <c:pt idx="3352">
                  <c:v>-6.0000000000000001E-3</c:v>
                </c:pt>
                <c:pt idx="3353">
                  <c:v>6.4169999999999998</c:v>
                </c:pt>
                <c:pt idx="3354">
                  <c:v>8.9589999999999996</c:v>
                </c:pt>
                <c:pt idx="3355">
                  <c:v>11.366</c:v>
                </c:pt>
                <c:pt idx="3356">
                  <c:v>12.286</c:v>
                </c:pt>
                <c:pt idx="3357">
                  <c:v>10.193000000000001</c:v>
                </c:pt>
                <c:pt idx="3358">
                  <c:v>8.6140000000000008</c:v>
                </c:pt>
                <c:pt idx="3359">
                  <c:v>9.109</c:v>
                </c:pt>
                <c:pt idx="3360">
                  <c:v>8.2639999999999993</c:v>
                </c:pt>
                <c:pt idx="3361">
                  <c:v>8.673</c:v>
                </c:pt>
                <c:pt idx="3362">
                  <c:v>8.609</c:v>
                </c:pt>
                <c:pt idx="3363">
                  <c:v>8.8209999999999997</c:v>
                </c:pt>
                <c:pt idx="3364">
                  <c:v>9.145999999999999</c:v>
                </c:pt>
                <c:pt idx="3365">
                  <c:v>10.472</c:v>
                </c:pt>
                <c:pt idx="3366">
                  <c:v>10.568999999999999</c:v>
                </c:pt>
                <c:pt idx="3367">
                  <c:v>7.2239999999999993</c:v>
                </c:pt>
                <c:pt idx="3368">
                  <c:v>3.28</c:v>
                </c:pt>
                <c:pt idx="3369">
                  <c:v>1.2410000000000001</c:v>
                </c:pt>
                <c:pt idx="3370">
                  <c:v>0.60599999999999998</c:v>
                </c:pt>
                <c:pt idx="3371">
                  <c:v>0.24100000000000002</c:v>
                </c:pt>
                <c:pt idx="3372">
                  <c:v>0</c:v>
                </c:pt>
                <c:pt idx="3373">
                  <c:v>-3.3000000000000002E-2</c:v>
                </c:pt>
                <c:pt idx="3374">
                  <c:v>-7.000000000000001E-3</c:v>
                </c:pt>
                <c:pt idx="3375">
                  <c:v>8.8999999999999996E-2</c:v>
                </c:pt>
                <c:pt idx="3376">
                  <c:v>6.4169999999999998</c:v>
                </c:pt>
                <c:pt idx="3377">
                  <c:v>8.5939999999999994</c:v>
                </c:pt>
                <c:pt idx="3378">
                  <c:v>11.363</c:v>
                </c:pt>
                <c:pt idx="3379">
                  <c:v>13.59</c:v>
                </c:pt>
                <c:pt idx="3380">
                  <c:v>12.032999999999999</c:v>
                </c:pt>
                <c:pt idx="3381">
                  <c:v>9.6630000000000003</c:v>
                </c:pt>
                <c:pt idx="3382">
                  <c:v>7.9859999999999998</c:v>
                </c:pt>
                <c:pt idx="3383">
                  <c:v>8.145999999999999</c:v>
                </c:pt>
                <c:pt idx="3384">
                  <c:v>7.6400000000000006</c:v>
                </c:pt>
                <c:pt idx="3385">
                  <c:v>7.6209999999999996</c:v>
                </c:pt>
                <c:pt idx="3386">
                  <c:v>7.7919999999999998</c:v>
                </c:pt>
                <c:pt idx="3387">
                  <c:v>7.4930000000000003</c:v>
                </c:pt>
                <c:pt idx="3388">
                  <c:v>7.9580000000000002</c:v>
                </c:pt>
                <c:pt idx="3389">
                  <c:v>11.226000000000001</c:v>
                </c:pt>
                <c:pt idx="3390">
                  <c:v>12.298</c:v>
                </c:pt>
                <c:pt idx="3391">
                  <c:v>9.7349999999999994</c:v>
                </c:pt>
                <c:pt idx="3392">
                  <c:v>8.1859999999999999</c:v>
                </c:pt>
                <c:pt idx="3393">
                  <c:v>6.6980000000000004</c:v>
                </c:pt>
                <c:pt idx="3394">
                  <c:v>5.4420000000000002</c:v>
                </c:pt>
                <c:pt idx="3395">
                  <c:v>2.847</c:v>
                </c:pt>
                <c:pt idx="3396">
                  <c:v>3.1339999999999999</c:v>
                </c:pt>
                <c:pt idx="3397">
                  <c:v>5.4090000000000007</c:v>
                </c:pt>
                <c:pt idx="3398">
                  <c:v>6.9650000000000007</c:v>
                </c:pt>
                <c:pt idx="3399">
                  <c:v>7.9610000000000003</c:v>
                </c:pt>
                <c:pt idx="3400">
                  <c:v>8.798</c:v>
                </c:pt>
                <c:pt idx="3401">
                  <c:v>10.343999999999999</c:v>
                </c:pt>
                <c:pt idx="3402">
                  <c:v>12.698</c:v>
                </c:pt>
                <c:pt idx="3403">
                  <c:v>9.907</c:v>
                </c:pt>
                <c:pt idx="3404">
                  <c:v>8.3580000000000005</c:v>
                </c:pt>
                <c:pt idx="3405">
                  <c:v>8.3049999999999997</c:v>
                </c:pt>
                <c:pt idx="3406">
                  <c:v>6.5909999999999993</c:v>
                </c:pt>
                <c:pt idx="3407">
                  <c:v>7.0030000000000001</c:v>
                </c:pt>
                <c:pt idx="3408">
                  <c:v>6.6400000000000006</c:v>
                </c:pt>
                <c:pt idx="3409">
                  <c:v>6.49</c:v>
                </c:pt>
                <c:pt idx="3410">
                  <c:v>5.4119999999999999</c:v>
                </c:pt>
                <c:pt idx="3411">
                  <c:v>6.266</c:v>
                </c:pt>
                <c:pt idx="3412">
                  <c:v>7.0200000000000005</c:v>
                </c:pt>
                <c:pt idx="3413">
                  <c:v>9.8140000000000001</c:v>
                </c:pt>
                <c:pt idx="3414">
                  <c:v>10.312000000000001</c:v>
                </c:pt>
                <c:pt idx="3415">
                  <c:v>9.4980000000000011</c:v>
                </c:pt>
                <c:pt idx="3416">
                  <c:v>8.1209999999999987</c:v>
                </c:pt>
                <c:pt idx="3417">
                  <c:v>7</c:v>
                </c:pt>
                <c:pt idx="3418">
                  <c:v>6.9779999999999998</c:v>
                </c:pt>
                <c:pt idx="3419">
                  <c:v>6.5650000000000004</c:v>
                </c:pt>
                <c:pt idx="3420">
                  <c:v>5.6909999999999998</c:v>
                </c:pt>
                <c:pt idx="3421">
                  <c:v>5.6139999999999999</c:v>
                </c:pt>
                <c:pt idx="3422">
                  <c:v>6.7170000000000005</c:v>
                </c:pt>
                <c:pt idx="3423">
                  <c:v>7.7610000000000001</c:v>
                </c:pt>
                <c:pt idx="3424">
                  <c:v>9.245000000000001</c:v>
                </c:pt>
                <c:pt idx="3425">
                  <c:v>9.9980000000000011</c:v>
                </c:pt>
                <c:pt idx="3426">
                  <c:v>14.702000000000002</c:v>
                </c:pt>
                <c:pt idx="3427">
                  <c:v>15.488</c:v>
                </c:pt>
                <c:pt idx="3428">
                  <c:v>13.599</c:v>
                </c:pt>
                <c:pt idx="3429">
                  <c:v>10.770999999999999</c:v>
                </c:pt>
                <c:pt idx="3430">
                  <c:v>9.3219999999999992</c:v>
                </c:pt>
                <c:pt idx="3431">
                  <c:v>7.9269999999999996</c:v>
                </c:pt>
                <c:pt idx="3432">
                  <c:v>7.8450000000000006</c:v>
                </c:pt>
                <c:pt idx="3433">
                  <c:v>7.4930000000000003</c:v>
                </c:pt>
                <c:pt idx="3434">
                  <c:v>7.668000000000001</c:v>
                </c:pt>
                <c:pt idx="3435">
                  <c:v>7.8650000000000002</c:v>
                </c:pt>
                <c:pt idx="3436">
                  <c:v>8.48</c:v>
                </c:pt>
                <c:pt idx="3437">
                  <c:v>10.798</c:v>
                </c:pt>
                <c:pt idx="3438">
                  <c:v>11.8</c:v>
                </c:pt>
                <c:pt idx="3439">
                  <c:v>9.7840000000000007</c:v>
                </c:pt>
                <c:pt idx="3440">
                  <c:v>7.5650000000000004</c:v>
                </c:pt>
                <c:pt idx="3441">
                  <c:v>7.4889999999999999</c:v>
                </c:pt>
                <c:pt idx="3442">
                  <c:v>6.4099999999999993</c:v>
                </c:pt>
                <c:pt idx="3443">
                  <c:v>5.25</c:v>
                </c:pt>
                <c:pt idx="3444">
                  <c:v>4.5310000000000006</c:v>
                </c:pt>
                <c:pt idx="3445">
                  <c:v>5.6979999999999995</c:v>
                </c:pt>
                <c:pt idx="3446">
                  <c:v>7.1400000000000006</c:v>
                </c:pt>
                <c:pt idx="3447">
                  <c:v>8.3769999999999989</c:v>
                </c:pt>
                <c:pt idx="3448">
                  <c:v>9.6639999999999997</c:v>
                </c:pt>
                <c:pt idx="3449">
                  <c:v>11.148999999999999</c:v>
                </c:pt>
                <c:pt idx="3450">
                  <c:v>15.628</c:v>
                </c:pt>
                <c:pt idx="3451">
                  <c:v>18.006</c:v>
                </c:pt>
                <c:pt idx="3452">
                  <c:v>15.597999999999999</c:v>
                </c:pt>
                <c:pt idx="3453">
                  <c:v>12.615</c:v>
                </c:pt>
                <c:pt idx="3454">
                  <c:v>10.503</c:v>
                </c:pt>
                <c:pt idx="3455">
                  <c:v>10.317</c:v>
                </c:pt>
                <c:pt idx="3456">
                  <c:v>9.4120000000000008</c:v>
                </c:pt>
                <c:pt idx="3457">
                  <c:v>8.979000000000001</c:v>
                </c:pt>
                <c:pt idx="3458">
                  <c:v>8.8219999999999992</c:v>
                </c:pt>
                <c:pt idx="3459">
                  <c:v>9.18</c:v>
                </c:pt>
                <c:pt idx="3460">
                  <c:v>10.323</c:v>
                </c:pt>
                <c:pt idx="3461">
                  <c:v>12.384</c:v>
                </c:pt>
                <c:pt idx="3462">
                  <c:v>12.206999999999999</c:v>
                </c:pt>
                <c:pt idx="3463">
                  <c:v>11.59</c:v>
                </c:pt>
                <c:pt idx="3464">
                  <c:v>10.61</c:v>
                </c:pt>
                <c:pt idx="3465">
                  <c:v>9.6159999999999997</c:v>
                </c:pt>
                <c:pt idx="3466">
                  <c:v>9.0069999999999997</c:v>
                </c:pt>
                <c:pt idx="3467">
                  <c:v>8.8979999999999997</c:v>
                </c:pt>
                <c:pt idx="3468">
                  <c:v>8.7739999999999991</c:v>
                </c:pt>
                <c:pt idx="3469">
                  <c:v>8.8120000000000012</c:v>
                </c:pt>
                <c:pt idx="3470">
                  <c:v>8.8180000000000014</c:v>
                </c:pt>
                <c:pt idx="3471">
                  <c:v>8.4269999999999996</c:v>
                </c:pt>
                <c:pt idx="3472">
                  <c:v>9.8790000000000013</c:v>
                </c:pt>
                <c:pt idx="3473">
                  <c:v>11.177</c:v>
                </c:pt>
                <c:pt idx="3474">
                  <c:v>12.999000000000001</c:v>
                </c:pt>
                <c:pt idx="3475">
                  <c:v>12.5</c:v>
                </c:pt>
                <c:pt idx="3476">
                  <c:v>11.584</c:v>
                </c:pt>
                <c:pt idx="3477">
                  <c:v>10.967000000000001</c:v>
                </c:pt>
                <c:pt idx="3478">
                  <c:v>9.984</c:v>
                </c:pt>
                <c:pt idx="3479">
                  <c:v>9.4879999999999995</c:v>
                </c:pt>
                <c:pt idx="3480">
                  <c:v>9.1829999999999998</c:v>
                </c:pt>
                <c:pt idx="3481">
                  <c:v>9.043000000000001</c:v>
                </c:pt>
                <c:pt idx="3482">
                  <c:v>8.9160000000000004</c:v>
                </c:pt>
                <c:pt idx="3483">
                  <c:v>8.9030000000000005</c:v>
                </c:pt>
                <c:pt idx="3484">
                  <c:v>9.0259999999999998</c:v>
                </c:pt>
                <c:pt idx="3485">
                  <c:v>9.0680000000000014</c:v>
                </c:pt>
                <c:pt idx="3486">
                  <c:v>8.6230000000000011</c:v>
                </c:pt>
                <c:pt idx="3487">
                  <c:v>7.8579999999999997</c:v>
                </c:pt>
                <c:pt idx="3488">
                  <c:v>7.4749999999999996</c:v>
                </c:pt>
                <c:pt idx="3489">
                  <c:v>5.423</c:v>
                </c:pt>
                <c:pt idx="3490">
                  <c:v>0.93399999999999994</c:v>
                </c:pt>
                <c:pt idx="3491">
                  <c:v>0.32400000000000001</c:v>
                </c:pt>
                <c:pt idx="3492">
                  <c:v>4.0000000000000001E-3</c:v>
                </c:pt>
                <c:pt idx="3493">
                  <c:v>0</c:v>
                </c:pt>
                <c:pt idx="3494">
                  <c:v>2E-3</c:v>
                </c:pt>
                <c:pt idx="3495">
                  <c:v>1.423</c:v>
                </c:pt>
                <c:pt idx="3496">
                  <c:v>7.604000000000001</c:v>
                </c:pt>
                <c:pt idx="3497">
                  <c:v>9.6230000000000011</c:v>
                </c:pt>
                <c:pt idx="3498">
                  <c:v>11.577</c:v>
                </c:pt>
                <c:pt idx="3499">
                  <c:v>13.191999999999998</c:v>
                </c:pt>
                <c:pt idx="3500">
                  <c:v>13.694999999999999</c:v>
                </c:pt>
                <c:pt idx="3501">
                  <c:v>11.577</c:v>
                </c:pt>
                <c:pt idx="3502">
                  <c:v>10.454000000000001</c:v>
                </c:pt>
                <c:pt idx="3503">
                  <c:v>10.736000000000001</c:v>
                </c:pt>
                <c:pt idx="3504">
                  <c:v>9.83</c:v>
                </c:pt>
                <c:pt idx="3505">
                  <c:v>9.077</c:v>
                </c:pt>
                <c:pt idx="3506">
                  <c:v>9.01</c:v>
                </c:pt>
                <c:pt idx="3507">
                  <c:v>9.1159999999999997</c:v>
                </c:pt>
                <c:pt idx="3508">
                  <c:v>8.8610000000000007</c:v>
                </c:pt>
                <c:pt idx="3509">
                  <c:v>8.3490000000000002</c:v>
                </c:pt>
                <c:pt idx="3510">
                  <c:v>7.19</c:v>
                </c:pt>
                <c:pt idx="3511">
                  <c:v>1.325</c:v>
                </c:pt>
                <c:pt idx="3512">
                  <c:v>2E-3</c:v>
                </c:pt>
                <c:pt idx="3513">
                  <c:v>0</c:v>
                </c:pt>
                <c:pt idx="3514">
                  <c:v>-8.9999999999999993E-3</c:v>
                </c:pt>
                <c:pt idx="3515">
                  <c:v>-0.21200000000000002</c:v>
                </c:pt>
                <c:pt idx="3516">
                  <c:v>-1.0660000000000001</c:v>
                </c:pt>
                <c:pt idx="3517">
                  <c:v>-2.3879999999999999</c:v>
                </c:pt>
                <c:pt idx="3518">
                  <c:v>-0.99099999999999999</c:v>
                </c:pt>
                <c:pt idx="3519">
                  <c:v>-0.06</c:v>
                </c:pt>
                <c:pt idx="3520">
                  <c:v>5.7</c:v>
                </c:pt>
                <c:pt idx="3521">
                  <c:v>9.3260000000000005</c:v>
                </c:pt>
                <c:pt idx="3522">
                  <c:v>11.808</c:v>
                </c:pt>
                <c:pt idx="3523">
                  <c:v>11.873999999999999</c:v>
                </c:pt>
                <c:pt idx="3524">
                  <c:v>12.11</c:v>
                </c:pt>
                <c:pt idx="3525">
                  <c:v>10.693999999999999</c:v>
                </c:pt>
                <c:pt idx="3526">
                  <c:v>8.75</c:v>
                </c:pt>
                <c:pt idx="3527">
                  <c:v>7.8340000000000005</c:v>
                </c:pt>
                <c:pt idx="3528">
                  <c:v>7.5069999999999997</c:v>
                </c:pt>
                <c:pt idx="3529">
                  <c:v>7.444</c:v>
                </c:pt>
                <c:pt idx="3530">
                  <c:v>7.4430000000000005</c:v>
                </c:pt>
                <c:pt idx="3531">
                  <c:v>7.7870000000000008</c:v>
                </c:pt>
                <c:pt idx="3532">
                  <c:v>8.4039999999999999</c:v>
                </c:pt>
                <c:pt idx="3533">
                  <c:v>11.294</c:v>
                </c:pt>
                <c:pt idx="3534">
                  <c:v>12.874000000000001</c:v>
                </c:pt>
                <c:pt idx="3535">
                  <c:v>12.455</c:v>
                </c:pt>
                <c:pt idx="3536">
                  <c:v>10.722</c:v>
                </c:pt>
                <c:pt idx="3537">
                  <c:v>8.8439999999999994</c:v>
                </c:pt>
                <c:pt idx="3538">
                  <c:v>8.6260000000000012</c:v>
                </c:pt>
                <c:pt idx="3539">
                  <c:v>7.734</c:v>
                </c:pt>
                <c:pt idx="3540">
                  <c:v>7.4459999999999997</c:v>
                </c:pt>
                <c:pt idx="3541">
                  <c:v>7.2959999999999994</c:v>
                </c:pt>
                <c:pt idx="3542">
                  <c:v>7.7780000000000005</c:v>
                </c:pt>
                <c:pt idx="3543">
                  <c:v>8.4659999999999993</c:v>
                </c:pt>
                <c:pt idx="3544">
                  <c:v>11.104000000000001</c:v>
                </c:pt>
                <c:pt idx="3545">
                  <c:v>13.14</c:v>
                </c:pt>
                <c:pt idx="3546">
                  <c:v>18.667999999999999</c:v>
                </c:pt>
                <c:pt idx="3547">
                  <c:v>22.146000000000001</c:v>
                </c:pt>
                <c:pt idx="3548">
                  <c:v>16.986000000000001</c:v>
                </c:pt>
                <c:pt idx="3549">
                  <c:v>13.14</c:v>
                </c:pt>
                <c:pt idx="3550">
                  <c:v>11.378</c:v>
                </c:pt>
                <c:pt idx="3551">
                  <c:v>9.7780000000000005</c:v>
                </c:pt>
                <c:pt idx="3552">
                  <c:v>9.0500000000000007</c:v>
                </c:pt>
                <c:pt idx="3553">
                  <c:v>8.7639999999999993</c:v>
                </c:pt>
                <c:pt idx="3554">
                  <c:v>8.5220000000000002</c:v>
                </c:pt>
                <c:pt idx="3555">
                  <c:v>8.395999999999999</c:v>
                </c:pt>
                <c:pt idx="3556">
                  <c:v>8.8040000000000003</c:v>
                </c:pt>
                <c:pt idx="3557">
                  <c:v>11.034000000000001</c:v>
                </c:pt>
                <c:pt idx="3558">
                  <c:v>12.01</c:v>
                </c:pt>
                <c:pt idx="3559">
                  <c:v>10.223000000000001</c:v>
                </c:pt>
                <c:pt idx="3560">
                  <c:v>8.543000000000001</c:v>
                </c:pt>
                <c:pt idx="3561">
                  <c:v>7.2519999999999998</c:v>
                </c:pt>
                <c:pt idx="3562">
                  <c:v>6.9169999999999998</c:v>
                </c:pt>
                <c:pt idx="3563">
                  <c:v>6.11</c:v>
                </c:pt>
                <c:pt idx="3564">
                  <c:v>5.5250000000000004</c:v>
                </c:pt>
                <c:pt idx="3565">
                  <c:v>5.5270000000000001</c:v>
                </c:pt>
                <c:pt idx="3566">
                  <c:v>6.5659999999999998</c:v>
                </c:pt>
                <c:pt idx="3567">
                  <c:v>7.2519999999999998</c:v>
                </c:pt>
                <c:pt idx="3568">
                  <c:v>8.58</c:v>
                </c:pt>
                <c:pt idx="3569">
                  <c:v>10.228</c:v>
                </c:pt>
                <c:pt idx="3570">
                  <c:v>13.005000000000001</c:v>
                </c:pt>
                <c:pt idx="3571">
                  <c:v>14.431000000000001</c:v>
                </c:pt>
                <c:pt idx="3572">
                  <c:v>12.4</c:v>
                </c:pt>
                <c:pt idx="3573">
                  <c:v>10.009</c:v>
                </c:pt>
                <c:pt idx="3574">
                  <c:v>8.8780000000000001</c:v>
                </c:pt>
                <c:pt idx="3575">
                  <c:v>7.2219999999999995</c:v>
                </c:pt>
                <c:pt idx="3576">
                  <c:v>5.7539999999999996</c:v>
                </c:pt>
                <c:pt idx="3577">
                  <c:v>5.4279999999999999</c:v>
                </c:pt>
                <c:pt idx="3578">
                  <c:v>5.0590000000000002</c:v>
                </c:pt>
                <c:pt idx="3579">
                  <c:v>4.9829999999999997</c:v>
                </c:pt>
                <c:pt idx="3580">
                  <c:v>4.5909999999999993</c:v>
                </c:pt>
                <c:pt idx="3581">
                  <c:v>7.2150000000000007</c:v>
                </c:pt>
                <c:pt idx="3582">
                  <c:v>8.6449999999999996</c:v>
                </c:pt>
                <c:pt idx="3583">
                  <c:v>9.1519999999999992</c:v>
                </c:pt>
                <c:pt idx="3584">
                  <c:v>6.9109999999999996</c:v>
                </c:pt>
                <c:pt idx="3585">
                  <c:v>6.7849999999999993</c:v>
                </c:pt>
                <c:pt idx="3586">
                  <c:v>6.2119999999999997</c:v>
                </c:pt>
                <c:pt idx="3587">
                  <c:v>5.907</c:v>
                </c:pt>
                <c:pt idx="3588">
                  <c:v>6.2249999999999996</c:v>
                </c:pt>
                <c:pt idx="3589">
                  <c:v>6.218</c:v>
                </c:pt>
                <c:pt idx="3590">
                  <c:v>6.9489999999999998</c:v>
                </c:pt>
                <c:pt idx="3591">
                  <c:v>7.2670000000000003</c:v>
                </c:pt>
                <c:pt idx="3592">
                  <c:v>8.923</c:v>
                </c:pt>
                <c:pt idx="3593">
                  <c:v>9.4659999999999993</c:v>
                </c:pt>
                <c:pt idx="3594">
                  <c:v>11.144</c:v>
                </c:pt>
                <c:pt idx="3595">
                  <c:v>14.05</c:v>
                </c:pt>
                <c:pt idx="3596">
                  <c:v>14.325999999999999</c:v>
                </c:pt>
                <c:pt idx="3597">
                  <c:v>12.039</c:v>
                </c:pt>
                <c:pt idx="3598">
                  <c:v>9.5530000000000008</c:v>
                </c:pt>
                <c:pt idx="3599">
                  <c:v>10.043000000000001</c:v>
                </c:pt>
                <c:pt idx="3600">
                  <c:v>9.620000000000001</c:v>
                </c:pt>
                <c:pt idx="3601">
                  <c:v>9.1209999999999987</c:v>
                </c:pt>
                <c:pt idx="3602">
                  <c:v>9.3629999999999995</c:v>
                </c:pt>
                <c:pt idx="3603">
                  <c:v>9.4559999999999995</c:v>
                </c:pt>
                <c:pt idx="3604">
                  <c:v>10.079000000000001</c:v>
                </c:pt>
                <c:pt idx="3605">
                  <c:v>10.337</c:v>
                </c:pt>
                <c:pt idx="3606">
                  <c:v>10.667</c:v>
                </c:pt>
                <c:pt idx="3607">
                  <c:v>9.770999999999999</c:v>
                </c:pt>
                <c:pt idx="3608">
                  <c:v>9.39</c:v>
                </c:pt>
                <c:pt idx="3609">
                  <c:v>8.5</c:v>
                </c:pt>
                <c:pt idx="3610">
                  <c:v>8</c:v>
                </c:pt>
                <c:pt idx="3611">
                  <c:v>7.0920000000000005</c:v>
                </c:pt>
                <c:pt idx="3612">
                  <c:v>6.2969999999999997</c:v>
                </c:pt>
                <c:pt idx="3613">
                  <c:v>6.2969999999999997</c:v>
                </c:pt>
                <c:pt idx="3614">
                  <c:v>6.7690000000000001</c:v>
                </c:pt>
                <c:pt idx="3615">
                  <c:v>8.375</c:v>
                </c:pt>
                <c:pt idx="3616">
                  <c:v>9.0129999999999999</c:v>
                </c:pt>
                <c:pt idx="3617">
                  <c:v>11.067</c:v>
                </c:pt>
                <c:pt idx="3618">
                  <c:v>13.523</c:v>
                </c:pt>
                <c:pt idx="3619">
                  <c:v>15.472999999999999</c:v>
                </c:pt>
                <c:pt idx="3620">
                  <c:v>14.344999999999999</c:v>
                </c:pt>
                <c:pt idx="3621">
                  <c:v>11.211</c:v>
                </c:pt>
                <c:pt idx="3622">
                  <c:v>10.071</c:v>
                </c:pt>
                <c:pt idx="3623">
                  <c:v>9.6209999999999987</c:v>
                </c:pt>
                <c:pt idx="3624">
                  <c:v>8.0709999999999997</c:v>
                </c:pt>
                <c:pt idx="3625">
                  <c:v>7.9489999999999998</c:v>
                </c:pt>
                <c:pt idx="3626">
                  <c:v>7.3709999999999996</c:v>
                </c:pt>
                <c:pt idx="3627">
                  <c:v>7.4530000000000003</c:v>
                </c:pt>
                <c:pt idx="3628">
                  <c:v>9.0060000000000002</c:v>
                </c:pt>
                <c:pt idx="3629">
                  <c:v>10.626999999999999</c:v>
                </c:pt>
                <c:pt idx="3630">
                  <c:v>10.911</c:v>
                </c:pt>
                <c:pt idx="3631">
                  <c:v>10.872</c:v>
                </c:pt>
                <c:pt idx="3632">
                  <c:v>10.236000000000001</c:v>
                </c:pt>
                <c:pt idx="3633">
                  <c:v>9.1969999999999992</c:v>
                </c:pt>
                <c:pt idx="3634">
                  <c:v>8.202</c:v>
                </c:pt>
                <c:pt idx="3635">
                  <c:v>7.4909999999999997</c:v>
                </c:pt>
                <c:pt idx="3636">
                  <c:v>6.85</c:v>
                </c:pt>
                <c:pt idx="3637">
                  <c:v>6.5299999999999994</c:v>
                </c:pt>
                <c:pt idx="3638">
                  <c:v>6.694</c:v>
                </c:pt>
                <c:pt idx="3639">
                  <c:v>7.5069999999999997</c:v>
                </c:pt>
                <c:pt idx="3640">
                  <c:v>8.41</c:v>
                </c:pt>
                <c:pt idx="3641">
                  <c:v>9.4459999999999997</c:v>
                </c:pt>
                <c:pt idx="3642">
                  <c:v>10.794</c:v>
                </c:pt>
                <c:pt idx="3643">
                  <c:v>11.5</c:v>
                </c:pt>
                <c:pt idx="3644">
                  <c:v>10.791</c:v>
                </c:pt>
                <c:pt idx="3645">
                  <c:v>10.173999999999999</c:v>
                </c:pt>
                <c:pt idx="3646">
                  <c:v>8.418000000000001</c:v>
                </c:pt>
                <c:pt idx="3647">
                  <c:v>8.8580000000000005</c:v>
                </c:pt>
                <c:pt idx="3648">
                  <c:v>8.8819999999999997</c:v>
                </c:pt>
                <c:pt idx="3649">
                  <c:v>7.9659999999999993</c:v>
                </c:pt>
                <c:pt idx="3650">
                  <c:v>7.2140000000000004</c:v>
                </c:pt>
                <c:pt idx="3651">
                  <c:v>7.1870000000000003</c:v>
                </c:pt>
                <c:pt idx="3652">
                  <c:v>7.1829999999999998</c:v>
                </c:pt>
                <c:pt idx="3653">
                  <c:v>7.5200000000000005</c:v>
                </c:pt>
                <c:pt idx="3654">
                  <c:v>7.44</c:v>
                </c:pt>
                <c:pt idx="3655">
                  <c:v>7.2489999999999997</c:v>
                </c:pt>
                <c:pt idx="3656">
                  <c:v>6.1349999999999998</c:v>
                </c:pt>
                <c:pt idx="3657">
                  <c:v>4.7159999999999993</c:v>
                </c:pt>
                <c:pt idx="3658">
                  <c:v>4.1859999999999999</c:v>
                </c:pt>
                <c:pt idx="3659">
                  <c:v>2.121</c:v>
                </c:pt>
                <c:pt idx="3660">
                  <c:v>0.74399999999999999</c:v>
                </c:pt>
                <c:pt idx="3661">
                  <c:v>0.29199999999999998</c:v>
                </c:pt>
                <c:pt idx="3662">
                  <c:v>0.57999999999999996</c:v>
                </c:pt>
                <c:pt idx="3663">
                  <c:v>1.3</c:v>
                </c:pt>
                <c:pt idx="3664">
                  <c:v>5.2080000000000002</c:v>
                </c:pt>
                <c:pt idx="3665">
                  <c:v>6.75</c:v>
                </c:pt>
                <c:pt idx="3666">
                  <c:v>8.1900000000000013</c:v>
                </c:pt>
                <c:pt idx="3667">
                  <c:v>8.5860000000000003</c:v>
                </c:pt>
                <c:pt idx="3668">
                  <c:v>8.1760000000000002</c:v>
                </c:pt>
                <c:pt idx="3669">
                  <c:v>8.4480000000000004</c:v>
                </c:pt>
                <c:pt idx="3670">
                  <c:v>6.5389999999999997</c:v>
                </c:pt>
                <c:pt idx="3671">
                  <c:v>3.5710000000000002</c:v>
                </c:pt>
                <c:pt idx="3672">
                  <c:v>3.1120000000000001</c:v>
                </c:pt>
                <c:pt idx="3673">
                  <c:v>1.585</c:v>
                </c:pt>
                <c:pt idx="3674">
                  <c:v>0.72199999999999998</c:v>
                </c:pt>
                <c:pt idx="3675">
                  <c:v>0.89600000000000013</c:v>
                </c:pt>
                <c:pt idx="3676">
                  <c:v>0.51300000000000001</c:v>
                </c:pt>
                <c:pt idx="3677">
                  <c:v>0.49099999999999999</c:v>
                </c:pt>
                <c:pt idx="3678">
                  <c:v>0.41100000000000003</c:v>
                </c:pt>
                <c:pt idx="3679">
                  <c:v>9.7000000000000003E-2</c:v>
                </c:pt>
                <c:pt idx="3680">
                  <c:v>0</c:v>
                </c:pt>
                <c:pt idx="3681">
                  <c:v>0.156</c:v>
                </c:pt>
                <c:pt idx="3682">
                  <c:v>7.6999999999999999E-2</c:v>
                </c:pt>
                <c:pt idx="3683">
                  <c:v>-0.01</c:v>
                </c:pt>
                <c:pt idx="3684">
                  <c:v>-0.40099999999999997</c:v>
                </c:pt>
                <c:pt idx="3685">
                  <c:v>-1.593</c:v>
                </c:pt>
                <c:pt idx="3686">
                  <c:v>-1.9579999999999997</c:v>
                </c:pt>
                <c:pt idx="3687">
                  <c:v>-0.89800000000000002</c:v>
                </c:pt>
                <c:pt idx="3688">
                  <c:v>-0.127</c:v>
                </c:pt>
                <c:pt idx="3689">
                  <c:v>1.395</c:v>
                </c:pt>
                <c:pt idx="3690">
                  <c:v>6.7230000000000008</c:v>
                </c:pt>
                <c:pt idx="3691">
                  <c:v>9.4989999999999988</c:v>
                </c:pt>
                <c:pt idx="3692">
                  <c:v>10.693000000000001</c:v>
                </c:pt>
                <c:pt idx="3693">
                  <c:v>10.901</c:v>
                </c:pt>
                <c:pt idx="3694">
                  <c:v>9.9160000000000004</c:v>
                </c:pt>
                <c:pt idx="3695">
                  <c:v>9.8260000000000005</c:v>
                </c:pt>
                <c:pt idx="3696">
                  <c:v>8.4580000000000002</c:v>
                </c:pt>
                <c:pt idx="3697">
                  <c:v>8.3670000000000009</c:v>
                </c:pt>
                <c:pt idx="3698">
                  <c:v>8.3810000000000002</c:v>
                </c:pt>
                <c:pt idx="3699">
                  <c:v>8.2170000000000005</c:v>
                </c:pt>
                <c:pt idx="3700">
                  <c:v>9.6170000000000009</c:v>
                </c:pt>
                <c:pt idx="3701">
                  <c:v>13.327999999999999</c:v>
                </c:pt>
                <c:pt idx="3702">
                  <c:v>19.306000000000001</c:v>
                </c:pt>
                <c:pt idx="3703">
                  <c:v>16.448</c:v>
                </c:pt>
                <c:pt idx="3704">
                  <c:v>12.808000000000002</c:v>
                </c:pt>
                <c:pt idx="3705">
                  <c:v>9.9049999999999994</c:v>
                </c:pt>
                <c:pt idx="3706">
                  <c:v>9.59</c:v>
                </c:pt>
                <c:pt idx="3707">
                  <c:v>8.109</c:v>
                </c:pt>
                <c:pt idx="3708">
                  <c:v>7.49</c:v>
                </c:pt>
                <c:pt idx="3709">
                  <c:v>6.7299999999999995</c:v>
                </c:pt>
                <c:pt idx="3710">
                  <c:v>7.202</c:v>
                </c:pt>
                <c:pt idx="3711">
                  <c:v>7.8</c:v>
                </c:pt>
                <c:pt idx="3712">
                  <c:v>10.595000000000001</c:v>
                </c:pt>
                <c:pt idx="3713">
                  <c:v>12.731999999999999</c:v>
                </c:pt>
                <c:pt idx="3714">
                  <c:v>18.291</c:v>
                </c:pt>
                <c:pt idx="3715">
                  <c:v>21.527999999999999</c:v>
                </c:pt>
                <c:pt idx="3716">
                  <c:v>19.878999999999998</c:v>
                </c:pt>
                <c:pt idx="3717">
                  <c:v>14.928999999999998</c:v>
                </c:pt>
                <c:pt idx="3718">
                  <c:v>11.604000000000001</c:v>
                </c:pt>
                <c:pt idx="3719">
                  <c:v>10.687000000000001</c:v>
                </c:pt>
                <c:pt idx="3720">
                  <c:v>9.9980000000000011</c:v>
                </c:pt>
                <c:pt idx="3721">
                  <c:v>9.5419999999999998</c:v>
                </c:pt>
                <c:pt idx="3722">
                  <c:v>9.2940000000000005</c:v>
                </c:pt>
                <c:pt idx="3723">
                  <c:v>9.2249999999999996</c:v>
                </c:pt>
                <c:pt idx="3724">
                  <c:v>10.468999999999999</c:v>
                </c:pt>
                <c:pt idx="3725">
                  <c:v>16.2</c:v>
                </c:pt>
                <c:pt idx="3726">
                  <c:v>17.765999999999998</c:v>
                </c:pt>
                <c:pt idx="3727">
                  <c:v>14.168000000000001</c:v>
                </c:pt>
                <c:pt idx="3728">
                  <c:v>11.237</c:v>
                </c:pt>
                <c:pt idx="3729">
                  <c:v>9.16</c:v>
                </c:pt>
                <c:pt idx="3730">
                  <c:v>8.1310000000000002</c:v>
                </c:pt>
                <c:pt idx="3731">
                  <c:v>6.734</c:v>
                </c:pt>
                <c:pt idx="3732">
                  <c:v>5.5270000000000001</c:v>
                </c:pt>
                <c:pt idx="3733">
                  <c:v>4.3860000000000001</c:v>
                </c:pt>
                <c:pt idx="3734">
                  <c:v>4.7060000000000004</c:v>
                </c:pt>
                <c:pt idx="3735">
                  <c:v>6.4030000000000005</c:v>
                </c:pt>
                <c:pt idx="3736">
                  <c:v>8.4879999999999995</c:v>
                </c:pt>
                <c:pt idx="3737">
                  <c:v>11.622</c:v>
                </c:pt>
                <c:pt idx="3738">
                  <c:v>17.678000000000001</c:v>
                </c:pt>
                <c:pt idx="3739">
                  <c:v>23.552</c:v>
                </c:pt>
                <c:pt idx="3740">
                  <c:v>14.068000000000001</c:v>
                </c:pt>
                <c:pt idx="3741">
                  <c:v>10.734</c:v>
                </c:pt>
                <c:pt idx="3742">
                  <c:v>7.5810000000000004</c:v>
                </c:pt>
                <c:pt idx="3743">
                  <c:v>5.6850000000000005</c:v>
                </c:pt>
                <c:pt idx="3744">
                  <c:v>4.3929999999999998</c:v>
                </c:pt>
                <c:pt idx="3745">
                  <c:v>4.4550000000000001</c:v>
                </c:pt>
                <c:pt idx="3746">
                  <c:v>5.0049999999999999</c:v>
                </c:pt>
                <c:pt idx="3747">
                  <c:v>4.8090000000000002</c:v>
                </c:pt>
                <c:pt idx="3748">
                  <c:v>7.1189999999999998</c:v>
                </c:pt>
                <c:pt idx="3749">
                  <c:v>10.355</c:v>
                </c:pt>
                <c:pt idx="3750">
                  <c:v>14.276</c:v>
                </c:pt>
                <c:pt idx="3751">
                  <c:v>11.292</c:v>
                </c:pt>
                <c:pt idx="3752">
                  <c:v>8.4160000000000004</c:v>
                </c:pt>
                <c:pt idx="3753">
                  <c:v>6.9930000000000003</c:v>
                </c:pt>
                <c:pt idx="3754">
                  <c:v>6.2030000000000003</c:v>
                </c:pt>
                <c:pt idx="3755">
                  <c:v>4.84</c:v>
                </c:pt>
                <c:pt idx="3756">
                  <c:v>3.0170000000000003</c:v>
                </c:pt>
                <c:pt idx="3757">
                  <c:v>2.63</c:v>
                </c:pt>
                <c:pt idx="3758">
                  <c:v>3.0059999999999998</c:v>
                </c:pt>
                <c:pt idx="3759">
                  <c:v>6.2569999999999997</c:v>
                </c:pt>
                <c:pt idx="3760">
                  <c:v>8.043000000000001</c:v>
                </c:pt>
                <c:pt idx="3761">
                  <c:v>10.509</c:v>
                </c:pt>
                <c:pt idx="3762">
                  <c:v>12.696999999999999</c:v>
                </c:pt>
                <c:pt idx="3763">
                  <c:v>15.59</c:v>
                </c:pt>
                <c:pt idx="3764">
                  <c:v>15.802000000000001</c:v>
                </c:pt>
                <c:pt idx="3765">
                  <c:v>14.147</c:v>
                </c:pt>
                <c:pt idx="3766">
                  <c:v>10.599</c:v>
                </c:pt>
                <c:pt idx="3767">
                  <c:v>9.3239999999999998</c:v>
                </c:pt>
                <c:pt idx="3768">
                  <c:v>8.9920000000000009</c:v>
                </c:pt>
                <c:pt idx="3769">
                  <c:v>8.5860000000000003</c:v>
                </c:pt>
                <c:pt idx="3770">
                  <c:v>8.5350000000000001</c:v>
                </c:pt>
                <c:pt idx="3771">
                  <c:v>8.8249999999999993</c:v>
                </c:pt>
                <c:pt idx="3772">
                  <c:v>9.8970000000000002</c:v>
                </c:pt>
                <c:pt idx="3773">
                  <c:v>12.39</c:v>
                </c:pt>
                <c:pt idx="3774">
                  <c:v>12.792</c:v>
                </c:pt>
                <c:pt idx="3775">
                  <c:v>9.6829999999999998</c:v>
                </c:pt>
                <c:pt idx="3776">
                  <c:v>7.1890000000000001</c:v>
                </c:pt>
                <c:pt idx="3777">
                  <c:v>5.7799999999999994</c:v>
                </c:pt>
                <c:pt idx="3778">
                  <c:v>3.0249999999999999</c:v>
                </c:pt>
                <c:pt idx="3779">
                  <c:v>2.4329999999999998</c:v>
                </c:pt>
                <c:pt idx="3780">
                  <c:v>1.95</c:v>
                </c:pt>
                <c:pt idx="3781">
                  <c:v>2.423</c:v>
                </c:pt>
                <c:pt idx="3782">
                  <c:v>3.7649999999999997</c:v>
                </c:pt>
                <c:pt idx="3783">
                  <c:v>6.2110000000000003</c:v>
                </c:pt>
                <c:pt idx="3784">
                  <c:v>8.0670000000000002</c:v>
                </c:pt>
                <c:pt idx="3785">
                  <c:v>8.9920000000000009</c:v>
                </c:pt>
                <c:pt idx="3786">
                  <c:v>11.568999999999999</c:v>
                </c:pt>
                <c:pt idx="3787">
                  <c:v>16.398</c:v>
                </c:pt>
                <c:pt idx="3788">
                  <c:v>16.771999999999998</c:v>
                </c:pt>
                <c:pt idx="3789">
                  <c:v>13.244999999999999</c:v>
                </c:pt>
                <c:pt idx="3790">
                  <c:v>10.439</c:v>
                </c:pt>
                <c:pt idx="3791">
                  <c:v>10.1</c:v>
                </c:pt>
                <c:pt idx="3792">
                  <c:v>9.6129999999999995</c:v>
                </c:pt>
                <c:pt idx="3793">
                  <c:v>9.17</c:v>
                </c:pt>
                <c:pt idx="3794">
                  <c:v>8.7530000000000001</c:v>
                </c:pt>
                <c:pt idx="3795">
                  <c:v>8.4250000000000007</c:v>
                </c:pt>
                <c:pt idx="3796">
                  <c:v>9.1900000000000013</c:v>
                </c:pt>
                <c:pt idx="3797">
                  <c:v>11.395</c:v>
                </c:pt>
                <c:pt idx="3798">
                  <c:v>11.904999999999999</c:v>
                </c:pt>
                <c:pt idx="3799">
                  <c:v>10.276</c:v>
                </c:pt>
                <c:pt idx="3800">
                  <c:v>7.8559999999999999</c:v>
                </c:pt>
                <c:pt idx="3801">
                  <c:v>6.0659999999999998</c:v>
                </c:pt>
                <c:pt idx="3802">
                  <c:v>4.1390000000000002</c:v>
                </c:pt>
                <c:pt idx="3803">
                  <c:v>3.3909999999999996</c:v>
                </c:pt>
                <c:pt idx="3804">
                  <c:v>2.536</c:v>
                </c:pt>
                <c:pt idx="3805">
                  <c:v>1.7410000000000001</c:v>
                </c:pt>
                <c:pt idx="3806">
                  <c:v>1.3080000000000001</c:v>
                </c:pt>
                <c:pt idx="3807">
                  <c:v>2.5569999999999999</c:v>
                </c:pt>
                <c:pt idx="3808">
                  <c:v>6.4560000000000004</c:v>
                </c:pt>
                <c:pt idx="3809">
                  <c:v>8.520999999999999</c:v>
                </c:pt>
                <c:pt idx="3810">
                  <c:v>12.858000000000001</c:v>
                </c:pt>
                <c:pt idx="3811">
                  <c:v>15.475</c:v>
                </c:pt>
                <c:pt idx="3812">
                  <c:v>15.385</c:v>
                </c:pt>
                <c:pt idx="3813">
                  <c:v>12.687999999999999</c:v>
                </c:pt>
                <c:pt idx="3814">
                  <c:v>9.745000000000001</c:v>
                </c:pt>
                <c:pt idx="3815">
                  <c:v>9.8360000000000003</c:v>
                </c:pt>
                <c:pt idx="3816">
                  <c:v>9.0040000000000013</c:v>
                </c:pt>
                <c:pt idx="3817">
                  <c:v>8.3309999999999995</c:v>
                </c:pt>
                <c:pt idx="3818">
                  <c:v>8.3529999999999998</c:v>
                </c:pt>
                <c:pt idx="3819">
                  <c:v>7.9640000000000004</c:v>
                </c:pt>
                <c:pt idx="3820">
                  <c:v>8.2110000000000003</c:v>
                </c:pt>
                <c:pt idx="3821">
                  <c:v>7.9379999999999997</c:v>
                </c:pt>
                <c:pt idx="3822">
                  <c:v>6.282</c:v>
                </c:pt>
                <c:pt idx="3823">
                  <c:v>4.2200000000000006</c:v>
                </c:pt>
                <c:pt idx="3824">
                  <c:v>1.224</c:v>
                </c:pt>
                <c:pt idx="3825">
                  <c:v>-1.3000000000000001E-2</c:v>
                </c:pt>
                <c:pt idx="3826">
                  <c:v>-0.22700000000000001</c:v>
                </c:pt>
                <c:pt idx="3827">
                  <c:v>-1.026</c:v>
                </c:pt>
                <c:pt idx="3828">
                  <c:v>-2.37</c:v>
                </c:pt>
                <c:pt idx="3829">
                  <c:v>-3.0030000000000001</c:v>
                </c:pt>
                <c:pt idx="3830">
                  <c:v>-2.0620000000000003</c:v>
                </c:pt>
                <c:pt idx="3831">
                  <c:v>-0.82499999999999996</c:v>
                </c:pt>
                <c:pt idx="3832">
                  <c:v>1E-3</c:v>
                </c:pt>
                <c:pt idx="3833">
                  <c:v>4.4909999999999997</c:v>
                </c:pt>
                <c:pt idx="3834">
                  <c:v>6.8840000000000003</c:v>
                </c:pt>
                <c:pt idx="3835">
                  <c:v>9.9319999999999986</c:v>
                </c:pt>
                <c:pt idx="3836">
                  <c:v>9.3010000000000002</c:v>
                </c:pt>
                <c:pt idx="3837">
                  <c:v>10</c:v>
                </c:pt>
                <c:pt idx="3838">
                  <c:v>7.8790000000000004</c:v>
                </c:pt>
                <c:pt idx="3839">
                  <c:v>7.4279999999999999</c:v>
                </c:pt>
                <c:pt idx="3840">
                  <c:v>6.359</c:v>
                </c:pt>
                <c:pt idx="3841">
                  <c:v>4.2520000000000007</c:v>
                </c:pt>
                <c:pt idx="3842">
                  <c:v>1.5569999999999999</c:v>
                </c:pt>
                <c:pt idx="3843">
                  <c:v>1.8190000000000002</c:v>
                </c:pt>
                <c:pt idx="3844">
                  <c:v>1.1560000000000001</c:v>
                </c:pt>
                <c:pt idx="3845">
                  <c:v>0.84000000000000008</c:v>
                </c:pt>
                <c:pt idx="3846">
                  <c:v>0.22200000000000003</c:v>
                </c:pt>
                <c:pt idx="3847">
                  <c:v>-8.0000000000000002E-3</c:v>
                </c:pt>
                <c:pt idx="3848">
                  <c:v>-0.20099999999999998</c:v>
                </c:pt>
                <c:pt idx="3849">
                  <c:v>-0.76</c:v>
                </c:pt>
                <c:pt idx="3850">
                  <c:v>-1.5</c:v>
                </c:pt>
                <c:pt idx="3851">
                  <c:v>-2.5</c:v>
                </c:pt>
                <c:pt idx="3852">
                  <c:v>-3.2689999999999997</c:v>
                </c:pt>
                <c:pt idx="3853">
                  <c:v>-3.714</c:v>
                </c:pt>
                <c:pt idx="3854">
                  <c:v>-2.8679999999999999</c:v>
                </c:pt>
                <c:pt idx="3855">
                  <c:v>-0.58399999999999996</c:v>
                </c:pt>
                <c:pt idx="3856">
                  <c:v>-0.05</c:v>
                </c:pt>
                <c:pt idx="3857">
                  <c:v>4.2759999999999998</c:v>
                </c:pt>
                <c:pt idx="3858">
                  <c:v>9.6849999999999987</c:v>
                </c:pt>
                <c:pt idx="3859">
                  <c:v>11.586</c:v>
                </c:pt>
                <c:pt idx="3860">
                  <c:v>11.123999999999999</c:v>
                </c:pt>
                <c:pt idx="3861">
                  <c:v>10.842000000000001</c:v>
                </c:pt>
                <c:pt idx="3862">
                  <c:v>9.7210000000000001</c:v>
                </c:pt>
                <c:pt idx="3863">
                  <c:v>7.395999999999999</c:v>
                </c:pt>
                <c:pt idx="3864">
                  <c:v>7.1590000000000007</c:v>
                </c:pt>
                <c:pt idx="3865">
                  <c:v>6.8730000000000002</c:v>
                </c:pt>
                <c:pt idx="3866">
                  <c:v>6.827</c:v>
                </c:pt>
                <c:pt idx="3867">
                  <c:v>6.9</c:v>
                </c:pt>
                <c:pt idx="3868">
                  <c:v>7.831999999999999</c:v>
                </c:pt>
                <c:pt idx="3869">
                  <c:v>11.74</c:v>
                </c:pt>
                <c:pt idx="3870">
                  <c:v>18.518000000000001</c:v>
                </c:pt>
                <c:pt idx="3871">
                  <c:v>14.621</c:v>
                </c:pt>
                <c:pt idx="3872">
                  <c:v>10.725</c:v>
                </c:pt>
                <c:pt idx="3873">
                  <c:v>8.9459999999999997</c:v>
                </c:pt>
                <c:pt idx="3874">
                  <c:v>8.5040000000000013</c:v>
                </c:pt>
                <c:pt idx="3875">
                  <c:v>7.43</c:v>
                </c:pt>
                <c:pt idx="3876">
                  <c:v>7.359</c:v>
                </c:pt>
                <c:pt idx="3877">
                  <c:v>6.706999999999999</c:v>
                </c:pt>
                <c:pt idx="3878">
                  <c:v>6.5879999999999992</c:v>
                </c:pt>
                <c:pt idx="3879">
                  <c:v>7</c:v>
                </c:pt>
                <c:pt idx="3880">
                  <c:v>8.120000000000001</c:v>
                </c:pt>
                <c:pt idx="3881">
                  <c:v>9.8529999999999998</c:v>
                </c:pt>
                <c:pt idx="3882">
                  <c:v>11.859</c:v>
                </c:pt>
                <c:pt idx="3883">
                  <c:v>12.445</c:v>
                </c:pt>
                <c:pt idx="3884">
                  <c:v>11.331999999999999</c:v>
                </c:pt>
                <c:pt idx="3885">
                  <c:v>9.8409999999999993</c:v>
                </c:pt>
                <c:pt idx="3886">
                  <c:v>7.7760000000000007</c:v>
                </c:pt>
                <c:pt idx="3887">
                  <c:v>6.0069999999999997</c:v>
                </c:pt>
                <c:pt idx="3888">
                  <c:v>5.6959999999999997</c:v>
                </c:pt>
                <c:pt idx="3889">
                  <c:v>6.2949999999999999</c:v>
                </c:pt>
                <c:pt idx="3890">
                  <c:v>5.5819999999999999</c:v>
                </c:pt>
                <c:pt idx="3891">
                  <c:v>6.0060000000000002</c:v>
                </c:pt>
                <c:pt idx="3892">
                  <c:v>5.9109999999999996</c:v>
                </c:pt>
                <c:pt idx="3893">
                  <c:v>8.1829999999999998</c:v>
                </c:pt>
                <c:pt idx="3894">
                  <c:v>10.026</c:v>
                </c:pt>
                <c:pt idx="3895">
                  <c:v>9.15</c:v>
                </c:pt>
                <c:pt idx="3896">
                  <c:v>6.827</c:v>
                </c:pt>
                <c:pt idx="3897">
                  <c:v>4.992</c:v>
                </c:pt>
                <c:pt idx="3898">
                  <c:v>3.2130000000000001</c:v>
                </c:pt>
                <c:pt idx="3899">
                  <c:v>1.1119999999999999</c:v>
                </c:pt>
                <c:pt idx="3900">
                  <c:v>7.5999999999999998E-2</c:v>
                </c:pt>
                <c:pt idx="3901">
                  <c:v>0</c:v>
                </c:pt>
                <c:pt idx="3902">
                  <c:v>3.0000000000000001E-3</c:v>
                </c:pt>
                <c:pt idx="3903">
                  <c:v>1.389</c:v>
                </c:pt>
                <c:pt idx="3904">
                  <c:v>5.5270000000000001</c:v>
                </c:pt>
                <c:pt idx="3905">
                  <c:v>7.1650000000000009</c:v>
                </c:pt>
                <c:pt idx="3906">
                  <c:v>10</c:v>
                </c:pt>
                <c:pt idx="3907">
                  <c:v>12.763999999999999</c:v>
                </c:pt>
                <c:pt idx="3908">
                  <c:v>12.237</c:v>
                </c:pt>
                <c:pt idx="3909">
                  <c:v>10.673999999999999</c:v>
                </c:pt>
                <c:pt idx="3910">
                  <c:v>9.081999999999999</c:v>
                </c:pt>
                <c:pt idx="3911">
                  <c:v>8.8849999999999998</c:v>
                </c:pt>
                <c:pt idx="3912">
                  <c:v>8.5350000000000001</c:v>
                </c:pt>
                <c:pt idx="3913">
                  <c:v>8.0289999999999999</c:v>
                </c:pt>
                <c:pt idx="3914">
                  <c:v>8.2110000000000003</c:v>
                </c:pt>
                <c:pt idx="3915">
                  <c:v>8.6110000000000007</c:v>
                </c:pt>
                <c:pt idx="3916">
                  <c:v>9.4649999999999999</c:v>
                </c:pt>
                <c:pt idx="3917">
                  <c:v>12.474</c:v>
                </c:pt>
                <c:pt idx="3918">
                  <c:v>13.64</c:v>
                </c:pt>
                <c:pt idx="3919">
                  <c:v>11.462</c:v>
                </c:pt>
                <c:pt idx="3920">
                  <c:v>7.8650000000000002</c:v>
                </c:pt>
                <c:pt idx="3921">
                  <c:v>6.4189999999999996</c:v>
                </c:pt>
                <c:pt idx="3922">
                  <c:v>5.8</c:v>
                </c:pt>
                <c:pt idx="3923">
                  <c:v>4.2090000000000005</c:v>
                </c:pt>
                <c:pt idx="3924">
                  <c:v>4.0720000000000001</c:v>
                </c:pt>
                <c:pt idx="3925">
                  <c:v>3.968</c:v>
                </c:pt>
                <c:pt idx="3926">
                  <c:v>4.5340000000000007</c:v>
                </c:pt>
                <c:pt idx="3927">
                  <c:v>6.3</c:v>
                </c:pt>
                <c:pt idx="3928">
                  <c:v>8.120000000000001</c:v>
                </c:pt>
                <c:pt idx="3929">
                  <c:v>9.995000000000001</c:v>
                </c:pt>
                <c:pt idx="3930">
                  <c:v>13.569999999999999</c:v>
                </c:pt>
                <c:pt idx="3931">
                  <c:v>15.434000000000001</c:v>
                </c:pt>
                <c:pt idx="3932">
                  <c:v>15.465999999999999</c:v>
                </c:pt>
                <c:pt idx="3933">
                  <c:v>13.087999999999999</c:v>
                </c:pt>
                <c:pt idx="3934">
                  <c:v>10.706999999999999</c:v>
                </c:pt>
                <c:pt idx="3935">
                  <c:v>9.9</c:v>
                </c:pt>
                <c:pt idx="3936">
                  <c:v>9.3260000000000005</c:v>
                </c:pt>
                <c:pt idx="3937">
                  <c:v>8.4190000000000005</c:v>
                </c:pt>
                <c:pt idx="3938">
                  <c:v>8.520999999999999</c:v>
                </c:pt>
                <c:pt idx="3939">
                  <c:v>8.3829999999999991</c:v>
                </c:pt>
                <c:pt idx="3940">
                  <c:v>9.895999999999999</c:v>
                </c:pt>
                <c:pt idx="3941">
                  <c:v>12.241</c:v>
                </c:pt>
                <c:pt idx="3942">
                  <c:v>13.109</c:v>
                </c:pt>
                <c:pt idx="3943">
                  <c:v>11.501999999999999</c:v>
                </c:pt>
                <c:pt idx="3944">
                  <c:v>8.379999999999999</c:v>
                </c:pt>
                <c:pt idx="3945">
                  <c:v>6.9010000000000007</c:v>
                </c:pt>
                <c:pt idx="3946">
                  <c:v>6.1710000000000003</c:v>
                </c:pt>
                <c:pt idx="3947">
                  <c:v>5.3360000000000003</c:v>
                </c:pt>
                <c:pt idx="3948">
                  <c:v>4.6959999999999997</c:v>
                </c:pt>
                <c:pt idx="3949">
                  <c:v>4.335</c:v>
                </c:pt>
                <c:pt idx="3950">
                  <c:v>5.3740000000000006</c:v>
                </c:pt>
                <c:pt idx="3951">
                  <c:v>7.742</c:v>
                </c:pt>
                <c:pt idx="3952">
                  <c:v>8.0079999999999991</c:v>
                </c:pt>
                <c:pt idx="3953">
                  <c:v>10.690999999999999</c:v>
                </c:pt>
                <c:pt idx="3954">
                  <c:v>13.965999999999999</c:v>
                </c:pt>
                <c:pt idx="3955">
                  <c:v>18.835000000000001</c:v>
                </c:pt>
                <c:pt idx="3956">
                  <c:v>16.384</c:v>
                </c:pt>
                <c:pt idx="3957">
                  <c:v>10.837</c:v>
                </c:pt>
                <c:pt idx="3958">
                  <c:v>8.5180000000000007</c:v>
                </c:pt>
                <c:pt idx="3959">
                  <c:v>8.3129999999999988</c:v>
                </c:pt>
                <c:pt idx="3960">
                  <c:v>7.1450000000000005</c:v>
                </c:pt>
                <c:pt idx="3961">
                  <c:v>6.3929999999999998</c:v>
                </c:pt>
                <c:pt idx="3962">
                  <c:v>5.9530000000000003</c:v>
                </c:pt>
                <c:pt idx="3963">
                  <c:v>5.5819999999999999</c:v>
                </c:pt>
                <c:pt idx="3964">
                  <c:v>6.4219999999999997</c:v>
                </c:pt>
                <c:pt idx="3965">
                  <c:v>8.5010000000000012</c:v>
                </c:pt>
                <c:pt idx="3966">
                  <c:v>10.095000000000001</c:v>
                </c:pt>
                <c:pt idx="3967">
                  <c:v>10.498999999999999</c:v>
                </c:pt>
                <c:pt idx="3968">
                  <c:v>10.254000000000001</c:v>
                </c:pt>
                <c:pt idx="3969">
                  <c:v>8.218</c:v>
                </c:pt>
                <c:pt idx="3970">
                  <c:v>6.81</c:v>
                </c:pt>
                <c:pt idx="3971">
                  <c:v>6.0880000000000001</c:v>
                </c:pt>
                <c:pt idx="3972">
                  <c:v>4.7460000000000004</c:v>
                </c:pt>
                <c:pt idx="3973">
                  <c:v>4.0739999999999998</c:v>
                </c:pt>
                <c:pt idx="3974">
                  <c:v>4.0999999999999996</c:v>
                </c:pt>
                <c:pt idx="3975">
                  <c:v>6.0310000000000006</c:v>
                </c:pt>
                <c:pt idx="3976">
                  <c:v>7.5</c:v>
                </c:pt>
                <c:pt idx="3977">
                  <c:v>9.0980000000000008</c:v>
                </c:pt>
                <c:pt idx="3978">
                  <c:v>13.6</c:v>
                </c:pt>
                <c:pt idx="3979">
                  <c:v>12.731</c:v>
                </c:pt>
                <c:pt idx="3980">
                  <c:v>11.712</c:v>
                </c:pt>
                <c:pt idx="3981">
                  <c:v>8.3409999999999993</c:v>
                </c:pt>
                <c:pt idx="3982">
                  <c:v>5.9420000000000002</c:v>
                </c:pt>
                <c:pt idx="3983">
                  <c:v>6.0679999999999996</c:v>
                </c:pt>
                <c:pt idx="3984">
                  <c:v>4.1040000000000001</c:v>
                </c:pt>
                <c:pt idx="3985">
                  <c:v>2.9969999999999999</c:v>
                </c:pt>
                <c:pt idx="3986">
                  <c:v>2.8860000000000001</c:v>
                </c:pt>
                <c:pt idx="3987">
                  <c:v>2.2510000000000003</c:v>
                </c:pt>
                <c:pt idx="3988">
                  <c:v>1.004</c:v>
                </c:pt>
                <c:pt idx="3989">
                  <c:v>0.154</c:v>
                </c:pt>
                <c:pt idx="3990">
                  <c:v>8.9999999999999993E-3</c:v>
                </c:pt>
                <c:pt idx="3991">
                  <c:v>0</c:v>
                </c:pt>
                <c:pt idx="3992">
                  <c:v>-6.0000000000000001E-3</c:v>
                </c:pt>
                <c:pt idx="3993">
                  <c:v>-1.008</c:v>
                </c:pt>
                <c:pt idx="3994">
                  <c:v>-2.9039999999999999</c:v>
                </c:pt>
                <c:pt idx="3995">
                  <c:v>-4.492</c:v>
                </c:pt>
                <c:pt idx="3996">
                  <c:v>-6.5459999999999994</c:v>
                </c:pt>
                <c:pt idx="3997">
                  <c:v>-8.0010000000000012</c:v>
                </c:pt>
                <c:pt idx="3998">
                  <c:v>-5.6229999999999993</c:v>
                </c:pt>
                <c:pt idx="3999">
                  <c:v>-2.9530000000000003</c:v>
                </c:pt>
                <c:pt idx="4000">
                  <c:v>-0.48399999999999999</c:v>
                </c:pt>
                <c:pt idx="4001">
                  <c:v>-1E-3</c:v>
                </c:pt>
                <c:pt idx="4002">
                  <c:v>4</c:v>
                </c:pt>
                <c:pt idx="4003">
                  <c:v>8.4280000000000008</c:v>
                </c:pt>
                <c:pt idx="4004">
                  <c:v>7.992</c:v>
                </c:pt>
                <c:pt idx="4005">
                  <c:v>6.43</c:v>
                </c:pt>
                <c:pt idx="4006">
                  <c:v>4.04</c:v>
                </c:pt>
                <c:pt idx="4007">
                  <c:v>2.4910000000000001</c:v>
                </c:pt>
                <c:pt idx="4008">
                  <c:v>1.036</c:v>
                </c:pt>
                <c:pt idx="4009">
                  <c:v>0.49199999999999999</c:v>
                </c:pt>
                <c:pt idx="4010">
                  <c:v>0.29199999999999998</c:v>
                </c:pt>
                <c:pt idx="4011">
                  <c:v>0.219</c:v>
                </c:pt>
                <c:pt idx="4012">
                  <c:v>0.253</c:v>
                </c:pt>
                <c:pt idx="4013">
                  <c:v>0.29500000000000004</c:v>
                </c:pt>
                <c:pt idx="4014">
                  <c:v>6.8999999999999992E-2</c:v>
                </c:pt>
                <c:pt idx="4015">
                  <c:v>-2E-3</c:v>
                </c:pt>
                <c:pt idx="4016">
                  <c:v>-0.128</c:v>
                </c:pt>
                <c:pt idx="4017">
                  <c:v>-1</c:v>
                </c:pt>
                <c:pt idx="4018">
                  <c:v>-1.333</c:v>
                </c:pt>
                <c:pt idx="4019">
                  <c:v>-2.0010000000000003</c:v>
                </c:pt>
                <c:pt idx="4020">
                  <c:v>-3.0010000000000003</c:v>
                </c:pt>
                <c:pt idx="4021">
                  <c:v>-3.5670000000000002</c:v>
                </c:pt>
                <c:pt idx="4022">
                  <c:v>-2.9039999999999999</c:v>
                </c:pt>
                <c:pt idx="4023">
                  <c:v>-1.014</c:v>
                </c:pt>
                <c:pt idx="4024">
                  <c:v>-0.23399999999999999</c:v>
                </c:pt>
                <c:pt idx="4025">
                  <c:v>5.6219999999999999</c:v>
                </c:pt>
                <c:pt idx="4026">
                  <c:v>9.9649999999999999</c:v>
                </c:pt>
                <c:pt idx="4027">
                  <c:v>11.915000000000001</c:v>
                </c:pt>
                <c:pt idx="4028">
                  <c:v>12.428000000000001</c:v>
                </c:pt>
                <c:pt idx="4029">
                  <c:v>12.034000000000001</c:v>
                </c:pt>
                <c:pt idx="4030">
                  <c:v>9.4439999999999991</c:v>
                </c:pt>
                <c:pt idx="4031">
                  <c:v>7.6620000000000008</c:v>
                </c:pt>
                <c:pt idx="4032">
                  <c:v>6.673</c:v>
                </c:pt>
                <c:pt idx="4033">
                  <c:v>6.8810000000000002</c:v>
                </c:pt>
                <c:pt idx="4034">
                  <c:v>7.181</c:v>
                </c:pt>
                <c:pt idx="4035">
                  <c:v>7.3559999999999999</c:v>
                </c:pt>
                <c:pt idx="4036">
                  <c:v>9.0019999999999989</c:v>
                </c:pt>
                <c:pt idx="4037">
                  <c:v>11.913</c:v>
                </c:pt>
                <c:pt idx="4038">
                  <c:v>13.268000000000001</c:v>
                </c:pt>
                <c:pt idx="4039">
                  <c:v>11.623000000000001</c:v>
                </c:pt>
                <c:pt idx="4040">
                  <c:v>8.4730000000000008</c:v>
                </c:pt>
                <c:pt idx="4041">
                  <c:v>6.2110000000000003</c:v>
                </c:pt>
                <c:pt idx="4042">
                  <c:v>5.5009999999999994</c:v>
                </c:pt>
                <c:pt idx="4043">
                  <c:v>4.1859999999999999</c:v>
                </c:pt>
                <c:pt idx="4044">
                  <c:v>3.9450000000000003</c:v>
                </c:pt>
                <c:pt idx="4045">
                  <c:v>4.6619999999999999</c:v>
                </c:pt>
                <c:pt idx="4046">
                  <c:v>5.4539999999999997</c:v>
                </c:pt>
                <c:pt idx="4047">
                  <c:v>6.4209999999999994</c:v>
                </c:pt>
                <c:pt idx="4048">
                  <c:v>8.8580000000000005</c:v>
                </c:pt>
                <c:pt idx="4049">
                  <c:v>11.416</c:v>
                </c:pt>
                <c:pt idx="4050">
                  <c:v>15.737</c:v>
                </c:pt>
                <c:pt idx="4051">
                  <c:v>21.015999999999998</c:v>
                </c:pt>
                <c:pt idx="4052">
                  <c:v>20.000999999999998</c:v>
                </c:pt>
                <c:pt idx="4053">
                  <c:v>12.815000000000001</c:v>
                </c:pt>
                <c:pt idx="4054">
                  <c:v>10.154999999999999</c:v>
                </c:pt>
                <c:pt idx="4055">
                  <c:v>9.6920000000000002</c:v>
                </c:pt>
                <c:pt idx="4056">
                  <c:v>9.0289999999999999</c:v>
                </c:pt>
                <c:pt idx="4057">
                  <c:v>8.7530000000000001</c:v>
                </c:pt>
                <c:pt idx="4058">
                  <c:v>8.9290000000000003</c:v>
                </c:pt>
                <c:pt idx="4059">
                  <c:v>9.0289999999999999</c:v>
                </c:pt>
                <c:pt idx="4060">
                  <c:v>9.5939999999999994</c:v>
                </c:pt>
                <c:pt idx="4061">
                  <c:v>13.449000000000002</c:v>
                </c:pt>
                <c:pt idx="4062">
                  <c:v>13.016999999999999</c:v>
                </c:pt>
                <c:pt idx="4063">
                  <c:v>9.5960000000000001</c:v>
                </c:pt>
                <c:pt idx="4064">
                  <c:v>8.09</c:v>
                </c:pt>
                <c:pt idx="4065">
                  <c:v>6.9909999999999997</c:v>
                </c:pt>
                <c:pt idx="4066">
                  <c:v>5.4809999999999999</c:v>
                </c:pt>
                <c:pt idx="4067">
                  <c:v>5.1159999999999997</c:v>
                </c:pt>
                <c:pt idx="4068">
                  <c:v>5.1029999999999998</c:v>
                </c:pt>
                <c:pt idx="4069">
                  <c:v>5.7039999999999997</c:v>
                </c:pt>
                <c:pt idx="4070">
                  <c:v>7.3120000000000003</c:v>
                </c:pt>
                <c:pt idx="4071">
                  <c:v>7.6239999999999997</c:v>
                </c:pt>
                <c:pt idx="4072">
                  <c:v>9.0060000000000002</c:v>
                </c:pt>
                <c:pt idx="4073">
                  <c:v>13.324999999999999</c:v>
                </c:pt>
                <c:pt idx="4074">
                  <c:v>15.818999999999999</c:v>
                </c:pt>
                <c:pt idx="4075">
                  <c:v>17.187000000000001</c:v>
                </c:pt>
                <c:pt idx="4076">
                  <c:v>13.446999999999999</c:v>
                </c:pt>
                <c:pt idx="4077">
                  <c:v>10.42</c:v>
                </c:pt>
                <c:pt idx="4078">
                  <c:v>9.1630000000000003</c:v>
                </c:pt>
                <c:pt idx="4079">
                  <c:v>9.995000000000001</c:v>
                </c:pt>
                <c:pt idx="4080">
                  <c:v>9.1430000000000007</c:v>
                </c:pt>
                <c:pt idx="4081">
                  <c:v>8.6849999999999987</c:v>
                </c:pt>
                <c:pt idx="4082">
                  <c:v>8.5779999999999994</c:v>
                </c:pt>
                <c:pt idx="4083">
                  <c:v>8.3469999999999995</c:v>
                </c:pt>
                <c:pt idx="4084">
                  <c:v>8.641</c:v>
                </c:pt>
                <c:pt idx="4085">
                  <c:v>11.254999999999999</c:v>
                </c:pt>
                <c:pt idx="4086">
                  <c:v>11.683</c:v>
                </c:pt>
                <c:pt idx="4087">
                  <c:v>10.733000000000001</c:v>
                </c:pt>
                <c:pt idx="4088">
                  <c:v>8.6310000000000002</c:v>
                </c:pt>
                <c:pt idx="4089">
                  <c:v>7.51</c:v>
                </c:pt>
                <c:pt idx="4090">
                  <c:v>6.6230000000000002</c:v>
                </c:pt>
                <c:pt idx="4091">
                  <c:v>5.8029999999999999</c:v>
                </c:pt>
                <c:pt idx="4092">
                  <c:v>3.9840000000000004</c:v>
                </c:pt>
                <c:pt idx="4093">
                  <c:v>2.2410000000000001</c:v>
                </c:pt>
                <c:pt idx="4094">
                  <c:v>2.3559999999999999</c:v>
                </c:pt>
                <c:pt idx="4095">
                  <c:v>5.99</c:v>
                </c:pt>
                <c:pt idx="4096">
                  <c:v>7</c:v>
                </c:pt>
                <c:pt idx="4097">
                  <c:v>8.8439999999999994</c:v>
                </c:pt>
                <c:pt idx="4098">
                  <c:v>10.290000000000001</c:v>
                </c:pt>
                <c:pt idx="4099">
                  <c:v>14.366</c:v>
                </c:pt>
                <c:pt idx="4100">
                  <c:v>11.507999999999999</c:v>
                </c:pt>
                <c:pt idx="4101">
                  <c:v>10.826000000000001</c:v>
                </c:pt>
                <c:pt idx="4102">
                  <c:v>9.3209999999999997</c:v>
                </c:pt>
                <c:pt idx="4103">
                  <c:v>8.5890000000000004</c:v>
                </c:pt>
                <c:pt idx="4104">
                  <c:v>7.8620000000000001</c:v>
                </c:pt>
                <c:pt idx="4105">
                  <c:v>7.8879999999999999</c:v>
                </c:pt>
                <c:pt idx="4106">
                  <c:v>7.8819999999999997</c:v>
                </c:pt>
                <c:pt idx="4107">
                  <c:v>7.8620000000000001</c:v>
                </c:pt>
                <c:pt idx="4108">
                  <c:v>8.6549999999999994</c:v>
                </c:pt>
                <c:pt idx="4109">
                  <c:v>11.411</c:v>
                </c:pt>
                <c:pt idx="4110">
                  <c:v>11.284000000000001</c:v>
                </c:pt>
                <c:pt idx="4111">
                  <c:v>10.298999999999999</c:v>
                </c:pt>
                <c:pt idx="4112">
                  <c:v>8.0689999999999991</c:v>
                </c:pt>
                <c:pt idx="4113">
                  <c:v>6.9129999999999994</c:v>
                </c:pt>
                <c:pt idx="4114">
                  <c:v>5.8770000000000007</c:v>
                </c:pt>
                <c:pt idx="4115">
                  <c:v>5.5460000000000003</c:v>
                </c:pt>
                <c:pt idx="4116">
                  <c:v>5.3810000000000002</c:v>
                </c:pt>
                <c:pt idx="4117">
                  <c:v>5.718</c:v>
                </c:pt>
                <c:pt idx="4118">
                  <c:v>6.8579999999999997</c:v>
                </c:pt>
                <c:pt idx="4119">
                  <c:v>8</c:v>
                </c:pt>
                <c:pt idx="4120">
                  <c:v>9.827</c:v>
                </c:pt>
                <c:pt idx="4121">
                  <c:v>11.931000000000001</c:v>
                </c:pt>
                <c:pt idx="4122">
                  <c:v>15.562000000000001</c:v>
                </c:pt>
                <c:pt idx="4123">
                  <c:v>20.009</c:v>
                </c:pt>
                <c:pt idx="4124">
                  <c:v>13.006</c:v>
                </c:pt>
                <c:pt idx="4125">
                  <c:v>11.183</c:v>
                </c:pt>
                <c:pt idx="4126">
                  <c:v>9.504999999999999</c:v>
                </c:pt>
                <c:pt idx="4127">
                  <c:v>10.081</c:v>
                </c:pt>
                <c:pt idx="4128">
                  <c:v>9.077</c:v>
                </c:pt>
                <c:pt idx="4129">
                  <c:v>8.995000000000001</c:v>
                </c:pt>
                <c:pt idx="4130">
                  <c:v>8.7829999999999995</c:v>
                </c:pt>
                <c:pt idx="4131">
                  <c:v>8.6310000000000002</c:v>
                </c:pt>
                <c:pt idx="4132">
                  <c:v>8.6140000000000008</c:v>
                </c:pt>
                <c:pt idx="4133">
                  <c:v>9.6920000000000002</c:v>
                </c:pt>
                <c:pt idx="4134">
                  <c:v>12.28</c:v>
                </c:pt>
                <c:pt idx="4135">
                  <c:v>12.184000000000001</c:v>
                </c:pt>
                <c:pt idx="4136">
                  <c:v>11.167</c:v>
                </c:pt>
                <c:pt idx="4137">
                  <c:v>10.065000000000001</c:v>
                </c:pt>
                <c:pt idx="4138">
                  <c:v>8.9939999999999998</c:v>
                </c:pt>
                <c:pt idx="4139">
                  <c:v>8.854000000000001</c:v>
                </c:pt>
                <c:pt idx="4140">
                  <c:v>8.2680000000000007</c:v>
                </c:pt>
                <c:pt idx="4141">
                  <c:v>7.8220000000000001</c:v>
                </c:pt>
                <c:pt idx="4142">
                  <c:v>8.2029999999999994</c:v>
                </c:pt>
                <c:pt idx="4143">
                  <c:v>8.8849999999999998</c:v>
                </c:pt>
                <c:pt idx="4144">
                  <c:v>10.065000000000001</c:v>
                </c:pt>
                <c:pt idx="4145">
                  <c:v>11</c:v>
                </c:pt>
                <c:pt idx="4146">
                  <c:v>11.693000000000001</c:v>
                </c:pt>
                <c:pt idx="4147">
                  <c:v>11.440000000000001</c:v>
                </c:pt>
                <c:pt idx="4148">
                  <c:v>10.526</c:v>
                </c:pt>
                <c:pt idx="4149">
                  <c:v>9.5990000000000002</c:v>
                </c:pt>
                <c:pt idx="4150">
                  <c:v>8.2140000000000004</c:v>
                </c:pt>
                <c:pt idx="4151">
                  <c:v>8.0069999999999997</c:v>
                </c:pt>
                <c:pt idx="4152">
                  <c:v>7.0250000000000004</c:v>
                </c:pt>
                <c:pt idx="4153">
                  <c:v>6.2430000000000003</c:v>
                </c:pt>
                <c:pt idx="4154">
                  <c:v>5.05</c:v>
                </c:pt>
                <c:pt idx="4155">
                  <c:v>4.9619999999999997</c:v>
                </c:pt>
                <c:pt idx="4156">
                  <c:v>4.6470000000000002</c:v>
                </c:pt>
                <c:pt idx="4157">
                  <c:v>6.056</c:v>
                </c:pt>
                <c:pt idx="4158">
                  <c:v>4.8890000000000002</c:v>
                </c:pt>
                <c:pt idx="4159">
                  <c:v>4.492</c:v>
                </c:pt>
                <c:pt idx="4160">
                  <c:v>3.4649999999999999</c:v>
                </c:pt>
                <c:pt idx="4161">
                  <c:v>1.254</c:v>
                </c:pt>
                <c:pt idx="4162">
                  <c:v>0.35899999999999999</c:v>
                </c:pt>
                <c:pt idx="4163">
                  <c:v>0.26200000000000001</c:v>
                </c:pt>
                <c:pt idx="4164">
                  <c:v>3.0000000000000001E-3</c:v>
                </c:pt>
                <c:pt idx="4165">
                  <c:v>-1E-3</c:v>
                </c:pt>
                <c:pt idx="4166">
                  <c:v>-7.000000000000001E-3</c:v>
                </c:pt>
                <c:pt idx="4167">
                  <c:v>0.42300000000000004</c:v>
                </c:pt>
                <c:pt idx="4168">
                  <c:v>4.2590000000000003</c:v>
                </c:pt>
                <c:pt idx="4169">
                  <c:v>8.0489999999999995</c:v>
                </c:pt>
                <c:pt idx="4170">
                  <c:v>11.215999999999999</c:v>
                </c:pt>
                <c:pt idx="4171">
                  <c:v>12.281000000000001</c:v>
                </c:pt>
                <c:pt idx="4172">
                  <c:v>12.404999999999999</c:v>
                </c:pt>
                <c:pt idx="4173">
                  <c:v>11.016999999999999</c:v>
                </c:pt>
                <c:pt idx="4174">
                  <c:v>8.9770000000000003</c:v>
                </c:pt>
                <c:pt idx="4175">
                  <c:v>9.0489999999999995</c:v>
                </c:pt>
                <c:pt idx="4176">
                  <c:v>7.9249999999999998</c:v>
                </c:pt>
                <c:pt idx="4177">
                  <c:v>7.1239999999999997</c:v>
                </c:pt>
                <c:pt idx="4178">
                  <c:v>7.0670000000000002</c:v>
                </c:pt>
                <c:pt idx="4179">
                  <c:v>6.694</c:v>
                </c:pt>
                <c:pt idx="4180">
                  <c:v>6.2090000000000005</c:v>
                </c:pt>
                <c:pt idx="4181">
                  <c:v>5.79</c:v>
                </c:pt>
                <c:pt idx="4182">
                  <c:v>4.6349999999999998</c:v>
                </c:pt>
                <c:pt idx="4183">
                  <c:v>1.9769999999999999</c:v>
                </c:pt>
                <c:pt idx="4184">
                  <c:v>0.42400000000000004</c:v>
                </c:pt>
                <c:pt idx="4185">
                  <c:v>0</c:v>
                </c:pt>
                <c:pt idx="4186">
                  <c:v>-5.0000000000000001E-3</c:v>
                </c:pt>
                <c:pt idx="4187">
                  <c:v>-0.01</c:v>
                </c:pt>
                <c:pt idx="4188">
                  <c:v>-0.10500000000000001</c:v>
                </c:pt>
                <c:pt idx="4189">
                  <c:v>-0.221</c:v>
                </c:pt>
                <c:pt idx="4190">
                  <c:v>-0.20499999999999999</c:v>
                </c:pt>
                <c:pt idx="4191">
                  <c:v>-2.7000000000000003E-2</c:v>
                </c:pt>
                <c:pt idx="4192">
                  <c:v>2.2610000000000001</c:v>
                </c:pt>
                <c:pt idx="4193">
                  <c:v>7.1120000000000001</c:v>
                </c:pt>
                <c:pt idx="4194">
                  <c:v>9.9499999999999993</c:v>
                </c:pt>
                <c:pt idx="4195">
                  <c:v>11.513999999999999</c:v>
                </c:pt>
                <c:pt idx="4196">
                  <c:v>11.544</c:v>
                </c:pt>
                <c:pt idx="4197">
                  <c:v>11.433</c:v>
                </c:pt>
                <c:pt idx="4198">
                  <c:v>9.979000000000001</c:v>
                </c:pt>
                <c:pt idx="4199">
                  <c:v>10.618</c:v>
                </c:pt>
                <c:pt idx="4200">
                  <c:v>9.2189999999999994</c:v>
                </c:pt>
                <c:pt idx="4201">
                  <c:v>8.4930000000000003</c:v>
                </c:pt>
                <c:pt idx="4202">
                  <c:v>8.4459999999999997</c:v>
                </c:pt>
                <c:pt idx="4203">
                  <c:v>8.4959999999999987</c:v>
                </c:pt>
                <c:pt idx="4204">
                  <c:v>9.702</c:v>
                </c:pt>
                <c:pt idx="4205">
                  <c:v>13.606</c:v>
                </c:pt>
                <c:pt idx="4206">
                  <c:v>13.6</c:v>
                </c:pt>
                <c:pt idx="4207">
                  <c:v>10.298999999999999</c:v>
                </c:pt>
                <c:pt idx="4208">
                  <c:v>7.9340000000000002</c:v>
                </c:pt>
                <c:pt idx="4209">
                  <c:v>5.3879999999999999</c:v>
                </c:pt>
                <c:pt idx="4210">
                  <c:v>3.7810000000000001</c:v>
                </c:pt>
                <c:pt idx="4211">
                  <c:v>3.1190000000000002</c:v>
                </c:pt>
                <c:pt idx="4212">
                  <c:v>2.996</c:v>
                </c:pt>
                <c:pt idx="4213">
                  <c:v>3.093</c:v>
                </c:pt>
                <c:pt idx="4214">
                  <c:v>4.7850000000000001</c:v>
                </c:pt>
                <c:pt idx="4215">
                  <c:v>6.6319999999999997</c:v>
                </c:pt>
                <c:pt idx="4216">
                  <c:v>8.2489999999999988</c:v>
                </c:pt>
                <c:pt idx="4217">
                  <c:v>9.8390000000000004</c:v>
                </c:pt>
                <c:pt idx="4218">
                  <c:v>15.330000000000002</c:v>
                </c:pt>
                <c:pt idx="4219">
                  <c:v>20.931999999999999</c:v>
                </c:pt>
                <c:pt idx="4220">
                  <c:v>15.6</c:v>
                </c:pt>
                <c:pt idx="4221">
                  <c:v>11.659000000000001</c:v>
                </c:pt>
                <c:pt idx="4222">
                  <c:v>9.1890000000000001</c:v>
                </c:pt>
                <c:pt idx="4223">
                  <c:v>8.879999999999999</c:v>
                </c:pt>
                <c:pt idx="4224">
                  <c:v>8.48</c:v>
                </c:pt>
                <c:pt idx="4225">
                  <c:v>8.4779999999999998</c:v>
                </c:pt>
                <c:pt idx="4226">
                  <c:v>8.5220000000000002</c:v>
                </c:pt>
                <c:pt idx="4227">
                  <c:v>8.5500000000000007</c:v>
                </c:pt>
                <c:pt idx="4228">
                  <c:v>9.49</c:v>
                </c:pt>
                <c:pt idx="4229">
                  <c:v>11.48</c:v>
                </c:pt>
                <c:pt idx="4230">
                  <c:v>12.2</c:v>
                </c:pt>
                <c:pt idx="4231">
                  <c:v>10.379999999999999</c:v>
                </c:pt>
                <c:pt idx="4232">
                  <c:v>7.4640000000000004</c:v>
                </c:pt>
                <c:pt idx="4233">
                  <c:v>4.8319999999999999</c:v>
                </c:pt>
                <c:pt idx="4234">
                  <c:v>1.2829999999999999</c:v>
                </c:pt>
                <c:pt idx="4235">
                  <c:v>0</c:v>
                </c:pt>
                <c:pt idx="4236">
                  <c:v>-5.0000000000000001E-3</c:v>
                </c:pt>
                <c:pt idx="4237">
                  <c:v>-4.0000000000000001E-3</c:v>
                </c:pt>
                <c:pt idx="4238">
                  <c:v>1.159</c:v>
                </c:pt>
                <c:pt idx="4239">
                  <c:v>4.8369999999999997</c:v>
                </c:pt>
                <c:pt idx="4240">
                  <c:v>7.4</c:v>
                </c:pt>
                <c:pt idx="4241">
                  <c:v>9.59</c:v>
                </c:pt>
                <c:pt idx="4242">
                  <c:v>12.89</c:v>
                </c:pt>
                <c:pt idx="4243">
                  <c:v>13.669</c:v>
                </c:pt>
                <c:pt idx="4244">
                  <c:v>12.209</c:v>
                </c:pt>
                <c:pt idx="4245">
                  <c:v>10.657</c:v>
                </c:pt>
                <c:pt idx="4246">
                  <c:v>8.995000000000001</c:v>
                </c:pt>
                <c:pt idx="4247">
                  <c:v>30.002999999999997</c:v>
                </c:pt>
                <c:pt idx="4248">
                  <c:v>23.512999999999998</c:v>
                </c:pt>
                <c:pt idx="4249">
                  <c:v>27.975000000000001</c:v>
                </c:pt>
                <c:pt idx="4250">
                  <c:v>40</c:v>
                </c:pt>
                <c:pt idx="4251">
                  <c:v>40.004000000000005</c:v>
                </c:pt>
                <c:pt idx="4252">
                  <c:v>98.871000000000009</c:v>
                </c:pt>
                <c:pt idx="4253">
                  <c:v>232.583</c:v>
                </c:pt>
                <c:pt idx="4254">
                  <c:v>100</c:v>
                </c:pt>
                <c:pt idx="4255">
                  <c:v>40.000999999999998</c:v>
                </c:pt>
                <c:pt idx="4256">
                  <c:v>9.8099999999999987</c:v>
                </c:pt>
                <c:pt idx="4257">
                  <c:v>6.1479999999999997</c:v>
                </c:pt>
                <c:pt idx="4258">
                  <c:v>2.4940000000000002</c:v>
                </c:pt>
                <c:pt idx="4259">
                  <c:v>-6.0000000000000001E-3</c:v>
                </c:pt>
                <c:pt idx="4260">
                  <c:v>-2E-3</c:v>
                </c:pt>
                <c:pt idx="4261">
                  <c:v>0.623</c:v>
                </c:pt>
                <c:pt idx="4262">
                  <c:v>6.5030000000000001</c:v>
                </c:pt>
                <c:pt idx="4263">
                  <c:v>7.5840000000000005</c:v>
                </c:pt>
                <c:pt idx="4264">
                  <c:v>14.269</c:v>
                </c:pt>
                <c:pt idx="4265">
                  <c:v>40.006999999999998</c:v>
                </c:pt>
                <c:pt idx="4266">
                  <c:v>99.909000000000006</c:v>
                </c:pt>
                <c:pt idx="4267">
                  <c:v>179.63200000000001</c:v>
                </c:pt>
                <c:pt idx="4268">
                  <c:v>100.46599999999999</c:v>
                </c:pt>
                <c:pt idx="4269">
                  <c:v>40.491</c:v>
                </c:pt>
                <c:pt idx="4270">
                  <c:v>40.006</c:v>
                </c:pt>
                <c:pt idx="4271">
                  <c:v>9.6</c:v>
                </c:pt>
                <c:pt idx="4272">
                  <c:v>8.6900000000000013</c:v>
                </c:pt>
                <c:pt idx="4273">
                  <c:v>8.0400000000000009</c:v>
                </c:pt>
                <c:pt idx="4274">
                  <c:v>8.2840000000000007</c:v>
                </c:pt>
                <c:pt idx="4275">
                  <c:v>7.8790000000000004</c:v>
                </c:pt>
                <c:pt idx="4276">
                  <c:v>8.4980000000000011</c:v>
                </c:pt>
                <c:pt idx="4277">
                  <c:v>11.751000000000001</c:v>
                </c:pt>
                <c:pt idx="4278">
                  <c:v>12.510999999999999</c:v>
                </c:pt>
                <c:pt idx="4279">
                  <c:v>11.5</c:v>
                </c:pt>
                <c:pt idx="4280">
                  <c:v>8.8870000000000005</c:v>
                </c:pt>
                <c:pt idx="4281">
                  <c:v>6.6739999999999995</c:v>
                </c:pt>
                <c:pt idx="4282">
                  <c:v>5.24</c:v>
                </c:pt>
                <c:pt idx="4283">
                  <c:v>4.8819999999999997</c:v>
                </c:pt>
                <c:pt idx="4284">
                  <c:v>4.5310000000000006</c:v>
                </c:pt>
                <c:pt idx="4285">
                  <c:v>4.4560000000000004</c:v>
                </c:pt>
                <c:pt idx="4286">
                  <c:v>4.8390000000000004</c:v>
                </c:pt>
                <c:pt idx="4287">
                  <c:v>6.1920000000000002</c:v>
                </c:pt>
                <c:pt idx="4288">
                  <c:v>7.5590000000000002</c:v>
                </c:pt>
                <c:pt idx="4289">
                  <c:v>7.9530000000000003</c:v>
                </c:pt>
                <c:pt idx="4290">
                  <c:v>11.007999999999999</c:v>
                </c:pt>
                <c:pt idx="4291">
                  <c:v>20.003999999999998</c:v>
                </c:pt>
                <c:pt idx="4292">
                  <c:v>18.618000000000002</c:v>
                </c:pt>
                <c:pt idx="4293">
                  <c:v>12.520999999999999</c:v>
                </c:pt>
                <c:pt idx="4294">
                  <c:v>10.18</c:v>
                </c:pt>
                <c:pt idx="4295">
                  <c:v>9.6849999999999987</c:v>
                </c:pt>
                <c:pt idx="4296">
                  <c:v>9.5419999999999998</c:v>
                </c:pt>
                <c:pt idx="4297">
                  <c:v>8.6080000000000005</c:v>
                </c:pt>
                <c:pt idx="4298">
                  <c:v>7.9969999999999999</c:v>
                </c:pt>
                <c:pt idx="4299">
                  <c:v>8.3610000000000007</c:v>
                </c:pt>
                <c:pt idx="4300">
                  <c:v>9.1280000000000001</c:v>
                </c:pt>
                <c:pt idx="4301">
                  <c:v>12.029</c:v>
                </c:pt>
                <c:pt idx="4302">
                  <c:v>10.893000000000001</c:v>
                </c:pt>
                <c:pt idx="4303">
                  <c:v>8.4890000000000008</c:v>
                </c:pt>
                <c:pt idx="4304">
                  <c:v>5.99</c:v>
                </c:pt>
                <c:pt idx="4305">
                  <c:v>2.4449999999999998</c:v>
                </c:pt>
                <c:pt idx="4306">
                  <c:v>0.20299999999999999</c:v>
                </c:pt>
                <c:pt idx="4307">
                  <c:v>-0.156</c:v>
                </c:pt>
                <c:pt idx="4308">
                  <c:v>-0.50900000000000001</c:v>
                </c:pt>
                <c:pt idx="4309">
                  <c:v>-0.99499999999999988</c:v>
                </c:pt>
                <c:pt idx="4310">
                  <c:v>-0.99099999999999999</c:v>
                </c:pt>
                <c:pt idx="4311">
                  <c:v>-0.64800000000000002</c:v>
                </c:pt>
                <c:pt idx="4312">
                  <c:v>0.36199999999999999</c:v>
                </c:pt>
                <c:pt idx="4313">
                  <c:v>4.1979999999999995</c:v>
                </c:pt>
                <c:pt idx="4314">
                  <c:v>8.4319999999999986</c:v>
                </c:pt>
                <c:pt idx="4315">
                  <c:v>10.893000000000001</c:v>
                </c:pt>
                <c:pt idx="4316">
                  <c:v>13.806000000000001</c:v>
                </c:pt>
                <c:pt idx="4317">
                  <c:v>12.657</c:v>
                </c:pt>
                <c:pt idx="4318">
                  <c:v>10.901999999999999</c:v>
                </c:pt>
                <c:pt idx="4319">
                  <c:v>11.040000000000001</c:v>
                </c:pt>
                <c:pt idx="4320">
                  <c:v>10.991</c:v>
                </c:pt>
                <c:pt idx="4321">
                  <c:v>10.989000000000001</c:v>
                </c:pt>
                <c:pt idx="4322">
                  <c:v>10.956</c:v>
                </c:pt>
                <c:pt idx="4323">
                  <c:v>10.809000000000001</c:v>
                </c:pt>
                <c:pt idx="4324">
                  <c:v>10.306999999999999</c:v>
                </c:pt>
                <c:pt idx="4325">
                  <c:v>9.6620000000000008</c:v>
                </c:pt>
                <c:pt idx="4326">
                  <c:v>8.4139999999999997</c:v>
                </c:pt>
                <c:pt idx="4327">
                  <c:v>6.6909999999999998</c:v>
                </c:pt>
                <c:pt idx="4328">
                  <c:v>2.9579999999999997</c:v>
                </c:pt>
                <c:pt idx="4329">
                  <c:v>0.504</c:v>
                </c:pt>
                <c:pt idx="4330">
                  <c:v>4.0000000000000001E-3</c:v>
                </c:pt>
                <c:pt idx="4331">
                  <c:v>-2E-3</c:v>
                </c:pt>
                <c:pt idx="4332">
                  <c:v>-2.3E-2</c:v>
                </c:pt>
                <c:pt idx="4333">
                  <c:v>-8.0000000000000002E-3</c:v>
                </c:pt>
                <c:pt idx="4334">
                  <c:v>0.13</c:v>
                </c:pt>
                <c:pt idx="4335">
                  <c:v>1.1910000000000001</c:v>
                </c:pt>
                <c:pt idx="4336">
                  <c:v>6.9510000000000005</c:v>
                </c:pt>
                <c:pt idx="4337">
                  <c:v>10.43</c:v>
                </c:pt>
                <c:pt idx="4338">
                  <c:v>12.693000000000001</c:v>
                </c:pt>
                <c:pt idx="4339">
                  <c:v>13.919999999999998</c:v>
                </c:pt>
                <c:pt idx="4340">
                  <c:v>11.33</c:v>
                </c:pt>
                <c:pt idx="4341">
                  <c:v>10.007999999999999</c:v>
                </c:pt>
                <c:pt idx="4342">
                  <c:v>9.3829999999999991</c:v>
                </c:pt>
                <c:pt idx="4343">
                  <c:v>7.0060000000000002</c:v>
                </c:pt>
                <c:pt idx="4344">
                  <c:v>6.1689999999999996</c:v>
                </c:pt>
                <c:pt idx="4345">
                  <c:v>6.6669999999999998</c:v>
                </c:pt>
                <c:pt idx="4346">
                  <c:v>6.7050000000000001</c:v>
                </c:pt>
                <c:pt idx="4347">
                  <c:v>6.4359999999999999</c:v>
                </c:pt>
                <c:pt idx="4348">
                  <c:v>5.1390000000000002</c:v>
                </c:pt>
                <c:pt idx="4349">
                  <c:v>5.1560000000000006</c:v>
                </c:pt>
                <c:pt idx="4350">
                  <c:v>2.0420000000000003</c:v>
                </c:pt>
                <c:pt idx="4351">
                  <c:v>0.68300000000000005</c:v>
                </c:pt>
                <c:pt idx="4352">
                  <c:v>8.199999999999999E-2</c:v>
                </c:pt>
                <c:pt idx="4353">
                  <c:v>0</c:v>
                </c:pt>
                <c:pt idx="4354">
                  <c:v>0</c:v>
                </c:pt>
                <c:pt idx="4355">
                  <c:v>-2E-3</c:v>
                </c:pt>
                <c:pt idx="4356">
                  <c:v>-0.151</c:v>
                </c:pt>
                <c:pt idx="4357">
                  <c:v>-0.10900000000000001</c:v>
                </c:pt>
                <c:pt idx="4358">
                  <c:v>0</c:v>
                </c:pt>
                <c:pt idx="4359">
                  <c:v>9.0999999999999998E-2</c:v>
                </c:pt>
                <c:pt idx="4360">
                  <c:v>3.6659999999999995</c:v>
                </c:pt>
                <c:pt idx="4361">
                  <c:v>7.0019999999999998</c:v>
                </c:pt>
                <c:pt idx="4362">
                  <c:v>8.7260000000000009</c:v>
                </c:pt>
                <c:pt idx="4363">
                  <c:v>9.99</c:v>
                </c:pt>
                <c:pt idx="4364">
                  <c:v>10.239000000000001</c:v>
                </c:pt>
                <c:pt idx="4365">
                  <c:v>10.215999999999999</c:v>
                </c:pt>
                <c:pt idx="4366">
                  <c:v>9.3010000000000002</c:v>
                </c:pt>
                <c:pt idx="4367">
                  <c:v>9.4879999999999995</c:v>
                </c:pt>
                <c:pt idx="4368">
                  <c:v>8.4319999999999986</c:v>
                </c:pt>
                <c:pt idx="4369">
                  <c:v>7.819</c:v>
                </c:pt>
                <c:pt idx="4370">
                  <c:v>7.8010000000000002</c:v>
                </c:pt>
                <c:pt idx="4371">
                  <c:v>7.5629999999999997</c:v>
                </c:pt>
                <c:pt idx="4372">
                  <c:v>8.081999999999999</c:v>
                </c:pt>
                <c:pt idx="4373">
                  <c:v>12.218999999999999</c:v>
                </c:pt>
                <c:pt idx="4374">
                  <c:v>14.13</c:v>
                </c:pt>
                <c:pt idx="4375">
                  <c:v>14.236000000000001</c:v>
                </c:pt>
                <c:pt idx="4376">
                  <c:v>11.556999999999999</c:v>
                </c:pt>
                <c:pt idx="4377">
                  <c:v>10.701000000000001</c:v>
                </c:pt>
                <c:pt idx="4378">
                  <c:v>9.1669999999999998</c:v>
                </c:pt>
                <c:pt idx="4379">
                  <c:v>7.7379999999999995</c:v>
                </c:pt>
                <c:pt idx="4380">
                  <c:v>6.99</c:v>
                </c:pt>
                <c:pt idx="4381">
                  <c:v>3.992</c:v>
                </c:pt>
                <c:pt idx="4382">
                  <c:v>3.4609999999999999</c:v>
                </c:pt>
                <c:pt idx="4383">
                  <c:v>3.7630000000000003</c:v>
                </c:pt>
                <c:pt idx="4384">
                  <c:v>6.2200000000000006</c:v>
                </c:pt>
                <c:pt idx="4385">
                  <c:v>7.8040000000000003</c:v>
                </c:pt>
                <c:pt idx="4386">
                  <c:v>10.247</c:v>
                </c:pt>
                <c:pt idx="4387">
                  <c:v>16.678999999999998</c:v>
                </c:pt>
                <c:pt idx="4388">
                  <c:v>12.91</c:v>
                </c:pt>
                <c:pt idx="4389">
                  <c:v>10.751000000000001</c:v>
                </c:pt>
                <c:pt idx="4390">
                  <c:v>8.7880000000000003</c:v>
                </c:pt>
                <c:pt idx="4391">
                  <c:v>8.1590000000000007</c:v>
                </c:pt>
                <c:pt idx="4392">
                  <c:v>7.9930000000000003</c:v>
                </c:pt>
                <c:pt idx="4393">
                  <c:v>8.206999999999999</c:v>
                </c:pt>
                <c:pt idx="4394">
                  <c:v>8.0950000000000006</c:v>
                </c:pt>
                <c:pt idx="4395">
                  <c:v>8.1989999999999998</c:v>
                </c:pt>
                <c:pt idx="4396">
                  <c:v>8.1989999999999998</c:v>
                </c:pt>
                <c:pt idx="4397">
                  <c:v>9.65</c:v>
                </c:pt>
                <c:pt idx="4398">
                  <c:v>10.068999999999999</c:v>
                </c:pt>
                <c:pt idx="4399">
                  <c:v>10.126999999999999</c:v>
                </c:pt>
                <c:pt idx="4400">
                  <c:v>8.75</c:v>
                </c:pt>
                <c:pt idx="4401">
                  <c:v>8.3109999999999999</c:v>
                </c:pt>
                <c:pt idx="4402">
                  <c:v>7.4560000000000004</c:v>
                </c:pt>
                <c:pt idx="4403">
                  <c:v>7.2720000000000002</c:v>
                </c:pt>
                <c:pt idx="4404">
                  <c:v>6.9159999999999995</c:v>
                </c:pt>
                <c:pt idx="4405">
                  <c:v>6.093</c:v>
                </c:pt>
                <c:pt idx="4406">
                  <c:v>6.2729999999999997</c:v>
                </c:pt>
                <c:pt idx="4407">
                  <c:v>7.4219999999999997</c:v>
                </c:pt>
                <c:pt idx="4408">
                  <c:v>7.5900000000000007</c:v>
                </c:pt>
                <c:pt idx="4409">
                  <c:v>8.479000000000001</c:v>
                </c:pt>
                <c:pt idx="4410">
                  <c:v>10.363</c:v>
                </c:pt>
                <c:pt idx="4411">
                  <c:v>11.5</c:v>
                </c:pt>
                <c:pt idx="4412">
                  <c:v>10.995999999999999</c:v>
                </c:pt>
                <c:pt idx="4413">
                  <c:v>10.904999999999999</c:v>
                </c:pt>
                <c:pt idx="4414">
                  <c:v>8.6</c:v>
                </c:pt>
                <c:pt idx="4415">
                  <c:v>6.819</c:v>
                </c:pt>
                <c:pt idx="4416">
                  <c:v>6.5299999999999994</c:v>
                </c:pt>
                <c:pt idx="4417">
                  <c:v>6.3179999999999996</c:v>
                </c:pt>
                <c:pt idx="4418">
                  <c:v>6.5579999999999998</c:v>
                </c:pt>
                <c:pt idx="4419">
                  <c:v>7.1139999999999999</c:v>
                </c:pt>
                <c:pt idx="4420">
                  <c:v>7.891</c:v>
                </c:pt>
                <c:pt idx="4421">
                  <c:v>10.025</c:v>
                </c:pt>
                <c:pt idx="4422">
                  <c:v>11.651</c:v>
                </c:pt>
                <c:pt idx="4423">
                  <c:v>11.5</c:v>
                </c:pt>
                <c:pt idx="4424">
                  <c:v>9.0590000000000011</c:v>
                </c:pt>
                <c:pt idx="4425">
                  <c:v>7.6629999999999994</c:v>
                </c:pt>
                <c:pt idx="4426">
                  <c:v>7.31</c:v>
                </c:pt>
                <c:pt idx="4427">
                  <c:v>7.1760000000000002</c:v>
                </c:pt>
                <c:pt idx="4428">
                  <c:v>7.1139999999999999</c:v>
                </c:pt>
                <c:pt idx="4429">
                  <c:v>7.3120000000000003</c:v>
                </c:pt>
                <c:pt idx="4430">
                  <c:v>7.1980000000000004</c:v>
                </c:pt>
                <c:pt idx="4431">
                  <c:v>7.4010000000000007</c:v>
                </c:pt>
                <c:pt idx="4432">
                  <c:v>8.6969999999999992</c:v>
                </c:pt>
                <c:pt idx="4433">
                  <c:v>9.9599999999999991</c:v>
                </c:pt>
                <c:pt idx="4434">
                  <c:v>11.879000000000001</c:v>
                </c:pt>
                <c:pt idx="4435">
                  <c:v>16.388999999999999</c:v>
                </c:pt>
                <c:pt idx="4436">
                  <c:v>11.587999999999999</c:v>
                </c:pt>
                <c:pt idx="4437">
                  <c:v>9.532</c:v>
                </c:pt>
                <c:pt idx="4438">
                  <c:v>7.6099999999999994</c:v>
                </c:pt>
                <c:pt idx="4439">
                  <c:v>6.4239999999999995</c:v>
                </c:pt>
                <c:pt idx="4440">
                  <c:v>5.194</c:v>
                </c:pt>
                <c:pt idx="4441">
                  <c:v>2.6459999999999999</c:v>
                </c:pt>
                <c:pt idx="4442">
                  <c:v>1.8010000000000002</c:v>
                </c:pt>
                <c:pt idx="4443">
                  <c:v>1.008</c:v>
                </c:pt>
                <c:pt idx="4444">
                  <c:v>1.0269999999999999</c:v>
                </c:pt>
                <c:pt idx="4445">
                  <c:v>3.6429999999999998</c:v>
                </c:pt>
                <c:pt idx="4446">
                  <c:v>4</c:v>
                </c:pt>
                <c:pt idx="4447">
                  <c:v>3.3560000000000003</c:v>
                </c:pt>
                <c:pt idx="4448">
                  <c:v>2.2649999999999997</c:v>
                </c:pt>
                <c:pt idx="4449">
                  <c:v>0.19</c:v>
                </c:pt>
                <c:pt idx="4450">
                  <c:v>0</c:v>
                </c:pt>
                <c:pt idx="4451">
                  <c:v>-4.0000000000000001E-3</c:v>
                </c:pt>
                <c:pt idx="4452">
                  <c:v>-0.503</c:v>
                </c:pt>
                <c:pt idx="4453">
                  <c:v>-1.909</c:v>
                </c:pt>
                <c:pt idx="4454">
                  <c:v>-1.8030000000000002</c:v>
                </c:pt>
                <c:pt idx="4455">
                  <c:v>-0.86999999999999988</c:v>
                </c:pt>
                <c:pt idx="4456">
                  <c:v>-3.0000000000000001E-3</c:v>
                </c:pt>
                <c:pt idx="4457">
                  <c:v>0.67699999999999994</c:v>
                </c:pt>
                <c:pt idx="4458">
                  <c:v>4.9850000000000003</c:v>
                </c:pt>
                <c:pt idx="4459">
                  <c:v>8.6909999999999989</c:v>
                </c:pt>
                <c:pt idx="4460">
                  <c:v>11.53</c:v>
                </c:pt>
                <c:pt idx="4461">
                  <c:v>8.6909999999999989</c:v>
                </c:pt>
                <c:pt idx="4462">
                  <c:v>6.4010000000000007</c:v>
                </c:pt>
                <c:pt idx="4463">
                  <c:v>3.141</c:v>
                </c:pt>
                <c:pt idx="4464">
                  <c:v>2.0129999999999999</c:v>
                </c:pt>
                <c:pt idx="4465">
                  <c:v>2.0590000000000002</c:v>
                </c:pt>
                <c:pt idx="4466">
                  <c:v>1.9789999999999999</c:v>
                </c:pt>
                <c:pt idx="4467">
                  <c:v>0.89800000000000002</c:v>
                </c:pt>
                <c:pt idx="4468">
                  <c:v>1.0009999999999999</c:v>
                </c:pt>
                <c:pt idx="4469">
                  <c:v>3.819</c:v>
                </c:pt>
                <c:pt idx="4470">
                  <c:v>4.5750000000000002</c:v>
                </c:pt>
                <c:pt idx="4471">
                  <c:v>3.9430000000000001</c:v>
                </c:pt>
                <c:pt idx="4472">
                  <c:v>1.8559999999999999</c:v>
                </c:pt>
                <c:pt idx="4473">
                  <c:v>0.29500000000000004</c:v>
                </c:pt>
                <c:pt idx="4474">
                  <c:v>4.0999999999999995E-2</c:v>
                </c:pt>
                <c:pt idx="4475">
                  <c:v>-5.0000000000000001E-3</c:v>
                </c:pt>
                <c:pt idx="4476">
                  <c:v>-6.4000000000000001E-2</c:v>
                </c:pt>
                <c:pt idx="4477">
                  <c:v>-7.8E-2</c:v>
                </c:pt>
                <c:pt idx="4478">
                  <c:v>-3.0000000000000001E-3</c:v>
                </c:pt>
                <c:pt idx="4479">
                  <c:v>0.193</c:v>
                </c:pt>
                <c:pt idx="4480">
                  <c:v>1.6809999999999998</c:v>
                </c:pt>
                <c:pt idx="4481">
                  <c:v>6.4349999999999996</c:v>
                </c:pt>
                <c:pt idx="4482">
                  <c:v>9.0090000000000003</c:v>
                </c:pt>
                <c:pt idx="4483">
                  <c:v>14.236000000000001</c:v>
                </c:pt>
                <c:pt idx="4484">
                  <c:v>13.038</c:v>
                </c:pt>
                <c:pt idx="4485">
                  <c:v>10.222</c:v>
                </c:pt>
                <c:pt idx="4486">
                  <c:v>8.495000000000001</c:v>
                </c:pt>
                <c:pt idx="4487">
                  <c:v>8.91</c:v>
                </c:pt>
                <c:pt idx="4488">
                  <c:v>7.0709999999999997</c:v>
                </c:pt>
                <c:pt idx="4489">
                  <c:v>6.3520000000000003</c:v>
                </c:pt>
                <c:pt idx="4490">
                  <c:v>4.6459999999999999</c:v>
                </c:pt>
                <c:pt idx="4491">
                  <c:v>3.8619999999999997</c:v>
                </c:pt>
                <c:pt idx="4492">
                  <c:v>1.569</c:v>
                </c:pt>
                <c:pt idx="4493">
                  <c:v>0.57300000000000006</c:v>
                </c:pt>
                <c:pt idx="4494">
                  <c:v>0.53700000000000003</c:v>
                </c:pt>
                <c:pt idx="4495">
                  <c:v>0.33900000000000002</c:v>
                </c:pt>
                <c:pt idx="4496">
                  <c:v>0</c:v>
                </c:pt>
                <c:pt idx="4497">
                  <c:v>-0.99199999999999999</c:v>
                </c:pt>
                <c:pt idx="4498">
                  <c:v>-2.887</c:v>
                </c:pt>
                <c:pt idx="4499">
                  <c:v>-3.2689999999999997</c:v>
                </c:pt>
                <c:pt idx="4500">
                  <c:v>-4.41</c:v>
                </c:pt>
                <c:pt idx="4501">
                  <c:v>-4.8070000000000004</c:v>
                </c:pt>
                <c:pt idx="4502">
                  <c:v>-3.4840000000000004</c:v>
                </c:pt>
                <c:pt idx="4503">
                  <c:v>-1.3679999999999999</c:v>
                </c:pt>
                <c:pt idx="4504">
                  <c:v>-6.0000000000000001E-3</c:v>
                </c:pt>
                <c:pt idx="4505">
                  <c:v>0.188</c:v>
                </c:pt>
                <c:pt idx="4506">
                  <c:v>2.1999999999999999E-2</c:v>
                </c:pt>
                <c:pt idx="4507">
                  <c:v>0.66900000000000004</c:v>
                </c:pt>
                <c:pt idx="4508">
                  <c:v>0.94000000000000006</c:v>
                </c:pt>
                <c:pt idx="4509">
                  <c:v>1.8</c:v>
                </c:pt>
                <c:pt idx="4510">
                  <c:v>1.4019999999999999</c:v>
                </c:pt>
                <c:pt idx="4511">
                  <c:v>-3.0000000000000001E-3</c:v>
                </c:pt>
                <c:pt idx="4512">
                  <c:v>-0.01</c:v>
                </c:pt>
                <c:pt idx="4513">
                  <c:v>-0.08</c:v>
                </c:pt>
                <c:pt idx="4514">
                  <c:v>-4.8000000000000001E-2</c:v>
                </c:pt>
                <c:pt idx="4515">
                  <c:v>-6.0000000000000001E-3</c:v>
                </c:pt>
                <c:pt idx="4516">
                  <c:v>-1E-3</c:v>
                </c:pt>
                <c:pt idx="4517">
                  <c:v>-1E-3</c:v>
                </c:pt>
                <c:pt idx="4518">
                  <c:v>-1E-3</c:v>
                </c:pt>
                <c:pt idx="4519">
                  <c:v>-0.06</c:v>
                </c:pt>
                <c:pt idx="4520">
                  <c:v>-0.64900000000000002</c:v>
                </c:pt>
                <c:pt idx="4521">
                  <c:v>-0.998</c:v>
                </c:pt>
                <c:pt idx="4522">
                  <c:v>-1.204</c:v>
                </c:pt>
                <c:pt idx="4523">
                  <c:v>-1.349</c:v>
                </c:pt>
                <c:pt idx="4524">
                  <c:v>-2.2370000000000001</c:v>
                </c:pt>
                <c:pt idx="4525">
                  <c:v>-2.0979999999999999</c:v>
                </c:pt>
                <c:pt idx="4526">
                  <c:v>-1.22</c:v>
                </c:pt>
                <c:pt idx="4527">
                  <c:v>-0.61599999999999999</c:v>
                </c:pt>
                <c:pt idx="4528">
                  <c:v>-8.0000000000000002E-3</c:v>
                </c:pt>
                <c:pt idx="4529">
                  <c:v>6.399</c:v>
                </c:pt>
                <c:pt idx="4530">
                  <c:v>9.0269999999999992</c:v>
                </c:pt>
                <c:pt idx="4531">
                  <c:v>12.564</c:v>
                </c:pt>
                <c:pt idx="4532">
                  <c:v>13.316999999999998</c:v>
                </c:pt>
                <c:pt idx="4533">
                  <c:v>11.52</c:v>
                </c:pt>
                <c:pt idx="4534">
                  <c:v>9.7129999999999992</c:v>
                </c:pt>
                <c:pt idx="4535">
                  <c:v>8.1620000000000008</c:v>
                </c:pt>
                <c:pt idx="4536">
                  <c:v>7.6650000000000009</c:v>
                </c:pt>
                <c:pt idx="4537">
                  <c:v>7.4079999999999995</c:v>
                </c:pt>
                <c:pt idx="4538">
                  <c:v>7.7720000000000002</c:v>
                </c:pt>
                <c:pt idx="4539">
                  <c:v>7.6280000000000001</c:v>
                </c:pt>
                <c:pt idx="4540">
                  <c:v>8.0440000000000005</c:v>
                </c:pt>
                <c:pt idx="4541">
                  <c:v>11.218</c:v>
                </c:pt>
                <c:pt idx="4542">
                  <c:v>12.5</c:v>
                </c:pt>
                <c:pt idx="4543">
                  <c:v>10.064</c:v>
                </c:pt>
                <c:pt idx="4544">
                  <c:v>7.7610000000000001</c:v>
                </c:pt>
                <c:pt idx="4545">
                  <c:v>5.3929999999999998</c:v>
                </c:pt>
                <c:pt idx="4546">
                  <c:v>3.843</c:v>
                </c:pt>
                <c:pt idx="4547">
                  <c:v>3.1789999999999998</c:v>
                </c:pt>
                <c:pt idx="4548">
                  <c:v>2.9449999999999998</c:v>
                </c:pt>
                <c:pt idx="4549">
                  <c:v>2.956</c:v>
                </c:pt>
                <c:pt idx="4550">
                  <c:v>3.6749999999999998</c:v>
                </c:pt>
                <c:pt idx="4551">
                  <c:v>6.4</c:v>
                </c:pt>
                <c:pt idx="4552">
                  <c:v>8.02</c:v>
                </c:pt>
                <c:pt idx="4553">
                  <c:v>10.263</c:v>
                </c:pt>
                <c:pt idx="4554">
                  <c:v>13.649000000000001</c:v>
                </c:pt>
                <c:pt idx="4555">
                  <c:v>25.735000000000003</c:v>
                </c:pt>
                <c:pt idx="4556">
                  <c:v>17.369</c:v>
                </c:pt>
                <c:pt idx="4557">
                  <c:v>11.365</c:v>
                </c:pt>
                <c:pt idx="4558">
                  <c:v>9.202</c:v>
                </c:pt>
                <c:pt idx="4559">
                  <c:v>10.552</c:v>
                </c:pt>
                <c:pt idx="4560">
                  <c:v>9.5960000000000001</c:v>
                </c:pt>
                <c:pt idx="4561">
                  <c:v>9.3079999999999998</c:v>
                </c:pt>
                <c:pt idx="4562">
                  <c:v>9.1140000000000008</c:v>
                </c:pt>
                <c:pt idx="4563">
                  <c:v>8.766</c:v>
                </c:pt>
                <c:pt idx="4564">
                  <c:v>9.6829999999999998</c:v>
                </c:pt>
                <c:pt idx="4565">
                  <c:v>11.138</c:v>
                </c:pt>
                <c:pt idx="4566">
                  <c:v>10.376000000000001</c:v>
                </c:pt>
                <c:pt idx="4567">
                  <c:v>9.4</c:v>
                </c:pt>
                <c:pt idx="4568">
                  <c:v>6.7260000000000009</c:v>
                </c:pt>
                <c:pt idx="4569">
                  <c:v>4.6630000000000003</c:v>
                </c:pt>
                <c:pt idx="4570">
                  <c:v>3.371</c:v>
                </c:pt>
                <c:pt idx="4571">
                  <c:v>2.1949999999999998</c:v>
                </c:pt>
                <c:pt idx="4572">
                  <c:v>0.504</c:v>
                </c:pt>
                <c:pt idx="4573">
                  <c:v>0.27100000000000002</c:v>
                </c:pt>
                <c:pt idx="4574">
                  <c:v>1.1080000000000001</c:v>
                </c:pt>
                <c:pt idx="4575">
                  <c:v>5.3729999999999993</c:v>
                </c:pt>
                <c:pt idx="4576">
                  <c:v>8.1690000000000005</c:v>
                </c:pt>
                <c:pt idx="4577">
                  <c:v>9.9269999999999996</c:v>
                </c:pt>
                <c:pt idx="4578">
                  <c:v>15.15</c:v>
                </c:pt>
                <c:pt idx="4579">
                  <c:v>14.763999999999999</c:v>
                </c:pt>
                <c:pt idx="4580">
                  <c:v>10.812000000000001</c:v>
                </c:pt>
                <c:pt idx="4581">
                  <c:v>8.6069999999999993</c:v>
                </c:pt>
                <c:pt idx="4582">
                  <c:v>6.8890000000000002</c:v>
                </c:pt>
                <c:pt idx="4583">
                  <c:v>5.5</c:v>
                </c:pt>
                <c:pt idx="4584">
                  <c:v>5.49</c:v>
                </c:pt>
                <c:pt idx="4585">
                  <c:v>5.3920000000000003</c:v>
                </c:pt>
                <c:pt idx="4586">
                  <c:v>5.4979999999999993</c:v>
                </c:pt>
                <c:pt idx="4587">
                  <c:v>5.992</c:v>
                </c:pt>
                <c:pt idx="4588">
                  <c:v>6.6139999999999999</c:v>
                </c:pt>
                <c:pt idx="4589">
                  <c:v>8.4459999999999997</c:v>
                </c:pt>
                <c:pt idx="4590">
                  <c:v>10.645999999999999</c:v>
                </c:pt>
                <c:pt idx="4591">
                  <c:v>10.201000000000001</c:v>
                </c:pt>
                <c:pt idx="4592">
                  <c:v>8.4930000000000003</c:v>
                </c:pt>
                <c:pt idx="4593">
                  <c:v>6.5</c:v>
                </c:pt>
                <c:pt idx="4594">
                  <c:v>5.577</c:v>
                </c:pt>
                <c:pt idx="4595">
                  <c:v>4.7130000000000001</c:v>
                </c:pt>
                <c:pt idx="4596">
                  <c:v>4.4580000000000002</c:v>
                </c:pt>
                <c:pt idx="4597">
                  <c:v>5.5</c:v>
                </c:pt>
                <c:pt idx="4598">
                  <c:v>5.843</c:v>
                </c:pt>
                <c:pt idx="4599">
                  <c:v>6.7480000000000002</c:v>
                </c:pt>
                <c:pt idx="4600">
                  <c:v>8.0139999999999993</c:v>
                </c:pt>
                <c:pt idx="4601">
                  <c:v>8.0730000000000004</c:v>
                </c:pt>
                <c:pt idx="4602">
                  <c:v>9.9719999999999995</c:v>
                </c:pt>
                <c:pt idx="4603">
                  <c:v>14.861000000000001</c:v>
                </c:pt>
                <c:pt idx="4604">
                  <c:v>16.408000000000001</c:v>
                </c:pt>
                <c:pt idx="4605">
                  <c:v>11.397</c:v>
                </c:pt>
                <c:pt idx="4606">
                  <c:v>9.2919999999999998</c:v>
                </c:pt>
                <c:pt idx="4607">
                  <c:v>9.6020000000000003</c:v>
                </c:pt>
                <c:pt idx="4608">
                  <c:v>7.9950000000000001</c:v>
                </c:pt>
                <c:pt idx="4609">
                  <c:v>7.7060000000000004</c:v>
                </c:pt>
                <c:pt idx="4610">
                  <c:v>7.9599999999999991</c:v>
                </c:pt>
                <c:pt idx="4611">
                  <c:v>8.0310000000000006</c:v>
                </c:pt>
                <c:pt idx="4612">
                  <c:v>8.1980000000000004</c:v>
                </c:pt>
                <c:pt idx="4613">
                  <c:v>10.770999999999999</c:v>
                </c:pt>
                <c:pt idx="4614">
                  <c:v>12</c:v>
                </c:pt>
                <c:pt idx="4615">
                  <c:v>10.653</c:v>
                </c:pt>
                <c:pt idx="4616">
                  <c:v>8.9109999999999996</c:v>
                </c:pt>
                <c:pt idx="4617">
                  <c:v>8.0689999999999991</c:v>
                </c:pt>
                <c:pt idx="4618">
                  <c:v>6.6599999999999993</c:v>
                </c:pt>
                <c:pt idx="4619">
                  <c:v>5.7439999999999998</c:v>
                </c:pt>
                <c:pt idx="4620">
                  <c:v>4.7700000000000005</c:v>
                </c:pt>
                <c:pt idx="4621">
                  <c:v>4.4479999999999995</c:v>
                </c:pt>
                <c:pt idx="4622">
                  <c:v>5.01</c:v>
                </c:pt>
                <c:pt idx="4623">
                  <c:v>6.0979999999999999</c:v>
                </c:pt>
                <c:pt idx="4624">
                  <c:v>8.1909999999999989</c:v>
                </c:pt>
                <c:pt idx="4625">
                  <c:v>9.1579999999999995</c:v>
                </c:pt>
                <c:pt idx="4626">
                  <c:v>12</c:v>
                </c:pt>
                <c:pt idx="4627">
                  <c:v>18.433</c:v>
                </c:pt>
                <c:pt idx="4628">
                  <c:v>16.673999999999999</c:v>
                </c:pt>
                <c:pt idx="4629">
                  <c:v>12.159000000000001</c:v>
                </c:pt>
                <c:pt idx="4630">
                  <c:v>9.8120000000000012</c:v>
                </c:pt>
                <c:pt idx="4631">
                  <c:v>10.242000000000001</c:v>
                </c:pt>
                <c:pt idx="4632">
                  <c:v>8.7309999999999999</c:v>
                </c:pt>
                <c:pt idx="4633">
                  <c:v>8.2870000000000008</c:v>
                </c:pt>
                <c:pt idx="4634">
                  <c:v>8.3030000000000008</c:v>
                </c:pt>
                <c:pt idx="4635">
                  <c:v>8.2210000000000001</c:v>
                </c:pt>
                <c:pt idx="4636">
                  <c:v>8.4250000000000007</c:v>
                </c:pt>
                <c:pt idx="4637">
                  <c:v>10.794</c:v>
                </c:pt>
                <c:pt idx="4638">
                  <c:v>10.992000000000001</c:v>
                </c:pt>
                <c:pt idx="4639">
                  <c:v>10.959999999999999</c:v>
                </c:pt>
                <c:pt idx="4640">
                  <c:v>10.24</c:v>
                </c:pt>
                <c:pt idx="4641">
                  <c:v>9.5869999999999997</c:v>
                </c:pt>
                <c:pt idx="4642">
                  <c:v>8.9830000000000005</c:v>
                </c:pt>
                <c:pt idx="4643">
                  <c:v>8.3249999999999993</c:v>
                </c:pt>
                <c:pt idx="4644">
                  <c:v>7.8599999999999994</c:v>
                </c:pt>
                <c:pt idx="4645">
                  <c:v>7.8040000000000003</c:v>
                </c:pt>
                <c:pt idx="4646">
                  <c:v>7.819</c:v>
                </c:pt>
                <c:pt idx="4647">
                  <c:v>8.5709999999999997</c:v>
                </c:pt>
                <c:pt idx="4648">
                  <c:v>8.5540000000000003</c:v>
                </c:pt>
                <c:pt idx="4649">
                  <c:v>9.2260000000000009</c:v>
                </c:pt>
                <c:pt idx="4650">
                  <c:v>10.239000000000001</c:v>
                </c:pt>
                <c:pt idx="4651">
                  <c:v>9.3290000000000006</c:v>
                </c:pt>
                <c:pt idx="4652">
                  <c:v>9.4610000000000003</c:v>
                </c:pt>
                <c:pt idx="4653">
                  <c:v>8.5659999999999989</c:v>
                </c:pt>
                <c:pt idx="4654">
                  <c:v>7.9109999999999996</c:v>
                </c:pt>
                <c:pt idx="4655">
                  <c:v>5.0649999999999995</c:v>
                </c:pt>
                <c:pt idx="4656">
                  <c:v>5.0520000000000005</c:v>
                </c:pt>
                <c:pt idx="4657">
                  <c:v>3.6920000000000002</c:v>
                </c:pt>
                <c:pt idx="4658">
                  <c:v>3.7670000000000003</c:v>
                </c:pt>
                <c:pt idx="4659">
                  <c:v>3.2719999999999998</c:v>
                </c:pt>
                <c:pt idx="4660">
                  <c:v>3.105</c:v>
                </c:pt>
                <c:pt idx="4661">
                  <c:v>3.0659999999999998</c:v>
                </c:pt>
                <c:pt idx="4662">
                  <c:v>2.782</c:v>
                </c:pt>
                <c:pt idx="4663">
                  <c:v>2.66</c:v>
                </c:pt>
                <c:pt idx="4664">
                  <c:v>2.097</c:v>
                </c:pt>
                <c:pt idx="4665">
                  <c:v>0.51600000000000001</c:v>
                </c:pt>
                <c:pt idx="4666">
                  <c:v>4.0000000000000001E-3</c:v>
                </c:pt>
                <c:pt idx="4667">
                  <c:v>-1E-3</c:v>
                </c:pt>
                <c:pt idx="4668">
                  <c:v>-0.5</c:v>
                </c:pt>
                <c:pt idx="4669">
                  <c:v>-1.49</c:v>
                </c:pt>
                <c:pt idx="4670">
                  <c:v>-1.147</c:v>
                </c:pt>
                <c:pt idx="4671">
                  <c:v>-0.34799999999999998</c:v>
                </c:pt>
                <c:pt idx="4672">
                  <c:v>-1E-3</c:v>
                </c:pt>
                <c:pt idx="4673">
                  <c:v>2.8769999999999998</c:v>
                </c:pt>
                <c:pt idx="4674">
                  <c:v>5.0329999999999995</c:v>
                </c:pt>
                <c:pt idx="4675">
                  <c:v>7.5449999999999999</c:v>
                </c:pt>
                <c:pt idx="4676">
                  <c:v>7.6260000000000003</c:v>
                </c:pt>
                <c:pt idx="4677">
                  <c:v>7.8840000000000003</c:v>
                </c:pt>
                <c:pt idx="4678">
                  <c:v>6.3</c:v>
                </c:pt>
                <c:pt idx="4679">
                  <c:v>8.8949999999999996</c:v>
                </c:pt>
                <c:pt idx="4680">
                  <c:v>6.319</c:v>
                </c:pt>
                <c:pt idx="4681">
                  <c:v>5.5449999999999999</c:v>
                </c:pt>
                <c:pt idx="4682">
                  <c:v>4.43</c:v>
                </c:pt>
                <c:pt idx="4683">
                  <c:v>3.7930000000000001</c:v>
                </c:pt>
                <c:pt idx="4684">
                  <c:v>3.681</c:v>
                </c:pt>
                <c:pt idx="4685">
                  <c:v>3.1960000000000002</c:v>
                </c:pt>
                <c:pt idx="4686">
                  <c:v>1.4279999999999999</c:v>
                </c:pt>
                <c:pt idx="4687">
                  <c:v>2.8999999999999998E-2</c:v>
                </c:pt>
                <c:pt idx="4688">
                  <c:v>-0.33100000000000002</c:v>
                </c:pt>
                <c:pt idx="4689">
                  <c:v>-2.113</c:v>
                </c:pt>
                <c:pt idx="4690">
                  <c:v>-4.008</c:v>
                </c:pt>
                <c:pt idx="4691">
                  <c:v>-5.9470000000000001</c:v>
                </c:pt>
                <c:pt idx="4692">
                  <c:v>-7.395999999999999</c:v>
                </c:pt>
                <c:pt idx="4693">
                  <c:v>-7.395999999999999</c:v>
                </c:pt>
                <c:pt idx="4694">
                  <c:v>-5.1820000000000004</c:v>
                </c:pt>
                <c:pt idx="4695">
                  <c:v>-2.0030000000000001</c:v>
                </c:pt>
                <c:pt idx="4696">
                  <c:v>-5.0000000000000001E-3</c:v>
                </c:pt>
                <c:pt idx="4697">
                  <c:v>4.6539999999999999</c:v>
                </c:pt>
                <c:pt idx="4698">
                  <c:v>9.1930000000000014</c:v>
                </c:pt>
                <c:pt idx="4699">
                  <c:v>11.58</c:v>
                </c:pt>
                <c:pt idx="4700">
                  <c:v>10.868</c:v>
                </c:pt>
                <c:pt idx="4701">
                  <c:v>10.584</c:v>
                </c:pt>
                <c:pt idx="4702">
                  <c:v>8.7059999999999995</c:v>
                </c:pt>
                <c:pt idx="4703">
                  <c:v>7.9349999999999996</c:v>
                </c:pt>
                <c:pt idx="4704">
                  <c:v>6.6239999999999997</c:v>
                </c:pt>
                <c:pt idx="4705">
                  <c:v>5.8170000000000002</c:v>
                </c:pt>
                <c:pt idx="4706">
                  <c:v>6.3029999999999999</c:v>
                </c:pt>
                <c:pt idx="4707">
                  <c:v>6.7819999999999991</c:v>
                </c:pt>
                <c:pt idx="4708">
                  <c:v>8.0069999999999997</c:v>
                </c:pt>
                <c:pt idx="4709">
                  <c:v>12</c:v>
                </c:pt>
                <c:pt idx="4710">
                  <c:v>14.41</c:v>
                </c:pt>
                <c:pt idx="4711">
                  <c:v>8.9770000000000003</c:v>
                </c:pt>
                <c:pt idx="4712">
                  <c:v>5.9290000000000003</c:v>
                </c:pt>
                <c:pt idx="4713">
                  <c:v>3.5520000000000005</c:v>
                </c:pt>
                <c:pt idx="4714">
                  <c:v>1.129</c:v>
                </c:pt>
                <c:pt idx="4715">
                  <c:v>7.000000000000001E-3</c:v>
                </c:pt>
                <c:pt idx="4716">
                  <c:v>-1E-3</c:v>
                </c:pt>
                <c:pt idx="4717">
                  <c:v>-7.000000000000001E-3</c:v>
                </c:pt>
                <c:pt idx="4718">
                  <c:v>0.35399999999999998</c:v>
                </c:pt>
                <c:pt idx="4719">
                  <c:v>4.4290000000000003</c:v>
                </c:pt>
                <c:pt idx="4720">
                  <c:v>8.1999999999999993</c:v>
                </c:pt>
                <c:pt idx="4721">
                  <c:v>11.434999999999999</c:v>
                </c:pt>
                <c:pt idx="4722">
                  <c:v>20.419</c:v>
                </c:pt>
                <c:pt idx="4723">
                  <c:v>22.496000000000002</c:v>
                </c:pt>
                <c:pt idx="4724">
                  <c:v>14.356</c:v>
                </c:pt>
                <c:pt idx="4725">
                  <c:v>9.2480000000000011</c:v>
                </c:pt>
                <c:pt idx="4726">
                  <c:v>8.01</c:v>
                </c:pt>
                <c:pt idx="4727">
                  <c:v>7.6590000000000007</c:v>
                </c:pt>
                <c:pt idx="4728">
                  <c:v>6.3770000000000007</c:v>
                </c:pt>
                <c:pt idx="4729">
                  <c:v>5.2490000000000006</c:v>
                </c:pt>
                <c:pt idx="4730">
                  <c:v>3.6819999999999999</c:v>
                </c:pt>
                <c:pt idx="4731">
                  <c:v>3.8159999999999998</c:v>
                </c:pt>
                <c:pt idx="4732">
                  <c:v>5.032</c:v>
                </c:pt>
                <c:pt idx="4733">
                  <c:v>8.0350000000000001</c:v>
                </c:pt>
                <c:pt idx="4734">
                  <c:v>9.0950000000000006</c:v>
                </c:pt>
                <c:pt idx="4735">
                  <c:v>8.4310000000000009</c:v>
                </c:pt>
                <c:pt idx="4736">
                  <c:v>6.2770000000000001</c:v>
                </c:pt>
                <c:pt idx="4737">
                  <c:v>2.149</c:v>
                </c:pt>
                <c:pt idx="4738">
                  <c:v>6.0000000000000001E-3</c:v>
                </c:pt>
                <c:pt idx="4739">
                  <c:v>-0.80299999999999994</c:v>
                </c:pt>
                <c:pt idx="4740">
                  <c:v>-1.103</c:v>
                </c:pt>
                <c:pt idx="4741">
                  <c:v>-1.1480000000000001</c:v>
                </c:pt>
                <c:pt idx="4742">
                  <c:v>-1.1140000000000001</c:v>
                </c:pt>
                <c:pt idx="4743">
                  <c:v>-0.22999999999999998</c:v>
                </c:pt>
                <c:pt idx="4744">
                  <c:v>2.2120000000000002</c:v>
                </c:pt>
                <c:pt idx="4745">
                  <c:v>6.3020000000000005</c:v>
                </c:pt>
                <c:pt idx="4746">
                  <c:v>8.1989999999999998</c:v>
                </c:pt>
                <c:pt idx="4747">
                  <c:v>12.16</c:v>
                </c:pt>
                <c:pt idx="4748">
                  <c:v>11.428000000000001</c:v>
                </c:pt>
                <c:pt idx="4749">
                  <c:v>10.581</c:v>
                </c:pt>
                <c:pt idx="4750">
                  <c:v>8.4310000000000009</c:v>
                </c:pt>
                <c:pt idx="4751">
                  <c:v>8.74</c:v>
                </c:pt>
                <c:pt idx="4752">
                  <c:v>7.298</c:v>
                </c:pt>
                <c:pt idx="4753">
                  <c:v>7.2819999999999991</c:v>
                </c:pt>
                <c:pt idx="4754">
                  <c:v>7.0529999999999999</c:v>
                </c:pt>
                <c:pt idx="4755">
                  <c:v>7.1049999999999995</c:v>
                </c:pt>
                <c:pt idx="4756">
                  <c:v>7.7439999999999998</c:v>
                </c:pt>
                <c:pt idx="4757">
                  <c:v>9.004999999999999</c:v>
                </c:pt>
                <c:pt idx="4758">
                  <c:v>9.9760000000000009</c:v>
                </c:pt>
                <c:pt idx="4759">
                  <c:v>10.57</c:v>
                </c:pt>
                <c:pt idx="4760">
                  <c:v>7.7140000000000004</c:v>
                </c:pt>
                <c:pt idx="4761">
                  <c:v>5.819</c:v>
                </c:pt>
                <c:pt idx="4762">
                  <c:v>4.1749999999999998</c:v>
                </c:pt>
                <c:pt idx="4763">
                  <c:v>3.2590000000000003</c:v>
                </c:pt>
                <c:pt idx="4764">
                  <c:v>2.1850000000000001</c:v>
                </c:pt>
                <c:pt idx="4765">
                  <c:v>1.08</c:v>
                </c:pt>
                <c:pt idx="4766">
                  <c:v>1.347</c:v>
                </c:pt>
                <c:pt idx="4767">
                  <c:v>3.8880000000000003</c:v>
                </c:pt>
                <c:pt idx="4768">
                  <c:v>6.1680000000000001</c:v>
                </c:pt>
                <c:pt idx="4769">
                  <c:v>8.293000000000001</c:v>
                </c:pt>
                <c:pt idx="4770">
                  <c:v>10.689</c:v>
                </c:pt>
                <c:pt idx="4771">
                  <c:v>18.794999999999998</c:v>
                </c:pt>
                <c:pt idx="4772">
                  <c:v>14.347</c:v>
                </c:pt>
                <c:pt idx="4773">
                  <c:v>11.491</c:v>
                </c:pt>
                <c:pt idx="4774">
                  <c:v>9.2810000000000006</c:v>
                </c:pt>
                <c:pt idx="4775">
                  <c:v>8.9969999999999999</c:v>
                </c:pt>
                <c:pt idx="4776">
                  <c:v>8.0289999999999999</c:v>
                </c:pt>
                <c:pt idx="4777">
                  <c:v>7.9049999999999994</c:v>
                </c:pt>
                <c:pt idx="4778">
                  <c:v>7.854000000000001</c:v>
                </c:pt>
                <c:pt idx="4779">
                  <c:v>7.9269999999999996</c:v>
                </c:pt>
                <c:pt idx="4780">
                  <c:v>9.2099999999999991</c:v>
                </c:pt>
                <c:pt idx="4781">
                  <c:v>12.087999999999999</c:v>
                </c:pt>
                <c:pt idx="4782">
                  <c:v>10.727</c:v>
                </c:pt>
                <c:pt idx="4783">
                  <c:v>9.6739999999999995</c:v>
                </c:pt>
                <c:pt idx="4784">
                  <c:v>7.9219999999999997</c:v>
                </c:pt>
                <c:pt idx="4785">
                  <c:v>6.3840000000000003</c:v>
                </c:pt>
                <c:pt idx="4786">
                  <c:v>4.7130000000000001</c:v>
                </c:pt>
                <c:pt idx="4787">
                  <c:v>3.5009999999999999</c:v>
                </c:pt>
                <c:pt idx="4788">
                  <c:v>3.3959999999999999</c:v>
                </c:pt>
                <c:pt idx="4789">
                  <c:v>3.7009999999999996</c:v>
                </c:pt>
                <c:pt idx="4790">
                  <c:v>4.8780000000000001</c:v>
                </c:pt>
                <c:pt idx="4791">
                  <c:v>6.7560000000000002</c:v>
                </c:pt>
                <c:pt idx="4792">
                  <c:v>8.548</c:v>
                </c:pt>
                <c:pt idx="4793">
                  <c:v>9.1999999999999993</c:v>
                </c:pt>
                <c:pt idx="4794">
                  <c:v>13.018000000000001</c:v>
                </c:pt>
                <c:pt idx="4795">
                  <c:v>22.759999999999998</c:v>
                </c:pt>
                <c:pt idx="4796">
                  <c:v>18.446000000000002</c:v>
                </c:pt>
                <c:pt idx="4797">
                  <c:v>11.954000000000001</c:v>
                </c:pt>
                <c:pt idx="4798">
                  <c:v>10.192</c:v>
                </c:pt>
                <c:pt idx="4799">
                  <c:v>9.0109999999999992</c:v>
                </c:pt>
                <c:pt idx="4800">
                  <c:v>8.0449999999999999</c:v>
                </c:pt>
                <c:pt idx="4801">
                  <c:v>7.9909999999999997</c:v>
                </c:pt>
                <c:pt idx="4802">
                  <c:v>7.9290000000000003</c:v>
                </c:pt>
                <c:pt idx="4803">
                  <c:v>8.3379999999999992</c:v>
                </c:pt>
                <c:pt idx="4804">
                  <c:v>9.1379999999999999</c:v>
                </c:pt>
                <c:pt idx="4805">
                  <c:v>11.559999999999999</c:v>
                </c:pt>
                <c:pt idx="4806">
                  <c:v>11.071999999999999</c:v>
                </c:pt>
                <c:pt idx="4807">
                  <c:v>9.84</c:v>
                </c:pt>
                <c:pt idx="4808">
                  <c:v>8.1430000000000007</c:v>
                </c:pt>
                <c:pt idx="4809">
                  <c:v>7</c:v>
                </c:pt>
                <c:pt idx="4810">
                  <c:v>5.875</c:v>
                </c:pt>
                <c:pt idx="4811">
                  <c:v>4.4340000000000002</c:v>
                </c:pt>
                <c:pt idx="4812">
                  <c:v>3.65</c:v>
                </c:pt>
                <c:pt idx="4813">
                  <c:v>3.62</c:v>
                </c:pt>
                <c:pt idx="4814">
                  <c:v>4.2539999999999996</c:v>
                </c:pt>
                <c:pt idx="4815">
                  <c:v>6.3789999999999996</c:v>
                </c:pt>
                <c:pt idx="4816">
                  <c:v>7.734</c:v>
                </c:pt>
                <c:pt idx="4817">
                  <c:v>9.1609999999999996</c:v>
                </c:pt>
                <c:pt idx="4818">
                  <c:v>12.102</c:v>
                </c:pt>
                <c:pt idx="4819">
                  <c:v>19.045999999999999</c:v>
                </c:pt>
                <c:pt idx="4820">
                  <c:v>12</c:v>
                </c:pt>
                <c:pt idx="4821">
                  <c:v>10.686</c:v>
                </c:pt>
                <c:pt idx="4822">
                  <c:v>9.1549999999999994</c:v>
                </c:pt>
                <c:pt idx="4823">
                  <c:v>9.4730000000000008</c:v>
                </c:pt>
                <c:pt idx="4824">
                  <c:v>8.9409999999999989</c:v>
                </c:pt>
                <c:pt idx="4825">
                  <c:v>8.8249999999999993</c:v>
                </c:pt>
                <c:pt idx="4826">
                  <c:v>8.9879999999999995</c:v>
                </c:pt>
                <c:pt idx="4827">
                  <c:v>9.4239999999999995</c:v>
                </c:pt>
                <c:pt idx="4828">
                  <c:v>9.379999999999999</c:v>
                </c:pt>
                <c:pt idx="4829">
                  <c:v>9.1489999999999991</c:v>
                </c:pt>
                <c:pt idx="4830">
                  <c:v>8.5990000000000002</c:v>
                </c:pt>
                <c:pt idx="4831">
                  <c:v>6.82</c:v>
                </c:pt>
                <c:pt idx="4832">
                  <c:v>4.9799999999999995</c:v>
                </c:pt>
                <c:pt idx="4833">
                  <c:v>0.51500000000000001</c:v>
                </c:pt>
                <c:pt idx="4834">
                  <c:v>0</c:v>
                </c:pt>
                <c:pt idx="4835">
                  <c:v>-0.46500000000000002</c:v>
                </c:pt>
                <c:pt idx="4836">
                  <c:v>-0.42899999999999999</c:v>
                </c:pt>
                <c:pt idx="4837">
                  <c:v>-0.28799999999999998</c:v>
                </c:pt>
                <c:pt idx="4838">
                  <c:v>-0.27100000000000002</c:v>
                </c:pt>
                <c:pt idx="4839">
                  <c:v>0.24199999999999999</c:v>
                </c:pt>
                <c:pt idx="4840">
                  <c:v>5.2290000000000001</c:v>
                </c:pt>
                <c:pt idx="4841">
                  <c:v>8.5</c:v>
                </c:pt>
                <c:pt idx="4842">
                  <c:v>10.956</c:v>
                </c:pt>
                <c:pt idx="4843">
                  <c:v>13.475</c:v>
                </c:pt>
                <c:pt idx="4844">
                  <c:v>10.881</c:v>
                </c:pt>
                <c:pt idx="4845">
                  <c:v>8.41</c:v>
                </c:pt>
                <c:pt idx="4846">
                  <c:v>7.4510000000000005</c:v>
                </c:pt>
                <c:pt idx="4847">
                  <c:v>6.3630000000000004</c:v>
                </c:pt>
                <c:pt idx="4848">
                  <c:v>5.63</c:v>
                </c:pt>
                <c:pt idx="4849">
                  <c:v>5.5200000000000005</c:v>
                </c:pt>
                <c:pt idx="4850">
                  <c:v>6.0380000000000003</c:v>
                </c:pt>
                <c:pt idx="4851">
                  <c:v>6.8609999999999998</c:v>
                </c:pt>
                <c:pt idx="4852">
                  <c:v>7.5239999999999991</c:v>
                </c:pt>
                <c:pt idx="4853">
                  <c:v>8.1370000000000005</c:v>
                </c:pt>
                <c:pt idx="4854">
                  <c:v>6.0310000000000006</c:v>
                </c:pt>
                <c:pt idx="4855">
                  <c:v>4.8680000000000003</c:v>
                </c:pt>
                <c:pt idx="4856">
                  <c:v>1.0569999999999999</c:v>
                </c:pt>
                <c:pt idx="4857">
                  <c:v>7.000000000000001E-3</c:v>
                </c:pt>
                <c:pt idx="4858">
                  <c:v>1E-3</c:v>
                </c:pt>
                <c:pt idx="4859">
                  <c:v>1E-3</c:v>
                </c:pt>
                <c:pt idx="4860">
                  <c:v>-8.0000000000000002E-3</c:v>
                </c:pt>
                <c:pt idx="4861">
                  <c:v>-2.0999999999999998E-2</c:v>
                </c:pt>
                <c:pt idx="4862">
                  <c:v>4.0000000000000001E-3</c:v>
                </c:pt>
                <c:pt idx="4863">
                  <c:v>1.0999999999999999E-2</c:v>
                </c:pt>
                <c:pt idx="4864">
                  <c:v>5.9809999999999999</c:v>
                </c:pt>
                <c:pt idx="4865">
                  <c:v>9.4269999999999996</c:v>
                </c:pt>
                <c:pt idx="4866">
                  <c:v>10.827</c:v>
                </c:pt>
                <c:pt idx="4867">
                  <c:v>12.768000000000001</c:v>
                </c:pt>
                <c:pt idx="4868">
                  <c:v>12.812000000000001</c:v>
                </c:pt>
                <c:pt idx="4869">
                  <c:v>11.184999999999999</c:v>
                </c:pt>
                <c:pt idx="4870">
                  <c:v>9.370000000000001</c:v>
                </c:pt>
                <c:pt idx="4871">
                  <c:v>12.209999999999999</c:v>
                </c:pt>
                <c:pt idx="4872">
                  <c:v>9.6630000000000003</c:v>
                </c:pt>
                <c:pt idx="4873">
                  <c:v>8.6879999999999988</c:v>
                </c:pt>
                <c:pt idx="4874">
                  <c:v>8.6930000000000014</c:v>
                </c:pt>
                <c:pt idx="4875">
                  <c:v>8.6140000000000008</c:v>
                </c:pt>
                <c:pt idx="4876">
                  <c:v>8.2260000000000009</c:v>
                </c:pt>
                <c:pt idx="4877">
                  <c:v>11.948</c:v>
                </c:pt>
                <c:pt idx="4878">
                  <c:v>13.168000000000001</c:v>
                </c:pt>
                <c:pt idx="4879">
                  <c:v>12.605</c:v>
                </c:pt>
                <c:pt idx="4880">
                  <c:v>9.4340000000000011</c:v>
                </c:pt>
                <c:pt idx="4881">
                  <c:v>7.5140000000000002</c:v>
                </c:pt>
                <c:pt idx="4882">
                  <c:v>7.2879999999999994</c:v>
                </c:pt>
                <c:pt idx="4883">
                  <c:v>6.6219999999999999</c:v>
                </c:pt>
                <c:pt idx="4884">
                  <c:v>4.3250000000000002</c:v>
                </c:pt>
                <c:pt idx="4885">
                  <c:v>1.9410000000000001</c:v>
                </c:pt>
                <c:pt idx="4886">
                  <c:v>2.0379999999999998</c:v>
                </c:pt>
                <c:pt idx="4887">
                  <c:v>4.8460000000000001</c:v>
                </c:pt>
                <c:pt idx="4888">
                  <c:v>6.3689999999999998</c:v>
                </c:pt>
                <c:pt idx="4889">
                  <c:v>8.1150000000000002</c:v>
                </c:pt>
                <c:pt idx="4890">
                  <c:v>9.9039999999999999</c:v>
                </c:pt>
                <c:pt idx="4891">
                  <c:v>18.624000000000002</c:v>
                </c:pt>
                <c:pt idx="4892">
                  <c:v>17.204000000000001</c:v>
                </c:pt>
                <c:pt idx="4893">
                  <c:v>11.104000000000001</c:v>
                </c:pt>
                <c:pt idx="4894">
                  <c:v>9.8000000000000007</c:v>
                </c:pt>
                <c:pt idx="4895">
                  <c:v>8.3390000000000004</c:v>
                </c:pt>
                <c:pt idx="4896">
                  <c:v>7.58</c:v>
                </c:pt>
                <c:pt idx="4897">
                  <c:v>7.67</c:v>
                </c:pt>
                <c:pt idx="4898">
                  <c:v>7.05</c:v>
                </c:pt>
                <c:pt idx="4899">
                  <c:v>7.383</c:v>
                </c:pt>
                <c:pt idx="4900">
                  <c:v>7.6609999999999996</c:v>
                </c:pt>
                <c:pt idx="4901">
                  <c:v>10.673</c:v>
                </c:pt>
                <c:pt idx="4902">
                  <c:v>12.051</c:v>
                </c:pt>
                <c:pt idx="4903">
                  <c:v>11.520999999999999</c:v>
                </c:pt>
                <c:pt idx="4904">
                  <c:v>8.729000000000001</c:v>
                </c:pt>
                <c:pt idx="4905">
                  <c:v>6.8870000000000005</c:v>
                </c:pt>
                <c:pt idx="4906">
                  <c:v>6.1369999999999996</c:v>
                </c:pt>
                <c:pt idx="4907">
                  <c:v>4.3420000000000005</c:v>
                </c:pt>
                <c:pt idx="4908">
                  <c:v>3.8289999999999997</c:v>
                </c:pt>
                <c:pt idx="4909">
                  <c:v>3.601</c:v>
                </c:pt>
                <c:pt idx="4910">
                  <c:v>4.1959999999999997</c:v>
                </c:pt>
                <c:pt idx="4911">
                  <c:v>6.4859999999999998</c:v>
                </c:pt>
                <c:pt idx="4912">
                  <c:v>7.9530000000000003</c:v>
                </c:pt>
                <c:pt idx="4913">
                  <c:v>7.992</c:v>
                </c:pt>
                <c:pt idx="4914">
                  <c:v>9.6029999999999998</c:v>
                </c:pt>
                <c:pt idx="4915">
                  <c:v>11.852</c:v>
                </c:pt>
                <c:pt idx="4916">
                  <c:v>10.201000000000001</c:v>
                </c:pt>
                <c:pt idx="4917">
                  <c:v>9.923</c:v>
                </c:pt>
                <c:pt idx="4918">
                  <c:v>9.1579999999999995</c:v>
                </c:pt>
                <c:pt idx="4919">
                  <c:v>8.3550000000000004</c:v>
                </c:pt>
                <c:pt idx="4920">
                  <c:v>7.8330000000000002</c:v>
                </c:pt>
                <c:pt idx="4921">
                  <c:v>7.2560000000000002</c:v>
                </c:pt>
                <c:pt idx="4922">
                  <c:v>7.4849999999999994</c:v>
                </c:pt>
                <c:pt idx="4923">
                  <c:v>7.4989999999999997</c:v>
                </c:pt>
                <c:pt idx="4924">
                  <c:v>7.577</c:v>
                </c:pt>
                <c:pt idx="4925">
                  <c:v>10.306999999999999</c:v>
                </c:pt>
                <c:pt idx="4926">
                  <c:v>12.89</c:v>
                </c:pt>
                <c:pt idx="4927">
                  <c:v>9.9190000000000005</c:v>
                </c:pt>
                <c:pt idx="4928">
                  <c:v>7.2909999999999995</c:v>
                </c:pt>
                <c:pt idx="4929">
                  <c:v>5.49</c:v>
                </c:pt>
                <c:pt idx="4930">
                  <c:v>2.1190000000000002</c:v>
                </c:pt>
                <c:pt idx="4931">
                  <c:v>0.158</c:v>
                </c:pt>
                <c:pt idx="4932">
                  <c:v>-1.4999999999999999E-2</c:v>
                </c:pt>
                <c:pt idx="4933">
                  <c:v>-0.20600000000000002</c:v>
                </c:pt>
                <c:pt idx="4934">
                  <c:v>-0.19600000000000001</c:v>
                </c:pt>
                <c:pt idx="4935">
                  <c:v>0.221</c:v>
                </c:pt>
                <c:pt idx="4936">
                  <c:v>3.9270000000000005</c:v>
                </c:pt>
                <c:pt idx="4937">
                  <c:v>6.9340000000000002</c:v>
                </c:pt>
                <c:pt idx="4938">
                  <c:v>9.59</c:v>
                </c:pt>
                <c:pt idx="4939">
                  <c:v>10.993</c:v>
                </c:pt>
                <c:pt idx="4940">
                  <c:v>12.181999999999999</c:v>
                </c:pt>
                <c:pt idx="4941">
                  <c:v>10.958</c:v>
                </c:pt>
                <c:pt idx="4942">
                  <c:v>9.5030000000000001</c:v>
                </c:pt>
                <c:pt idx="4943">
                  <c:v>9.254999999999999</c:v>
                </c:pt>
                <c:pt idx="4944">
                  <c:v>8.7200000000000006</c:v>
                </c:pt>
                <c:pt idx="4945">
                  <c:v>8.49</c:v>
                </c:pt>
                <c:pt idx="4946">
                  <c:v>7.992</c:v>
                </c:pt>
                <c:pt idx="4947">
                  <c:v>7.6400000000000006</c:v>
                </c:pt>
                <c:pt idx="4948">
                  <c:v>9.2530000000000001</c:v>
                </c:pt>
                <c:pt idx="4949">
                  <c:v>10.616</c:v>
                </c:pt>
                <c:pt idx="4950">
                  <c:v>11.686</c:v>
                </c:pt>
                <c:pt idx="4951">
                  <c:v>9.0980000000000008</c:v>
                </c:pt>
                <c:pt idx="4952">
                  <c:v>7.1980000000000004</c:v>
                </c:pt>
                <c:pt idx="4953">
                  <c:v>5.508</c:v>
                </c:pt>
                <c:pt idx="4954">
                  <c:v>3.6950000000000003</c:v>
                </c:pt>
                <c:pt idx="4955">
                  <c:v>2.431</c:v>
                </c:pt>
                <c:pt idx="4956">
                  <c:v>1.736</c:v>
                </c:pt>
                <c:pt idx="4957">
                  <c:v>1.327</c:v>
                </c:pt>
                <c:pt idx="4958">
                  <c:v>2.62</c:v>
                </c:pt>
                <c:pt idx="4959">
                  <c:v>5.38</c:v>
                </c:pt>
                <c:pt idx="4960">
                  <c:v>8</c:v>
                </c:pt>
                <c:pt idx="4961">
                  <c:v>9.6999999999999993</c:v>
                </c:pt>
                <c:pt idx="4962">
                  <c:v>12.693000000000001</c:v>
                </c:pt>
                <c:pt idx="4963">
                  <c:v>15.571999999999999</c:v>
                </c:pt>
                <c:pt idx="4964">
                  <c:v>13.161000000000001</c:v>
                </c:pt>
                <c:pt idx="4965">
                  <c:v>10</c:v>
                </c:pt>
                <c:pt idx="4966">
                  <c:v>8.495000000000001</c:v>
                </c:pt>
                <c:pt idx="4967">
                  <c:v>8.331999999999999</c:v>
                </c:pt>
                <c:pt idx="4968">
                  <c:v>7.3900000000000006</c:v>
                </c:pt>
                <c:pt idx="4969">
                  <c:v>7.9099999999999993</c:v>
                </c:pt>
                <c:pt idx="4970">
                  <c:v>8.1609999999999996</c:v>
                </c:pt>
                <c:pt idx="4971">
                  <c:v>8.1170000000000009</c:v>
                </c:pt>
                <c:pt idx="4972">
                  <c:v>8.3209999999999997</c:v>
                </c:pt>
                <c:pt idx="4973">
                  <c:v>9.952</c:v>
                </c:pt>
                <c:pt idx="4974">
                  <c:v>11.656000000000001</c:v>
                </c:pt>
                <c:pt idx="4975">
                  <c:v>10.41</c:v>
                </c:pt>
                <c:pt idx="4976">
                  <c:v>9.6829999999999998</c:v>
                </c:pt>
                <c:pt idx="4977">
                  <c:v>9.0530000000000008</c:v>
                </c:pt>
                <c:pt idx="4978">
                  <c:v>8.1349999999999998</c:v>
                </c:pt>
                <c:pt idx="4979">
                  <c:v>7</c:v>
                </c:pt>
                <c:pt idx="4980">
                  <c:v>6.3119999999999994</c:v>
                </c:pt>
                <c:pt idx="4981">
                  <c:v>6.0190000000000001</c:v>
                </c:pt>
                <c:pt idx="4982">
                  <c:v>6.8140000000000001</c:v>
                </c:pt>
                <c:pt idx="4983">
                  <c:v>7.2840000000000007</c:v>
                </c:pt>
                <c:pt idx="4984">
                  <c:v>8.8520000000000003</c:v>
                </c:pt>
                <c:pt idx="4985">
                  <c:v>9.4340000000000011</c:v>
                </c:pt>
                <c:pt idx="4986">
                  <c:v>10.779</c:v>
                </c:pt>
                <c:pt idx="4987">
                  <c:v>14.324999999999999</c:v>
                </c:pt>
                <c:pt idx="4988">
                  <c:v>13.9</c:v>
                </c:pt>
                <c:pt idx="4989">
                  <c:v>10.638999999999999</c:v>
                </c:pt>
                <c:pt idx="4990">
                  <c:v>9.7910000000000004</c:v>
                </c:pt>
                <c:pt idx="4991">
                  <c:v>10.395999999999999</c:v>
                </c:pt>
                <c:pt idx="4992">
                  <c:v>10.340999999999999</c:v>
                </c:pt>
                <c:pt idx="4993">
                  <c:v>9.7390000000000008</c:v>
                </c:pt>
                <c:pt idx="4994">
                  <c:v>9.5250000000000004</c:v>
                </c:pt>
                <c:pt idx="4995">
                  <c:v>9.2459999999999987</c:v>
                </c:pt>
                <c:pt idx="4996">
                  <c:v>9.0510000000000002</c:v>
                </c:pt>
                <c:pt idx="4997">
                  <c:v>8.74</c:v>
                </c:pt>
                <c:pt idx="4998">
                  <c:v>8.2750000000000004</c:v>
                </c:pt>
                <c:pt idx="4999">
                  <c:v>8.4689999999999994</c:v>
                </c:pt>
                <c:pt idx="5000">
                  <c:v>6.7670000000000003</c:v>
                </c:pt>
                <c:pt idx="5001">
                  <c:v>6.0780000000000003</c:v>
                </c:pt>
                <c:pt idx="5002">
                  <c:v>3.9899999999999998</c:v>
                </c:pt>
                <c:pt idx="5003">
                  <c:v>2.8</c:v>
                </c:pt>
                <c:pt idx="5004">
                  <c:v>1.78</c:v>
                </c:pt>
                <c:pt idx="5005">
                  <c:v>1.7920000000000003</c:v>
                </c:pt>
                <c:pt idx="5006">
                  <c:v>3.5020000000000002</c:v>
                </c:pt>
                <c:pt idx="5007">
                  <c:v>6.7720000000000002</c:v>
                </c:pt>
                <c:pt idx="5008">
                  <c:v>9.4730000000000008</c:v>
                </c:pt>
                <c:pt idx="5009">
                  <c:v>10.497</c:v>
                </c:pt>
                <c:pt idx="5010">
                  <c:v>11.669</c:v>
                </c:pt>
                <c:pt idx="5011">
                  <c:v>12.309999999999999</c:v>
                </c:pt>
                <c:pt idx="5012">
                  <c:v>12.181999999999999</c:v>
                </c:pt>
                <c:pt idx="5013">
                  <c:v>10.809999999999999</c:v>
                </c:pt>
                <c:pt idx="5014">
                  <c:v>9.7940000000000005</c:v>
                </c:pt>
                <c:pt idx="5015">
                  <c:v>10.998999999999999</c:v>
                </c:pt>
                <c:pt idx="5016">
                  <c:v>9.5109999999999992</c:v>
                </c:pt>
                <c:pt idx="5017">
                  <c:v>8.8209999999999997</c:v>
                </c:pt>
                <c:pt idx="5018">
                  <c:v>8.1530000000000005</c:v>
                </c:pt>
                <c:pt idx="5019">
                  <c:v>7.854000000000001</c:v>
                </c:pt>
                <c:pt idx="5020">
                  <c:v>7.9260000000000002</c:v>
                </c:pt>
                <c:pt idx="5021">
                  <c:v>7.5529999999999999</c:v>
                </c:pt>
                <c:pt idx="5022">
                  <c:v>7.2610000000000001</c:v>
                </c:pt>
                <c:pt idx="5023">
                  <c:v>2.5489999999999999</c:v>
                </c:pt>
                <c:pt idx="5024">
                  <c:v>0.49199999999999999</c:v>
                </c:pt>
                <c:pt idx="5025">
                  <c:v>0</c:v>
                </c:pt>
                <c:pt idx="5026">
                  <c:v>-0.24300000000000002</c:v>
                </c:pt>
                <c:pt idx="5027">
                  <c:v>-1.6629999999999998</c:v>
                </c:pt>
                <c:pt idx="5028">
                  <c:v>-3.9909999999999997</c:v>
                </c:pt>
                <c:pt idx="5029">
                  <c:v>-4.8689999999999998</c:v>
                </c:pt>
                <c:pt idx="5030">
                  <c:v>-3.3530000000000002</c:v>
                </c:pt>
                <c:pt idx="5031">
                  <c:v>-1.377</c:v>
                </c:pt>
                <c:pt idx="5032">
                  <c:v>-0.19900000000000001</c:v>
                </c:pt>
                <c:pt idx="5033">
                  <c:v>4.0869999999999997</c:v>
                </c:pt>
                <c:pt idx="5034">
                  <c:v>9.2480000000000011</c:v>
                </c:pt>
                <c:pt idx="5035">
                  <c:v>11.184999999999999</c:v>
                </c:pt>
                <c:pt idx="5036">
                  <c:v>11.565999999999999</c:v>
                </c:pt>
                <c:pt idx="5037">
                  <c:v>10.495000000000001</c:v>
                </c:pt>
                <c:pt idx="5038">
                  <c:v>8.4459999999999997</c:v>
                </c:pt>
                <c:pt idx="5039">
                  <c:v>7.9590000000000005</c:v>
                </c:pt>
                <c:pt idx="5040">
                  <c:v>7.6029999999999998</c:v>
                </c:pt>
                <c:pt idx="5041">
                  <c:v>7.2249999999999996</c:v>
                </c:pt>
                <c:pt idx="5042">
                  <c:v>7.6290000000000004</c:v>
                </c:pt>
                <c:pt idx="5043">
                  <c:v>8</c:v>
                </c:pt>
                <c:pt idx="5044">
                  <c:v>10.129999999999999</c:v>
                </c:pt>
                <c:pt idx="5045">
                  <c:v>13.5</c:v>
                </c:pt>
                <c:pt idx="5046">
                  <c:v>12.166</c:v>
                </c:pt>
                <c:pt idx="5047">
                  <c:v>9.8460000000000001</c:v>
                </c:pt>
                <c:pt idx="5048">
                  <c:v>6.3659999999999997</c:v>
                </c:pt>
                <c:pt idx="5049">
                  <c:v>1.0580000000000001</c:v>
                </c:pt>
                <c:pt idx="5050">
                  <c:v>-1.6E-2</c:v>
                </c:pt>
                <c:pt idx="5051">
                  <c:v>-1.9E-2</c:v>
                </c:pt>
                <c:pt idx="5052">
                  <c:v>-0.16999999999999998</c:v>
                </c:pt>
                <c:pt idx="5053">
                  <c:v>-9.8000000000000004E-2</c:v>
                </c:pt>
                <c:pt idx="5054">
                  <c:v>-7.000000000000001E-3</c:v>
                </c:pt>
                <c:pt idx="5055">
                  <c:v>1.3740000000000001</c:v>
                </c:pt>
                <c:pt idx="5056">
                  <c:v>6.4480000000000004</c:v>
                </c:pt>
                <c:pt idx="5057">
                  <c:v>9.6909999999999989</c:v>
                </c:pt>
                <c:pt idx="5058">
                  <c:v>12.324</c:v>
                </c:pt>
                <c:pt idx="5059">
                  <c:v>17.806999999999999</c:v>
                </c:pt>
                <c:pt idx="5060">
                  <c:v>13.272</c:v>
                </c:pt>
                <c:pt idx="5061">
                  <c:v>10.78</c:v>
                </c:pt>
                <c:pt idx="5062">
                  <c:v>9.02</c:v>
                </c:pt>
                <c:pt idx="5063">
                  <c:v>7.8010000000000002</c:v>
                </c:pt>
                <c:pt idx="5064">
                  <c:v>7.577</c:v>
                </c:pt>
                <c:pt idx="5065">
                  <c:v>7.9269999999999996</c:v>
                </c:pt>
                <c:pt idx="5066">
                  <c:v>8.3730000000000011</c:v>
                </c:pt>
                <c:pt idx="5067">
                  <c:v>8.859</c:v>
                </c:pt>
                <c:pt idx="5068">
                  <c:v>10.184999999999999</c:v>
                </c:pt>
                <c:pt idx="5069">
                  <c:v>11.564</c:v>
                </c:pt>
                <c:pt idx="5070">
                  <c:v>11.348000000000001</c:v>
                </c:pt>
                <c:pt idx="5071">
                  <c:v>9.9649999999999999</c:v>
                </c:pt>
                <c:pt idx="5072">
                  <c:v>6.7780000000000005</c:v>
                </c:pt>
                <c:pt idx="5073">
                  <c:v>3.7520000000000002</c:v>
                </c:pt>
                <c:pt idx="5074">
                  <c:v>0.78400000000000003</c:v>
                </c:pt>
                <c:pt idx="5075">
                  <c:v>0.10900000000000001</c:v>
                </c:pt>
                <c:pt idx="5076">
                  <c:v>-4.0000000000000001E-3</c:v>
                </c:pt>
                <c:pt idx="5077">
                  <c:v>-6.0000000000000001E-3</c:v>
                </c:pt>
                <c:pt idx="5078">
                  <c:v>1.325</c:v>
                </c:pt>
                <c:pt idx="5079">
                  <c:v>4.0679999999999996</c:v>
                </c:pt>
                <c:pt idx="5080">
                  <c:v>7.81</c:v>
                </c:pt>
                <c:pt idx="5081">
                  <c:v>10.34</c:v>
                </c:pt>
                <c:pt idx="5082">
                  <c:v>12.943999999999999</c:v>
                </c:pt>
                <c:pt idx="5083">
                  <c:v>17.713000000000001</c:v>
                </c:pt>
                <c:pt idx="5084">
                  <c:v>14.766999999999999</c:v>
                </c:pt>
                <c:pt idx="5085">
                  <c:v>11.498000000000001</c:v>
                </c:pt>
                <c:pt idx="5086">
                  <c:v>9.9039999999999999</c:v>
                </c:pt>
                <c:pt idx="5087">
                  <c:v>9.8849999999999998</c:v>
                </c:pt>
                <c:pt idx="5088">
                  <c:v>8.729000000000001</c:v>
                </c:pt>
                <c:pt idx="5089">
                  <c:v>8.5190000000000001</c:v>
                </c:pt>
                <c:pt idx="5090">
                  <c:v>8.2900000000000009</c:v>
                </c:pt>
                <c:pt idx="5091">
                  <c:v>9.0599999999999987</c:v>
                </c:pt>
                <c:pt idx="5092">
                  <c:v>10.239000000000001</c:v>
                </c:pt>
                <c:pt idx="5093">
                  <c:v>11.251000000000001</c:v>
                </c:pt>
                <c:pt idx="5094">
                  <c:v>11.013999999999999</c:v>
                </c:pt>
                <c:pt idx="5095">
                  <c:v>9.5259999999999998</c:v>
                </c:pt>
                <c:pt idx="5096">
                  <c:v>7.9019999999999992</c:v>
                </c:pt>
                <c:pt idx="5097">
                  <c:v>5.5890000000000004</c:v>
                </c:pt>
                <c:pt idx="5098">
                  <c:v>3.3460000000000001</c:v>
                </c:pt>
                <c:pt idx="5099">
                  <c:v>2.1749999999999998</c:v>
                </c:pt>
                <c:pt idx="5100">
                  <c:v>1.1359999999999999</c:v>
                </c:pt>
                <c:pt idx="5101">
                  <c:v>1.7530000000000001</c:v>
                </c:pt>
                <c:pt idx="5102">
                  <c:v>3.1739999999999999</c:v>
                </c:pt>
                <c:pt idx="5103">
                  <c:v>4.609</c:v>
                </c:pt>
                <c:pt idx="5104">
                  <c:v>7.5849999999999991</c:v>
                </c:pt>
                <c:pt idx="5105">
                  <c:v>9.9160000000000004</c:v>
                </c:pt>
                <c:pt idx="5106">
                  <c:v>11.539</c:v>
                </c:pt>
                <c:pt idx="5107">
                  <c:v>13.615</c:v>
                </c:pt>
                <c:pt idx="5108">
                  <c:v>11.619</c:v>
                </c:pt>
                <c:pt idx="5109">
                  <c:v>10.451000000000001</c:v>
                </c:pt>
                <c:pt idx="5110">
                  <c:v>9.6489999999999991</c:v>
                </c:pt>
                <c:pt idx="5111">
                  <c:v>9.6449999999999996</c:v>
                </c:pt>
                <c:pt idx="5112">
                  <c:v>9.24</c:v>
                </c:pt>
                <c:pt idx="5113">
                  <c:v>8.6849999999999987</c:v>
                </c:pt>
                <c:pt idx="5114">
                  <c:v>8.4109999999999996</c:v>
                </c:pt>
                <c:pt idx="5115">
                  <c:v>9.3079999999999998</c:v>
                </c:pt>
                <c:pt idx="5116">
                  <c:v>11.270999999999999</c:v>
                </c:pt>
                <c:pt idx="5117">
                  <c:v>13.438999999999998</c:v>
                </c:pt>
                <c:pt idx="5118">
                  <c:v>10.952</c:v>
                </c:pt>
                <c:pt idx="5119">
                  <c:v>10.595000000000001</c:v>
                </c:pt>
                <c:pt idx="5120">
                  <c:v>9.01</c:v>
                </c:pt>
                <c:pt idx="5121">
                  <c:v>7.6950000000000003</c:v>
                </c:pt>
                <c:pt idx="5122">
                  <c:v>6.7640000000000002</c:v>
                </c:pt>
                <c:pt idx="5123">
                  <c:v>6.4030000000000005</c:v>
                </c:pt>
                <c:pt idx="5124">
                  <c:v>6.0380000000000003</c:v>
                </c:pt>
                <c:pt idx="5125">
                  <c:v>6.2389999999999999</c:v>
                </c:pt>
                <c:pt idx="5126">
                  <c:v>7.1219999999999999</c:v>
                </c:pt>
                <c:pt idx="5127">
                  <c:v>7.7389999999999999</c:v>
                </c:pt>
                <c:pt idx="5128">
                  <c:v>9.516</c:v>
                </c:pt>
                <c:pt idx="5129">
                  <c:v>10.282999999999999</c:v>
                </c:pt>
                <c:pt idx="5130">
                  <c:v>11.25</c:v>
                </c:pt>
                <c:pt idx="5131">
                  <c:v>13.806999999999999</c:v>
                </c:pt>
                <c:pt idx="5132">
                  <c:v>12.403</c:v>
                </c:pt>
                <c:pt idx="5133">
                  <c:v>11.294</c:v>
                </c:pt>
                <c:pt idx="5134">
                  <c:v>10.57</c:v>
                </c:pt>
                <c:pt idx="5135">
                  <c:v>9.3930000000000007</c:v>
                </c:pt>
                <c:pt idx="5136">
                  <c:v>8.9169999999999998</c:v>
                </c:pt>
                <c:pt idx="5137">
                  <c:v>8.8109999999999999</c:v>
                </c:pt>
                <c:pt idx="5138">
                  <c:v>8.2970000000000006</c:v>
                </c:pt>
                <c:pt idx="5139">
                  <c:v>8.6950000000000003</c:v>
                </c:pt>
                <c:pt idx="5140">
                  <c:v>9.6609999999999996</c:v>
                </c:pt>
                <c:pt idx="5141">
                  <c:v>11.074999999999999</c:v>
                </c:pt>
                <c:pt idx="5142">
                  <c:v>12.138</c:v>
                </c:pt>
                <c:pt idx="5143">
                  <c:v>11.318999999999999</c:v>
                </c:pt>
                <c:pt idx="5144">
                  <c:v>10.442</c:v>
                </c:pt>
                <c:pt idx="5145">
                  <c:v>9.168000000000001</c:v>
                </c:pt>
                <c:pt idx="5146">
                  <c:v>7.7690000000000001</c:v>
                </c:pt>
                <c:pt idx="5147">
                  <c:v>7.3579999999999997</c:v>
                </c:pt>
                <c:pt idx="5148">
                  <c:v>6.194</c:v>
                </c:pt>
                <c:pt idx="5149">
                  <c:v>5.3439999999999994</c:v>
                </c:pt>
                <c:pt idx="5150">
                  <c:v>5.0579999999999998</c:v>
                </c:pt>
                <c:pt idx="5151">
                  <c:v>6.5419999999999998</c:v>
                </c:pt>
                <c:pt idx="5152">
                  <c:v>7.7690000000000001</c:v>
                </c:pt>
                <c:pt idx="5153">
                  <c:v>10.222</c:v>
                </c:pt>
                <c:pt idx="5154">
                  <c:v>12.849</c:v>
                </c:pt>
                <c:pt idx="5155">
                  <c:v>14.619</c:v>
                </c:pt>
                <c:pt idx="5156">
                  <c:v>12.166</c:v>
                </c:pt>
                <c:pt idx="5157">
                  <c:v>11.442</c:v>
                </c:pt>
                <c:pt idx="5158">
                  <c:v>9.9009999999999998</c:v>
                </c:pt>
                <c:pt idx="5159">
                  <c:v>10.265000000000001</c:v>
                </c:pt>
                <c:pt idx="5160">
                  <c:v>9.9139999999999997</c:v>
                </c:pt>
                <c:pt idx="5161">
                  <c:v>9.33</c:v>
                </c:pt>
                <c:pt idx="5162">
                  <c:v>8.91</c:v>
                </c:pt>
                <c:pt idx="5163">
                  <c:v>8.6310000000000002</c:v>
                </c:pt>
                <c:pt idx="5164">
                  <c:v>9.4879999999999995</c:v>
                </c:pt>
                <c:pt idx="5165">
                  <c:v>10.373999999999999</c:v>
                </c:pt>
                <c:pt idx="5166">
                  <c:v>9.5510000000000002</c:v>
                </c:pt>
                <c:pt idx="5167">
                  <c:v>8.4499999999999993</c:v>
                </c:pt>
                <c:pt idx="5168">
                  <c:v>6.6059999999999999</c:v>
                </c:pt>
                <c:pt idx="5169">
                  <c:v>3.2439999999999998</c:v>
                </c:pt>
                <c:pt idx="5170">
                  <c:v>2.036</c:v>
                </c:pt>
                <c:pt idx="5171">
                  <c:v>1.466</c:v>
                </c:pt>
                <c:pt idx="5172">
                  <c:v>0.64100000000000001</c:v>
                </c:pt>
                <c:pt idx="5173">
                  <c:v>0.41</c:v>
                </c:pt>
                <c:pt idx="5174">
                  <c:v>1.238</c:v>
                </c:pt>
                <c:pt idx="5175">
                  <c:v>3.2439999999999998</c:v>
                </c:pt>
                <c:pt idx="5176">
                  <c:v>7.3609999999999998</c:v>
                </c:pt>
                <c:pt idx="5177">
                  <c:v>10.355</c:v>
                </c:pt>
                <c:pt idx="5178">
                  <c:v>11.001999999999999</c:v>
                </c:pt>
                <c:pt idx="5179">
                  <c:v>12.464</c:v>
                </c:pt>
                <c:pt idx="5180">
                  <c:v>13.663999999999998</c:v>
                </c:pt>
                <c:pt idx="5181">
                  <c:v>11.92</c:v>
                </c:pt>
                <c:pt idx="5182">
                  <c:v>10.129999999999999</c:v>
                </c:pt>
                <c:pt idx="5183">
                  <c:v>11.020999999999999</c:v>
                </c:pt>
                <c:pt idx="5184">
                  <c:v>10.134</c:v>
                </c:pt>
                <c:pt idx="5185">
                  <c:v>9.6900000000000013</c:v>
                </c:pt>
                <c:pt idx="5186">
                  <c:v>9.2680000000000007</c:v>
                </c:pt>
                <c:pt idx="5187">
                  <c:v>9.020999999999999</c:v>
                </c:pt>
                <c:pt idx="5188">
                  <c:v>8.3000000000000007</c:v>
                </c:pt>
                <c:pt idx="5189">
                  <c:v>7.7700000000000005</c:v>
                </c:pt>
                <c:pt idx="5190">
                  <c:v>7.32</c:v>
                </c:pt>
                <c:pt idx="5191">
                  <c:v>6.3929999999999998</c:v>
                </c:pt>
                <c:pt idx="5192">
                  <c:v>2.8109999999999999</c:v>
                </c:pt>
                <c:pt idx="5193">
                  <c:v>0.80500000000000005</c:v>
                </c:pt>
                <c:pt idx="5194">
                  <c:v>0.20499999999999999</c:v>
                </c:pt>
                <c:pt idx="5195">
                  <c:v>6.0000000000000001E-3</c:v>
                </c:pt>
                <c:pt idx="5196">
                  <c:v>-4.0000000000000001E-3</c:v>
                </c:pt>
                <c:pt idx="5197">
                  <c:v>-0.21600000000000003</c:v>
                </c:pt>
                <c:pt idx="5198">
                  <c:v>-1E-3</c:v>
                </c:pt>
                <c:pt idx="5199">
                  <c:v>0.1</c:v>
                </c:pt>
                <c:pt idx="5200">
                  <c:v>2.246</c:v>
                </c:pt>
                <c:pt idx="5201">
                  <c:v>7.3170000000000002</c:v>
                </c:pt>
                <c:pt idx="5202">
                  <c:v>10.565999999999999</c:v>
                </c:pt>
                <c:pt idx="5203">
                  <c:v>11.992000000000001</c:v>
                </c:pt>
                <c:pt idx="5204">
                  <c:v>12.498999999999999</c:v>
                </c:pt>
                <c:pt idx="5205">
                  <c:v>11.294</c:v>
                </c:pt>
                <c:pt idx="5206">
                  <c:v>10.483000000000001</c:v>
                </c:pt>
                <c:pt idx="5207">
                  <c:v>10.308</c:v>
                </c:pt>
                <c:pt idx="5208">
                  <c:v>8.532</c:v>
                </c:pt>
                <c:pt idx="5209">
                  <c:v>8.23</c:v>
                </c:pt>
                <c:pt idx="5210">
                  <c:v>8.5350000000000001</c:v>
                </c:pt>
                <c:pt idx="5211">
                  <c:v>8.359</c:v>
                </c:pt>
                <c:pt idx="5212">
                  <c:v>9.7240000000000002</c:v>
                </c:pt>
                <c:pt idx="5213">
                  <c:v>11.898</c:v>
                </c:pt>
                <c:pt idx="5214">
                  <c:v>13.675000000000001</c:v>
                </c:pt>
                <c:pt idx="5215">
                  <c:v>11.397</c:v>
                </c:pt>
                <c:pt idx="5216">
                  <c:v>10.282999999999999</c:v>
                </c:pt>
                <c:pt idx="5217">
                  <c:v>7.45</c:v>
                </c:pt>
                <c:pt idx="5218">
                  <c:v>6.43</c:v>
                </c:pt>
                <c:pt idx="5219">
                  <c:v>5.7119999999999997</c:v>
                </c:pt>
                <c:pt idx="5220">
                  <c:v>4.2050000000000001</c:v>
                </c:pt>
                <c:pt idx="5221">
                  <c:v>3.6350000000000002</c:v>
                </c:pt>
                <c:pt idx="5222">
                  <c:v>5.1429999999999998</c:v>
                </c:pt>
                <c:pt idx="5223">
                  <c:v>7.01</c:v>
                </c:pt>
                <c:pt idx="5224">
                  <c:v>8.5400000000000009</c:v>
                </c:pt>
                <c:pt idx="5225">
                  <c:v>10.897</c:v>
                </c:pt>
                <c:pt idx="5226">
                  <c:v>15.276</c:v>
                </c:pt>
                <c:pt idx="5227">
                  <c:v>25.000999999999998</c:v>
                </c:pt>
                <c:pt idx="5228">
                  <c:v>17.093</c:v>
                </c:pt>
                <c:pt idx="5229">
                  <c:v>12.03</c:v>
                </c:pt>
                <c:pt idx="5230">
                  <c:v>10.292</c:v>
                </c:pt>
                <c:pt idx="5231">
                  <c:v>10.309000000000001</c:v>
                </c:pt>
                <c:pt idx="5232">
                  <c:v>9.5569999999999986</c:v>
                </c:pt>
                <c:pt idx="5233">
                  <c:v>8.9239999999999995</c:v>
                </c:pt>
                <c:pt idx="5234">
                  <c:v>8.5239999999999991</c:v>
                </c:pt>
                <c:pt idx="5235">
                  <c:v>8.5760000000000005</c:v>
                </c:pt>
                <c:pt idx="5236">
                  <c:v>9.577</c:v>
                </c:pt>
                <c:pt idx="5237">
                  <c:v>12.385999999999999</c:v>
                </c:pt>
                <c:pt idx="5238">
                  <c:v>12.604000000000001</c:v>
                </c:pt>
                <c:pt idx="5239">
                  <c:v>8.5289999999999999</c:v>
                </c:pt>
                <c:pt idx="5240">
                  <c:v>7.4510000000000005</c:v>
                </c:pt>
                <c:pt idx="5241">
                  <c:v>3.6040000000000001</c:v>
                </c:pt>
                <c:pt idx="5242">
                  <c:v>2.1429999999999998</c:v>
                </c:pt>
                <c:pt idx="5243">
                  <c:v>1.5859999999999999</c:v>
                </c:pt>
                <c:pt idx="5244">
                  <c:v>0.29500000000000004</c:v>
                </c:pt>
                <c:pt idx="5245">
                  <c:v>0.47899999999999998</c:v>
                </c:pt>
                <c:pt idx="5246">
                  <c:v>1.9440000000000002</c:v>
                </c:pt>
                <c:pt idx="5247">
                  <c:v>3.9710000000000001</c:v>
                </c:pt>
                <c:pt idx="5248">
                  <c:v>8.2189999999999994</c:v>
                </c:pt>
                <c:pt idx="5249">
                  <c:v>10.629000000000001</c:v>
                </c:pt>
                <c:pt idx="5250">
                  <c:v>17.458000000000002</c:v>
                </c:pt>
                <c:pt idx="5251">
                  <c:v>23.085000000000001</c:v>
                </c:pt>
                <c:pt idx="5252">
                  <c:v>17.044999999999998</c:v>
                </c:pt>
                <c:pt idx="5253">
                  <c:v>11.854000000000001</c:v>
                </c:pt>
                <c:pt idx="5254">
                  <c:v>10.003</c:v>
                </c:pt>
                <c:pt idx="5255">
                  <c:v>9.1389999999999993</c:v>
                </c:pt>
                <c:pt idx="5256">
                  <c:v>8.3239999999999998</c:v>
                </c:pt>
                <c:pt idx="5257">
                  <c:v>7.9290000000000003</c:v>
                </c:pt>
                <c:pt idx="5258">
                  <c:v>8.3239999999999998</c:v>
                </c:pt>
                <c:pt idx="5259">
                  <c:v>8.6430000000000007</c:v>
                </c:pt>
                <c:pt idx="5260">
                  <c:v>10.436</c:v>
                </c:pt>
                <c:pt idx="5261">
                  <c:v>12.606999999999999</c:v>
                </c:pt>
                <c:pt idx="5262">
                  <c:v>12.798</c:v>
                </c:pt>
                <c:pt idx="5263">
                  <c:v>10.906000000000001</c:v>
                </c:pt>
                <c:pt idx="5264">
                  <c:v>8.891</c:v>
                </c:pt>
                <c:pt idx="5265">
                  <c:v>7.3559999999999999</c:v>
                </c:pt>
                <c:pt idx="5266">
                  <c:v>6.2490000000000006</c:v>
                </c:pt>
                <c:pt idx="5267">
                  <c:v>4.2140000000000004</c:v>
                </c:pt>
                <c:pt idx="5268">
                  <c:v>3.5049999999999999</c:v>
                </c:pt>
                <c:pt idx="5269">
                  <c:v>5.1189999999999998</c:v>
                </c:pt>
                <c:pt idx="5270">
                  <c:v>6.9279999999999999</c:v>
                </c:pt>
                <c:pt idx="5271">
                  <c:v>8.5739999999999998</c:v>
                </c:pt>
                <c:pt idx="5272">
                  <c:v>10.52</c:v>
                </c:pt>
                <c:pt idx="5273">
                  <c:v>10.641</c:v>
                </c:pt>
                <c:pt idx="5274">
                  <c:v>11.975</c:v>
                </c:pt>
                <c:pt idx="5275">
                  <c:v>14.928000000000001</c:v>
                </c:pt>
                <c:pt idx="5276">
                  <c:v>13.425000000000001</c:v>
                </c:pt>
                <c:pt idx="5277">
                  <c:v>11.273999999999999</c:v>
                </c:pt>
                <c:pt idx="5278">
                  <c:v>10.278</c:v>
                </c:pt>
                <c:pt idx="5279">
                  <c:v>9.6430000000000007</c:v>
                </c:pt>
                <c:pt idx="5280">
                  <c:v>8.8060000000000009</c:v>
                </c:pt>
                <c:pt idx="5281">
                  <c:v>8.7360000000000007</c:v>
                </c:pt>
                <c:pt idx="5282">
                  <c:v>8.8060000000000009</c:v>
                </c:pt>
                <c:pt idx="5283">
                  <c:v>8.827</c:v>
                </c:pt>
                <c:pt idx="5284">
                  <c:v>9.6110000000000007</c:v>
                </c:pt>
                <c:pt idx="5285">
                  <c:v>11.093</c:v>
                </c:pt>
                <c:pt idx="5286">
                  <c:v>12.493</c:v>
                </c:pt>
                <c:pt idx="5287">
                  <c:v>11.440999999999999</c:v>
                </c:pt>
                <c:pt idx="5288">
                  <c:v>10.684000000000001</c:v>
                </c:pt>
                <c:pt idx="5289">
                  <c:v>8.61</c:v>
                </c:pt>
                <c:pt idx="5290">
                  <c:v>7.1599999999999993</c:v>
                </c:pt>
                <c:pt idx="5291">
                  <c:v>5.7090000000000005</c:v>
                </c:pt>
                <c:pt idx="5292">
                  <c:v>4.0490000000000004</c:v>
                </c:pt>
                <c:pt idx="5293">
                  <c:v>3.218</c:v>
                </c:pt>
                <c:pt idx="5294">
                  <c:v>4.024</c:v>
                </c:pt>
                <c:pt idx="5295">
                  <c:v>5.7810000000000006</c:v>
                </c:pt>
                <c:pt idx="5296">
                  <c:v>8.0519999999999996</c:v>
                </c:pt>
                <c:pt idx="5297">
                  <c:v>10.192</c:v>
                </c:pt>
                <c:pt idx="5298">
                  <c:v>13.849</c:v>
                </c:pt>
                <c:pt idx="5299">
                  <c:v>19.731000000000002</c:v>
                </c:pt>
                <c:pt idx="5300">
                  <c:v>13.5</c:v>
                </c:pt>
                <c:pt idx="5301">
                  <c:v>10.199999999999999</c:v>
                </c:pt>
                <c:pt idx="5302">
                  <c:v>9.3559999999999999</c:v>
                </c:pt>
                <c:pt idx="5303">
                  <c:v>10.370999999999999</c:v>
                </c:pt>
                <c:pt idx="5304">
                  <c:v>8.3919999999999995</c:v>
                </c:pt>
                <c:pt idx="5305">
                  <c:v>6.734</c:v>
                </c:pt>
                <c:pt idx="5306">
                  <c:v>6.43</c:v>
                </c:pt>
                <c:pt idx="5307">
                  <c:v>5.3310000000000004</c:v>
                </c:pt>
                <c:pt idx="5308">
                  <c:v>6.4359999999999999</c:v>
                </c:pt>
                <c:pt idx="5309">
                  <c:v>8</c:v>
                </c:pt>
                <c:pt idx="5310">
                  <c:v>8.8409999999999993</c:v>
                </c:pt>
                <c:pt idx="5311">
                  <c:v>5.9399999999999995</c:v>
                </c:pt>
                <c:pt idx="5312">
                  <c:v>3.1309999999999998</c:v>
                </c:pt>
                <c:pt idx="5313">
                  <c:v>0.89800000000000002</c:v>
                </c:pt>
                <c:pt idx="5314">
                  <c:v>0.06</c:v>
                </c:pt>
                <c:pt idx="5315">
                  <c:v>-3.0000000000000001E-3</c:v>
                </c:pt>
                <c:pt idx="5316">
                  <c:v>-1.6E-2</c:v>
                </c:pt>
                <c:pt idx="5317">
                  <c:v>-0.08</c:v>
                </c:pt>
                <c:pt idx="5318">
                  <c:v>-1.0999999999999999E-2</c:v>
                </c:pt>
                <c:pt idx="5319">
                  <c:v>-1E-3</c:v>
                </c:pt>
                <c:pt idx="5320">
                  <c:v>0.255</c:v>
                </c:pt>
                <c:pt idx="5321">
                  <c:v>4.1779999999999999</c:v>
                </c:pt>
                <c:pt idx="5322">
                  <c:v>8.104000000000001</c:v>
                </c:pt>
                <c:pt idx="5323">
                  <c:v>12.497</c:v>
                </c:pt>
                <c:pt idx="5324">
                  <c:v>11.805</c:v>
                </c:pt>
                <c:pt idx="5325">
                  <c:v>11.346</c:v>
                </c:pt>
                <c:pt idx="5326">
                  <c:v>9.3230000000000004</c:v>
                </c:pt>
                <c:pt idx="5327">
                  <c:v>8.5090000000000003</c:v>
                </c:pt>
                <c:pt idx="5328">
                  <c:v>9.2129999999999992</c:v>
                </c:pt>
                <c:pt idx="5329">
                  <c:v>8.7279999999999998</c:v>
                </c:pt>
                <c:pt idx="5330">
                  <c:v>8.4670000000000005</c:v>
                </c:pt>
                <c:pt idx="5331">
                  <c:v>8.293000000000001</c:v>
                </c:pt>
                <c:pt idx="5332">
                  <c:v>8.5519999999999996</c:v>
                </c:pt>
                <c:pt idx="5333">
                  <c:v>8.8680000000000003</c:v>
                </c:pt>
                <c:pt idx="5334">
                  <c:v>7.6010000000000009</c:v>
                </c:pt>
                <c:pt idx="5335">
                  <c:v>3.1859999999999999</c:v>
                </c:pt>
                <c:pt idx="5336">
                  <c:v>0.02</c:v>
                </c:pt>
                <c:pt idx="5337">
                  <c:v>-0.3</c:v>
                </c:pt>
                <c:pt idx="5338">
                  <c:v>-1.22</c:v>
                </c:pt>
                <c:pt idx="5339">
                  <c:v>-2.2489999999999997</c:v>
                </c:pt>
                <c:pt idx="5340">
                  <c:v>-4.077</c:v>
                </c:pt>
                <c:pt idx="5341">
                  <c:v>-4.0090000000000003</c:v>
                </c:pt>
                <c:pt idx="5342">
                  <c:v>-2.9670000000000001</c:v>
                </c:pt>
                <c:pt idx="5343">
                  <c:v>-0.82</c:v>
                </c:pt>
                <c:pt idx="5344">
                  <c:v>7.000000000000001E-3</c:v>
                </c:pt>
                <c:pt idx="5345">
                  <c:v>4.8840000000000003</c:v>
                </c:pt>
                <c:pt idx="5346">
                  <c:v>10.654999999999999</c:v>
                </c:pt>
                <c:pt idx="5347">
                  <c:v>12.543000000000001</c:v>
                </c:pt>
                <c:pt idx="5348">
                  <c:v>13.3</c:v>
                </c:pt>
                <c:pt idx="5349">
                  <c:v>11.785</c:v>
                </c:pt>
                <c:pt idx="5350">
                  <c:v>10.664</c:v>
                </c:pt>
                <c:pt idx="5351">
                  <c:v>10.670999999999999</c:v>
                </c:pt>
                <c:pt idx="5352">
                  <c:v>10.417</c:v>
                </c:pt>
                <c:pt idx="5353">
                  <c:v>9.9959999999999987</c:v>
                </c:pt>
                <c:pt idx="5354">
                  <c:v>9.5139999999999993</c:v>
                </c:pt>
                <c:pt idx="5355">
                  <c:v>9.6489999999999991</c:v>
                </c:pt>
                <c:pt idx="5356">
                  <c:v>11.497</c:v>
                </c:pt>
                <c:pt idx="5357">
                  <c:v>10.644</c:v>
                </c:pt>
                <c:pt idx="5358">
                  <c:v>7.1019999999999994</c:v>
                </c:pt>
                <c:pt idx="5359">
                  <c:v>2.7800000000000002</c:v>
                </c:pt>
                <c:pt idx="5360">
                  <c:v>0</c:v>
                </c:pt>
                <c:pt idx="5361">
                  <c:v>-0.501</c:v>
                </c:pt>
                <c:pt idx="5362">
                  <c:v>-1.4990000000000001</c:v>
                </c:pt>
                <c:pt idx="5363">
                  <c:v>-3.2039999999999997</c:v>
                </c:pt>
                <c:pt idx="5364">
                  <c:v>-5.9960000000000004</c:v>
                </c:pt>
                <c:pt idx="5365">
                  <c:v>-5.0090000000000003</c:v>
                </c:pt>
                <c:pt idx="5366">
                  <c:v>-3.1420000000000003</c:v>
                </c:pt>
                <c:pt idx="5367">
                  <c:v>-0.497</c:v>
                </c:pt>
                <c:pt idx="5368">
                  <c:v>0.14599999999999999</c:v>
                </c:pt>
                <c:pt idx="5369">
                  <c:v>8.8140000000000001</c:v>
                </c:pt>
                <c:pt idx="5370">
                  <c:v>12.88</c:v>
                </c:pt>
                <c:pt idx="5371">
                  <c:v>13.718</c:v>
                </c:pt>
                <c:pt idx="5372">
                  <c:v>12.615</c:v>
                </c:pt>
                <c:pt idx="5373">
                  <c:v>10.998999999999999</c:v>
                </c:pt>
                <c:pt idx="5374">
                  <c:v>9.7279999999999998</c:v>
                </c:pt>
                <c:pt idx="5375">
                  <c:v>10.498000000000001</c:v>
                </c:pt>
                <c:pt idx="5376">
                  <c:v>9.4619999999999997</c:v>
                </c:pt>
                <c:pt idx="5377">
                  <c:v>8.5299999999999994</c:v>
                </c:pt>
                <c:pt idx="5378">
                  <c:v>8.66</c:v>
                </c:pt>
                <c:pt idx="5379">
                  <c:v>8.8849999999999998</c:v>
                </c:pt>
                <c:pt idx="5380">
                  <c:v>11.454000000000001</c:v>
                </c:pt>
                <c:pt idx="5381">
                  <c:v>15.382</c:v>
                </c:pt>
                <c:pt idx="5382">
                  <c:v>15.382</c:v>
                </c:pt>
                <c:pt idx="5383">
                  <c:v>11.525</c:v>
                </c:pt>
                <c:pt idx="5384">
                  <c:v>6.99</c:v>
                </c:pt>
                <c:pt idx="5385">
                  <c:v>4.0119999999999996</c:v>
                </c:pt>
                <c:pt idx="5386">
                  <c:v>1.6039999999999999</c:v>
                </c:pt>
                <c:pt idx="5387">
                  <c:v>1.006</c:v>
                </c:pt>
                <c:pt idx="5388">
                  <c:v>0.69800000000000006</c:v>
                </c:pt>
                <c:pt idx="5389">
                  <c:v>1.3800000000000001</c:v>
                </c:pt>
                <c:pt idx="5390">
                  <c:v>2.7869999999999999</c:v>
                </c:pt>
                <c:pt idx="5391">
                  <c:v>4.8650000000000002</c:v>
                </c:pt>
                <c:pt idx="5392">
                  <c:v>8.9290000000000003</c:v>
                </c:pt>
                <c:pt idx="5393">
                  <c:v>12.278</c:v>
                </c:pt>
                <c:pt idx="5394">
                  <c:v>20.602</c:v>
                </c:pt>
                <c:pt idx="5395">
                  <c:v>22.484000000000002</c:v>
                </c:pt>
                <c:pt idx="5396">
                  <c:v>12.834</c:v>
                </c:pt>
                <c:pt idx="5397">
                  <c:v>10.687999999999999</c:v>
                </c:pt>
                <c:pt idx="5398">
                  <c:v>10.004999999999999</c:v>
                </c:pt>
                <c:pt idx="5399">
                  <c:v>9.9640000000000004</c:v>
                </c:pt>
                <c:pt idx="5400">
                  <c:v>8.7910000000000004</c:v>
                </c:pt>
                <c:pt idx="5401">
                  <c:v>8.66</c:v>
                </c:pt>
                <c:pt idx="5402">
                  <c:v>8.479000000000001</c:v>
                </c:pt>
                <c:pt idx="5403">
                  <c:v>8.4760000000000009</c:v>
                </c:pt>
                <c:pt idx="5404">
                  <c:v>10.137</c:v>
                </c:pt>
                <c:pt idx="5405">
                  <c:v>12.565999999999999</c:v>
                </c:pt>
                <c:pt idx="5406">
                  <c:v>13.371</c:v>
                </c:pt>
                <c:pt idx="5407">
                  <c:v>11.789</c:v>
                </c:pt>
                <c:pt idx="5408">
                  <c:v>8.7810000000000006</c:v>
                </c:pt>
                <c:pt idx="5409">
                  <c:v>6.6669999999999998</c:v>
                </c:pt>
                <c:pt idx="5410">
                  <c:v>5.5939999999999994</c:v>
                </c:pt>
                <c:pt idx="5411">
                  <c:v>4.3010000000000002</c:v>
                </c:pt>
                <c:pt idx="5412">
                  <c:v>4.0369999999999999</c:v>
                </c:pt>
                <c:pt idx="5413">
                  <c:v>4.7960000000000003</c:v>
                </c:pt>
                <c:pt idx="5414">
                  <c:v>6.4150000000000009</c:v>
                </c:pt>
                <c:pt idx="5415">
                  <c:v>8.6</c:v>
                </c:pt>
                <c:pt idx="5416">
                  <c:v>10.5</c:v>
                </c:pt>
                <c:pt idx="5417">
                  <c:v>12.104000000000001</c:v>
                </c:pt>
                <c:pt idx="5418">
                  <c:v>20.271999999999998</c:v>
                </c:pt>
                <c:pt idx="5419">
                  <c:v>20.535</c:v>
                </c:pt>
                <c:pt idx="5420">
                  <c:v>12.89</c:v>
                </c:pt>
                <c:pt idx="5421">
                  <c:v>11.148</c:v>
                </c:pt>
                <c:pt idx="5422">
                  <c:v>10.498999999999999</c:v>
                </c:pt>
                <c:pt idx="5423">
                  <c:v>8.7729999999999997</c:v>
                </c:pt>
                <c:pt idx="5424">
                  <c:v>9.0790000000000006</c:v>
                </c:pt>
                <c:pt idx="5425">
                  <c:v>8.7729999999999997</c:v>
                </c:pt>
                <c:pt idx="5426">
                  <c:v>9.34</c:v>
                </c:pt>
                <c:pt idx="5427">
                  <c:v>9.36</c:v>
                </c:pt>
                <c:pt idx="5428">
                  <c:v>10.709999999999999</c:v>
                </c:pt>
                <c:pt idx="5429">
                  <c:v>12.974</c:v>
                </c:pt>
                <c:pt idx="5430">
                  <c:v>13.662000000000001</c:v>
                </c:pt>
                <c:pt idx="5431">
                  <c:v>12.096</c:v>
                </c:pt>
                <c:pt idx="5432">
                  <c:v>10.879000000000001</c:v>
                </c:pt>
                <c:pt idx="5433">
                  <c:v>8.3079999999999998</c:v>
                </c:pt>
                <c:pt idx="5434">
                  <c:v>7.7239999999999993</c:v>
                </c:pt>
                <c:pt idx="5435">
                  <c:v>7.2849999999999993</c:v>
                </c:pt>
                <c:pt idx="5436">
                  <c:v>7.5379999999999994</c:v>
                </c:pt>
                <c:pt idx="5437">
                  <c:v>7.4709999999999992</c:v>
                </c:pt>
                <c:pt idx="5438">
                  <c:v>8.1739999999999995</c:v>
                </c:pt>
                <c:pt idx="5439">
                  <c:v>9.4359999999999999</c:v>
                </c:pt>
                <c:pt idx="5440">
                  <c:v>10.559000000000001</c:v>
                </c:pt>
                <c:pt idx="5441">
                  <c:v>11.148</c:v>
                </c:pt>
                <c:pt idx="5442">
                  <c:v>16.140999999999998</c:v>
                </c:pt>
                <c:pt idx="5443">
                  <c:v>21.891999999999999</c:v>
                </c:pt>
                <c:pt idx="5444">
                  <c:v>14.87</c:v>
                </c:pt>
                <c:pt idx="5445">
                  <c:v>12.043000000000001</c:v>
                </c:pt>
                <c:pt idx="5446">
                  <c:v>10.995000000000001</c:v>
                </c:pt>
                <c:pt idx="5447">
                  <c:v>11.032999999999999</c:v>
                </c:pt>
                <c:pt idx="5448">
                  <c:v>10.965999999999999</c:v>
                </c:pt>
                <c:pt idx="5449">
                  <c:v>10.53</c:v>
                </c:pt>
                <c:pt idx="5450">
                  <c:v>9.4740000000000002</c:v>
                </c:pt>
                <c:pt idx="5451">
                  <c:v>9.6020000000000003</c:v>
                </c:pt>
                <c:pt idx="5452">
                  <c:v>10.891</c:v>
                </c:pt>
                <c:pt idx="5453">
                  <c:v>11.975</c:v>
                </c:pt>
                <c:pt idx="5454">
                  <c:v>12.071</c:v>
                </c:pt>
                <c:pt idx="5455">
                  <c:v>11.497</c:v>
                </c:pt>
                <c:pt idx="5456">
                  <c:v>9.1120000000000001</c:v>
                </c:pt>
                <c:pt idx="5457">
                  <c:v>5.91</c:v>
                </c:pt>
                <c:pt idx="5458">
                  <c:v>1.9940000000000002</c:v>
                </c:pt>
                <c:pt idx="5459">
                  <c:v>0.98599999999999999</c:v>
                </c:pt>
                <c:pt idx="5460">
                  <c:v>1E-3</c:v>
                </c:pt>
                <c:pt idx="5461">
                  <c:v>-4.0000000000000001E-3</c:v>
                </c:pt>
                <c:pt idx="5462">
                  <c:v>0.42499999999999999</c:v>
                </c:pt>
                <c:pt idx="5463">
                  <c:v>3.3409999999999997</c:v>
                </c:pt>
                <c:pt idx="5464">
                  <c:v>7.7260000000000009</c:v>
                </c:pt>
                <c:pt idx="5465">
                  <c:v>11.993</c:v>
                </c:pt>
                <c:pt idx="5466">
                  <c:v>14.250999999999999</c:v>
                </c:pt>
                <c:pt idx="5467">
                  <c:v>16.03</c:v>
                </c:pt>
                <c:pt idx="5468">
                  <c:v>14.084</c:v>
                </c:pt>
                <c:pt idx="5469">
                  <c:v>11.887</c:v>
                </c:pt>
                <c:pt idx="5470">
                  <c:v>9.4939999999999998</c:v>
                </c:pt>
                <c:pt idx="5471">
                  <c:v>10.897</c:v>
                </c:pt>
                <c:pt idx="5472">
                  <c:v>8.6780000000000008</c:v>
                </c:pt>
                <c:pt idx="5473">
                  <c:v>8.5579999999999998</c:v>
                </c:pt>
                <c:pt idx="5474">
                  <c:v>8.5830000000000002</c:v>
                </c:pt>
                <c:pt idx="5475">
                  <c:v>8.7759999999999998</c:v>
                </c:pt>
                <c:pt idx="5476">
                  <c:v>9.2050000000000001</c:v>
                </c:pt>
                <c:pt idx="5477">
                  <c:v>12.841999999999999</c:v>
                </c:pt>
                <c:pt idx="5478">
                  <c:v>13.491</c:v>
                </c:pt>
                <c:pt idx="5479">
                  <c:v>12.483000000000001</c:v>
                </c:pt>
                <c:pt idx="5480">
                  <c:v>10.095000000000001</c:v>
                </c:pt>
                <c:pt idx="5481">
                  <c:v>7.6150000000000002</c:v>
                </c:pt>
                <c:pt idx="5482">
                  <c:v>5.9829999999999997</c:v>
                </c:pt>
                <c:pt idx="5483">
                  <c:v>5.0679999999999996</c:v>
                </c:pt>
                <c:pt idx="5484">
                  <c:v>4.9930000000000003</c:v>
                </c:pt>
                <c:pt idx="5485">
                  <c:v>4.7569999999999997</c:v>
                </c:pt>
                <c:pt idx="5486">
                  <c:v>5.516</c:v>
                </c:pt>
                <c:pt idx="5487">
                  <c:v>8.2669999999999995</c:v>
                </c:pt>
                <c:pt idx="5488">
                  <c:v>10.376000000000001</c:v>
                </c:pt>
                <c:pt idx="5489">
                  <c:v>13.491999999999999</c:v>
                </c:pt>
                <c:pt idx="5490">
                  <c:v>23.052</c:v>
                </c:pt>
                <c:pt idx="5491">
                  <c:v>24.312000000000001</c:v>
                </c:pt>
                <c:pt idx="5492">
                  <c:v>17.183</c:v>
                </c:pt>
                <c:pt idx="5493">
                  <c:v>13.453999999999999</c:v>
                </c:pt>
                <c:pt idx="5494">
                  <c:v>11.617000000000001</c:v>
                </c:pt>
                <c:pt idx="5495">
                  <c:v>10.711</c:v>
                </c:pt>
                <c:pt idx="5496">
                  <c:v>10.926</c:v>
                </c:pt>
                <c:pt idx="5497">
                  <c:v>10.312999999999999</c:v>
                </c:pt>
                <c:pt idx="5498">
                  <c:v>10.181999999999999</c:v>
                </c:pt>
                <c:pt idx="5499">
                  <c:v>11.059000000000001</c:v>
                </c:pt>
                <c:pt idx="5500">
                  <c:v>11.084</c:v>
                </c:pt>
                <c:pt idx="5501">
                  <c:v>10.67</c:v>
                </c:pt>
                <c:pt idx="5502">
                  <c:v>10.397</c:v>
                </c:pt>
                <c:pt idx="5503">
                  <c:v>10.343</c:v>
                </c:pt>
                <c:pt idx="5504">
                  <c:v>8.4</c:v>
                </c:pt>
                <c:pt idx="5505">
                  <c:v>6.9489999999999998</c:v>
                </c:pt>
                <c:pt idx="5506">
                  <c:v>5.4279999999999999</c:v>
                </c:pt>
                <c:pt idx="5507">
                  <c:v>4.6929999999999996</c:v>
                </c:pt>
                <c:pt idx="5508">
                  <c:v>4.0709999999999997</c:v>
                </c:pt>
                <c:pt idx="5509">
                  <c:v>3.9430000000000001</c:v>
                </c:pt>
                <c:pt idx="5510">
                  <c:v>3.9560000000000004</c:v>
                </c:pt>
                <c:pt idx="5511">
                  <c:v>5.9090000000000007</c:v>
                </c:pt>
                <c:pt idx="5512">
                  <c:v>8.84</c:v>
                </c:pt>
                <c:pt idx="5513">
                  <c:v>11.968</c:v>
                </c:pt>
                <c:pt idx="5514">
                  <c:v>14.056000000000001</c:v>
                </c:pt>
                <c:pt idx="5515">
                  <c:v>14.918000000000001</c:v>
                </c:pt>
                <c:pt idx="5516">
                  <c:v>12.698</c:v>
                </c:pt>
                <c:pt idx="5517">
                  <c:v>11.67</c:v>
                </c:pt>
                <c:pt idx="5518">
                  <c:v>10.581999999999999</c:v>
                </c:pt>
                <c:pt idx="5519">
                  <c:v>11.181999999999999</c:v>
                </c:pt>
                <c:pt idx="5520">
                  <c:v>11.28</c:v>
                </c:pt>
                <c:pt idx="5521">
                  <c:v>10.617000000000001</c:v>
                </c:pt>
                <c:pt idx="5522">
                  <c:v>10.622</c:v>
                </c:pt>
                <c:pt idx="5523">
                  <c:v>10.475</c:v>
                </c:pt>
                <c:pt idx="5524">
                  <c:v>10.497</c:v>
                </c:pt>
                <c:pt idx="5525">
                  <c:v>9.9529999999999994</c:v>
                </c:pt>
                <c:pt idx="5526">
                  <c:v>9.52</c:v>
                </c:pt>
                <c:pt idx="5527">
                  <c:v>8.82</c:v>
                </c:pt>
                <c:pt idx="5528">
                  <c:v>8.2319999999999993</c:v>
                </c:pt>
                <c:pt idx="5529">
                  <c:v>7.2120000000000006</c:v>
                </c:pt>
                <c:pt idx="5530">
                  <c:v>7.2519999999999998</c:v>
                </c:pt>
                <c:pt idx="5531">
                  <c:v>6.6029999999999998</c:v>
                </c:pt>
                <c:pt idx="5532">
                  <c:v>3.3639999999999999</c:v>
                </c:pt>
                <c:pt idx="5533">
                  <c:v>1.7719999999999998</c:v>
                </c:pt>
                <c:pt idx="5534">
                  <c:v>5.1280000000000001</c:v>
                </c:pt>
                <c:pt idx="5535">
                  <c:v>6.9859999999999998</c:v>
                </c:pt>
                <c:pt idx="5536">
                  <c:v>8.2390000000000008</c:v>
                </c:pt>
                <c:pt idx="5537">
                  <c:v>9.3849999999999998</c:v>
                </c:pt>
                <c:pt idx="5538">
                  <c:v>10.993</c:v>
                </c:pt>
                <c:pt idx="5539">
                  <c:v>11.568000000000001</c:v>
                </c:pt>
                <c:pt idx="5540">
                  <c:v>10.983000000000001</c:v>
                </c:pt>
                <c:pt idx="5541">
                  <c:v>11.14</c:v>
                </c:pt>
                <c:pt idx="5542">
                  <c:v>9.9450000000000003</c:v>
                </c:pt>
                <c:pt idx="5543">
                  <c:v>9.7390000000000008</c:v>
                </c:pt>
                <c:pt idx="5544">
                  <c:v>9.01</c:v>
                </c:pt>
                <c:pt idx="5545">
                  <c:v>8.870000000000001</c:v>
                </c:pt>
                <c:pt idx="5546">
                  <c:v>8.4860000000000007</c:v>
                </c:pt>
                <c:pt idx="5547">
                  <c:v>8.4499999999999993</c:v>
                </c:pt>
                <c:pt idx="5548">
                  <c:v>8.7970000000000006</c:v>
                </c:pt>
                <c:pt idx="5549">
                  <c:v>12.9</c:v>
                </c:pt>
                <c:pt idx="5550">
                  <c:v>15.233000000000001</c:v>
                </c:pt>
                <c:pt idx="5551">
                  <c:v>12.959999999999999</c:v>
                </c:pt>
                <c:pt idx="5552">
                  <c:v>11.257999999999999</c:v>
                </c:pt>
                <c:pt idx="5553">
                  <c:v>9.6900000000000013</c:v>
                </c:pt>
                <c:pt idx="5554">
                  <c:v>8.9740000000000002</c:v>
                </c:pt>
                <c:pt idx="5555">
                  <c:v>8.4379999999999988</c:v>
                </c:pt>
                <c:pt idx="5556">
                  <c:v>7.8870000000000005</c:v>
                </c:pt>
                <c:pt idx="5557">
                  <c:v>8.020999999999999</c:v>
                </c:pt>
                <c:pt idx="5558">
                  <c:v>7.99</c:v>
                </c:pt>
                <c:pt idx="5559">
                  <c:v>8.4049999999999994</c:v>
                </c:pt>
                <c:pt idx="5560">
                  <c:v>10.07</c:v>
                </c:pt>
                <c:pt idx="5561">
                  <c:v>11.397</c:v>
                </c:pt>
                <c:pt idx="5562">
                  <c:v>20</c:v>
                </c:pt>
                <c:pt idx="5563">
                  <c:v>20.383000000000003</c:v>
                </c:pt>
                <c:pt idx="5564">
                  <c:v>14.011000000000001</c:v>
                </c:pt>
                <c:pt idx="5565">
                  <c:v>10.081999999999999</c:v>
                </c:pt>
                <c:pt idx="5566">
                  <c:v>8.620000000000001</c:v>
                </c:pt>
                <c:pt idx="5567">
                  <c:v>9.36</c:v>
                </c:pt>
                <c:pt idx="5568">
                  <c:v>8.9550000000000001</c:v>
                </c:pt>
                <c:pt idx="5569">
                  <c:v>8.85</c:v>
                </c:pt>
                <c:pt idx="5570">
                  <c:v>8.9310000000000009</c:v>
                </c:pt>
                <c:pt idx="5571">
                  <c:v>8.6189999999999998</c:v>
                </c:pt>
                <c:pt idx="5572">
                  <c:v>8.9969999999999999</c:v>
                </c:pt>
                <c:pt idx="5573">
                  <c:v>12.306000000000001</c:v>
                </c:pt>
                <c:pt idx="5574">
                  <c:v>13.322999999999999</c:v>
                </c:pt>
                <c:pt idx="5575">
                  <c:v>12.297000000000001</c:v>
                </c:pt>
                <c:pt idx="5576">
                  <c:v>10.309000000000001</c:v>
                </c:pt>
                <c:pt idx="5577">
                  <c:v>7.5010000000000003</c:v>
                </c:pt>
                <c:pt idx="5578">
                  <c:v>5.0129999999999999</c:v>
                </c:pt>
                <c:pt idx="5579">
                  <c:v>3.7689999999999997</c:v>
                </c:pt>
                <c:pt idx="5580">
                  <c:v>1.8219999999999998</c:v>
                </c:pt>
                <c:pt idx="5581">
                  <c:v>2.036</c:v>
                </c:pt>
                <c:pt idx="5582">
                  <c:v>4.8899999999999997</c:v>
                </c:pt>
                <c:pt idx="5583">
                  <c:v>8.2149999999999999</c:v>
                </c:pt>
                <c:pt idx="5584">
                  <c:v>10.45</c:v>
                </c:pt>
                <c:pt idx="5585">
                  <c:v>11.806999999999999</c:v>
                </c:pt>
                <c:pt idx="5586">
                  <c:v>15.881</c:v>
                </c:pt>
                <c:pt idx="5587">
                  <c:v>15.471</c:v>
                </c:pt>
                <c:pt idx="5588">
                  <c:v>12.089</c:v>
                </c:pt>
                <c:pt idx="5589">
                  <c:v>10.382</c:v>
                </c:pt>
                <c:pt idx="5590">
                  <c:v>9.7959999999999994</c:v>
                </c:pt>
                <c:pt idx="5591">
                  <c:v>8.7360000000000007</c:v>
                </c:pt>
                <c:pt idx="5592">
                  <c:v>8.1999999999999993</c:v>
                </c:pt>
                <c:pt idx="5593">
                  <c:v>6.5930000000000009</c:v>
                </c:pt>
                <c:pt idx="5594">
                  <c:v>5.609</c:v>
                </c:pt>
                <c:pt idx="5595">
                  <c:v>6.0419999999999998</c:v>
                </c:pt>
                <c:pt idx="5596">
                  <c:v>5.9950000000000001</c:v>
                </c:pt>
                <c:pt idx="5597">
                  <c:v>8.129999999999999</c:v>
                </c:pt>
                <c:pt idx="5598">
                  <c:v>8.5920000000000005</c:v>
                </c:pt>
                <c:pt idx="5599">
                  <c:v>8.7379999999999995</c:v>
                </c:pt>
                <c:pt idx="5600">
                  <c:v>5.3159999999999998</c:v>
                </c:pt>
                <c:pt idx="5601">
                  <c:v>1.6E-2</c:v>
                </c:pt>
                <c:pt idx="5602">
                  <c:v>-0.495</c:v>
                </c:pt>
                <c:pt idx="5603">
                  <c:v>-1.3009999999999999</c:v>
                </c:pt>
                <c:pt idx="5604">
                  <c:v>-2.032</c:v>
                </c:pt>
                <c:pt idx="5605">
                  <c:v>-2.1280000000000001</c:v>
                </c:pt>
                <c:pt idx="5606">
                  <c:v>-1.605</c:v>
                </c:pt>
                <c:pt idx="5607">
                  <c:v>-1.264</c:v>
                </c:pt>
                <c:pt idx="5608">
                  <c:v>0.20099999999999998</c:v>
                </c:pt>
                <c:pt idx="5609">
                  <c:v>6.7260000000000009</c:v>
                </c:pt>
                <c:pt idx="5610">
                  <c:v>10.189</c:v>
                </c:pt>
                <c:pt idx="5611">
                  <c:v>14.035</c:v>
                </c:pt>
                <c:pt idx="5612">
                  <c:v>13.096</c:v>
                </c:pt>
                <c:pt idx="5613">
                  <c:v>10.342000000000001</c:v>
                </c:pt>
                <c:pt idx="5614">
                  <c:v>8.5650000000000013</c:v>
                </c:pt>
                <c:pt idx="5615">
                  <c:v>7.8940000000000001</c:v>
                </c:pt>
                <c:pt idx="5616">
                  <c:v>7.3040000000000003</c:v>
                </c:pt>
                <c:pt idx="5617">
                  <c:v>8.0459999999999994</c:v>
                </c:pt>
                <c:pt idx="5618">
                  <c:v>8.0169999999999995</c:v>
                </c:pt>
                <c:pt idx="5619">
                  <c:v>7.0230000000000006</c:v>
                </c:pt>
                <c:pt idx="5620">
                  <c:v>8.5419999999999998</c:v>
                </c:pt>
                <c:pt idx="5621">
                  <c:v>9.995000000000001</c:v>
                </c:pt>
                <c:pt idx="5622">
                  <c:v>12.946000000000002</c:v>
                </c:pt>
                <c:pt idx="5623">
                  <c:v>11.305</c:v>
                </c:pt>
                <c:pt idx="5624">
                  <c:v>7.31</c:v>
                </c:pt>
                <c:pt idx="5625">
                  <c:v>1.48</c:v>
                </c:pt>
                <c:pt idx="5626">
                  <c:v>0</c:v>
                </c:pt>
                <c:pt idx="5627">
                  <c:v>-3.7999999999999999E-2</c:v>
                </c:pt>
                <c:pt idx="5628">
                  <c:v>-0.25600000000000001</c:v>
                </c:pt>
                <c:pt idx="5629">
                  <c:v>-0.151</c:v>
                </c:pt>
                <c:pt idx="5630">
                  <c:v>-0.43499999999999994</c:v>
                </c:pt>
                <c:pt idx="5631">
                  <c:v>-8.9999999999999993E-3</c:v>
                </c:pt>
                <c:pt idx="5632">
                  <c:v>2.4889999999999999</c:v>
                </c:pt>
                <c:pt idx="5633">
                  <c:v>8.9459999999999997</c:v>
                </c:pt>
                <c:pt idx="5634">
                  <c:v>11.273999999999999</c:v>
                </c:pt>
                <c:pt idx="5635">
                  <c:v>11.15</c:v>
                </c:pt>
                <c:pt idx="5636">
                  <c:v>10.998999999999999</c:v>
                </c:pt>
                <c:pt idx="5637">
                  <c:v>9.548</c:v>
                </c:pt>
                <c:pt idx="5638">
                  <c:v>7.9219999999999997</c:v>
                </c:pt>
                <c:pt idx="5639">
                  <c:v>5.1899999999999995</c:v>
                </c:pt>
                <c:pt idx="5640">
                  <c:v>4.5869999999999997</c:v>
                </c:pt>
                <c:pt idx="5641">
                  <c:v>3.851</c:v>
                </c:pt>
                <c:pt idx="5642">
                  <c:v>2.6360000000000001</c:v>
                </c:pt>
                <c:pt idx="5643">
                  <c:v>2.6480000000000001</c:v>
                </c:pt>
                <c:pt idx="5644">
                  <c:v>3.0590000000000002</c:v>
                </c:pt>
                <c:pt idx="5645">
                  <c:v>6.4219999999999997</c:v>
                </c:pt>
                <c:pt idx="5646">
                  <c:v>6.0630000000000006</c:v>
                </c:pt>
                <c:pt idx="5647">
                  <c:v>4.3639999999999999</c:v>
                </c:pt>
                <c:pt idx="5648">
                  <c:v>0.40599999999999997</c:v>
                </c:pt>
                <c:pt idx="5649">
                  <c:v>-1E-3</c:v>
                </c:pt>
                <c:pt idx="5650">
                  <c:v>-0.39700000000000002</c:v>
                </c:pt>
                <c:pt idx="5651">
                  <c:v>-0.95399999999999996</c:v>
                </c:pt>
                <c:pt idx="5652">
                  <c:v>-1.532</c:v>
                </c:pt>
                <c:pt idx="5653">
                  <c:v>-1.655</c:v>
                </c:pt>
                <c:pt idx="5654">
                  <c:v>-1.0150000000000001</c:v>
                </c:pt>
                <c:pt idx="5655">
                  <c:v>-0.91799999999999993</c:v>
                </c:pt>
                <c:pt idx="5656">
                  <c:v>-3.0000000000000001E-3</c:v>
                </c:pt>
                <c:pt idx="5657">
                  <c:v>5.0200000000000005</c:v>
                </c:pt>
                <c:pt idx="5658">
                  <c:v>9.9529999999999994</c:v>
                </c:pt>
                <c:pt idx="5659">
                  <c:v>11.856999999999999</c:v>
                </c:pt>
                <c:pt idx="5660">
                  <c:v>12.315000000000001</c:v>
                </c:pt>
                <c:pt idx="5661">
                  <c:v>11.954000000000001</c:v>
                </c:pt>
                <c:pt idx="5662">
                  <c:v>10.050000000000001</c:v>
                </c:pt>
                <c:pt idx="5663">
                  <c:v>11.045</c:v>
                </c:pt>
                <c:pt idx="5664">
                  <c:v>10.378</c:v>
                </c:pt>
                <c:pt idx="5665">
                  <c:v>10.042</c:v>
                </c:pt>
                <c:pt idx="5666">
                  <c:v>10.028</c:v>
                </c:pt>
                <c:pt idx="5667">
                  <c:v>10.09</c:v>
                </c:pt>
                <c:pt idx="5668">
                  <c:v>10.540000000000001</c:v>
                </c:pt>
                <c:pt idx="5669">
                  <c:v>10.102</c:v>
                </c:pt>
                <c:pt idx="5670">
                  <c:v>10.223000000000001</c:v>
                </c:pt>
                <c:pt idx="5671">
                  <c:v>7.6219999999999999</c:v>
                </c:pt>
                <c:pt idx="5672">
                  <c:v>1.5</c:v>
                </c:pt>
                <c:pt idx="5673">
                  <c:v>-3.0000000000000001E-3</c:v>
                </c:pt>
                <c:pt idx="5674">
                  <c:v>-0.68499999999999994</c:v>
                </c:pt>
                <c:pt idx="5675">
                  <c:v>-1.8679999999999999</c:v>
                </c:pt>
                <c:pt idx="5676">
                  <c:v>-4.0090000000000003</c:v>
                </c:pt>
                <c:pt idx="5677">
                  <c:v>-4.4180000000000001</c:v>
                </c:pt>
                <c:pt idx="5678">
                  <c:v>-2.7640000000000002</c:v>
                </c:pt>
                <c:pt idx="5679">
                  <c:v>-0.81500000000000006</c:v>
                </c:pt>
                <c:pt idx="5680">
                  <c:v>-9.9000000000000005E-2</c:v>
                </c:pt>
                <c:pt idx="5681">
                  <c:v>7.168000000000001</c:v>
                </c:pt>
                <c:pt idx="5682">
                  <c:v>9.1519999999999992</c:v>
                </c:pt>
                <c:pt idx="5683">
                  <c:v>8.0079999999999991</c:v>
                </c:pt>
                <c:pt idx="5684">
                  <c:v>6.891</c:v>
                </c:pt>
                <c:pt idx="5685">
                  <c:v>6.4139999999999997</c:v>
                </c:pt>
                <c:pt idx="5686">
                  <c:v>5</c:v>
                </c:pt>
                <c:pt idx="5687">
                  <c:v>3.6999999999999998E-2</c:v>
                </c:pt>
                <c:pt idx="5688">
                  <c:v>-2E-3</c:v>
                </c:pt>
                <c:pt idx="5689">
                  <c:v>-3.4000000000000002E-2</c:v>
                </c:pt>
                <c:pt idx="5690">
                  <c:v>-0.1</c:v>
                </c:pt>
                <c:pt idx="5691">
                  <c:v>-8.8999999999999996E-2</c:v>
                </c:pt>
                <c:pt idx="5692">
                  <c:v>-4.1999999999999996E-2</c:v>
                </c:pt>
                <c:pt idx="5693">
                  <c:v>-5.0000000000000001E-3</c:v>
                </c:pt>
                <c:pt idx="5694">
                  <c:v>-1E-3</c:v>
                </c:pt>
                <c:pt idx="5695">
                  <c:v>-1E-3</c:v>
                </c:pt>
                <c:pt idx="5696">
                  <c:v>-0.13899999999999998</c:v>
                </c:pt>
                <c:pt idx="5697">
                  <c:v>-0.60699999999999998</c:v>
                </c:pt>
                <c:pt idx="5698">
                  <c:v>-1.01</c:v>
                </c:pt>
                <c:pt idx="5699">
                  <c:v>-1.55</c:v>
                </c:pt>
                <c:pt idx="5700">
                  <c:v>-2.0010000000000003</c:v>
                </c:pt>
                <c:pt idx="5701">
                  <c:v>-1.9829999999999999</c:v>
                </c:pt>
                <c:pt idx="5702">
                  <c:v>-1.0150000000000001</c:v>
                </c:pt>
                <c:pt idx="5703">
                  <c:v>-0.501</c:v>
                </c:pt>
                <c:pt idx="5704">
                  <c:v>0.1</c:v>
                </c:pt>
                <c:pt idx="5705">
                  <c:v>8.7040000000000006</c:v>
                </c:pt>
                <c:pt idx="5706">
                  <c:v>11</c:v>
                </c:pt>
                <c:pt idx="5707">
                  <c:v>11.945</c:v>
                </c:pt>
                <c:pt idx="5708">
                  <c:v>10.548999999999999</c:v>
                </c:pt>
                <c:pt idx="5709">
                  <c:v>9.9700000000000006</c:v>
                </c:pt>
                <c:pt idx="5710">
                  <c:v>9.2480000000000011</c:v>
                </c:pt>
                <c:pt idx="5711">
                  <c:v>9.2750000000000004</c:v>
                </c:pt>
                <c:pt idx="5712">
                  <c:v>8.5650000000000013</c:v>
                </c:pt>
                <c:pt idx="5713">
                  <c:v>8.0939999999999994</c:v>
                </c:pt>
                <c:pt idx="5714">
                  <c:v>8.3360000000000003</c:v>
                </c:pt>
                <c:pt idx="5715">
                  <c:v>8.2430000000000003</c:v>
                </c:pt>
                <c:pt idx="5716">
                  <c:v>8.3480000000000008</c:v>
                </c:pt>
                <c:pt idx="5717">
                  <c:v>11.311</c:v>
                </c:pt>
                <c:pt idx="5718">
                  <c:v>15.369</c:v>
                </c:pt>
                <c:pt idx="5719">
                  <c:v>13.097</c:v>
                </c:pt>
                <c:pt idx="5720">
                  <c:v>9.8930000000000007</c:v>
                </c:pt>
                <c:pt idx="5721">
                  <c:v>7.7</c:v>
                </c:pt>
                <c:pt idx="5722">
                  <c:v>6.5310000000000006</c:v>
                </c:pt>
                <c:pt idx="5723">
                  <c:v>2.3069999999999999</c:v>
                </c:pt>
                <c:pt idx="5724">
                  <c:v>1.7550000000000001</c:v>
                </c:pt>
                <c:pt idx="5725">
                  <c:v>4.2880000000000003</c:v>
                </c:pt>
                <c:pt idx="5726">
                  <c:v>7.1049999999999995</c:v>
                </c:pt>
                <c:pt idx="5727">
                  <c:v>8.8000000000000007</c:v>
                </c:pt>
                <c:pt idx="5728">
                  <c:v>9.9469999999999992</c:v>
                </c:pt>
                <c:pt idx="5729">
                  <c:v>11.681999999999999</c:v>
                </c:pt>
                <c:pt idx="5730">
                  <c:v>19.030999999999999</c:v>
                </c:pt>
                <c:pt idx="5731">
                  <c:v>23.106000000000002</c:v>
                </c:pt>
                <c:pt idx="5732">
                  <c:v>14.382</c:v>
                </c:pt>
                <c:pt idx="5733">
                  <c:v>11.086</c:v>
                </c:pt>
                <c:pt idx="5734">
                  <c:v>10.754000000000001</c:v>
                </c:pt>
                <c:pt idx="5735">
                  <c:v>9.8409999999999993</c:v>
                </c:pt>
                <c:pt idx="5736">
                  <c:v>8.9909999999999997</c:v>
                </c:pt>
                <c:pt idx="5737">
                  <c:v>8.6449999999999996</c:v>
                </c:pt>
                <c:pt idx="5738">
                  <c:v>8.73</c:v>
                </c:pt>
                <c:pt idx="5739">
                  <c:v>8.91</c:v>
                </c:pt>
                <c:pt idx="5740">
                  <c:v>10.016</c:v>
                </c:pt>
                <c:pt idx="5741">
                  <c:v>12.576000000000001</c:v>
                </c:pt>
                <c:pt idx="5742">
                  <c:v>13.799000000000001</c:v>
                </c:pt>
                <c:pt idx="5743">
                  <c:v>11.601000000000001</c:v>
                </c:pt>
                <c:pt idx="5744">
                  <c:v>8.9939999999999998</c:v>
                </c:pt>
                <c:pt idx="5745">
                  <c:v>7.3719999999999999</c:v>
                </c:pt>
                <c:pt idx="5746">
                  <c:v>2.9129999999999998</c:v>
                </c:pt>
                <c:pt idx="5747">
                  <c:v>0.50700000000000001</c:v>
                </c:pt>
                <c:pt idx="5748">
                  <c:v>0.11799999999999999</c:v>
                </c:pt>
                <c:pt idx="5749">
                  <c:v>0.23300000000000001</c:v>
                </c:pt>
                <c:pt idx="5750">
                  <c:v>2.3449999999999998</c:v>
                </c:pt>
                <c:pt idx="5751">
                  <c:v>5.25</c:v>
                </c:pt>
                <c:pt idx="5752">
                  <c:v>8.8709999999999987</c:v>
                </c:pt>
                <c:pt idx="5753">
                  <c:v>11.606</c:v>
                </c:pt>
                <c:pt idx="5754">
                  <c:v>23.225000000000001</c:v>
                </c:pt>
                <c:pt idx="5755">
                  <c:v>21.791999999999998</c:v>
                </c:pt>
                <c:pt idx="5756">
                  <c:v>12.052</c:v>
                </c:pt>
                <c:pt idx="5757">
                  <c:v>10.520999999999999</c:v>
                </c:pt>
                <c:pt idx="5758">
                  <c:v>9.2469999999999999</c:v>
                </c:pt>
                <c:pt idx="5759">
                  <c:v>9.0470000000000006</c:v>
                </c:pt>
                <c:pt idx="5760">
                  <c:v>9.1310000000000002</c:v>
                </c:pt>
                <c:pt idx="5761">
                  <c:v>8.7480000000000011</c:v>
                </c:pt>
                <c:pt idx="5762">
                  <c:v>8.92</c:v>
                </c:pt>
                <c:pt idx="5763">
                  <c:v>9.1739999999999995</c:v>
                </c:pt>
                <c:pt idx="5764">
                  <c:v>9.2349999999999994</c:v>
                </c:pt>
                <c:pt idx="5765">
                  <c:v>11.498999999999999</c:v>
                </c:pt>
                <c:pt idx="5766">
                  <c:v>12.856999999999999</c:v>
                </c:pt>
                <c:pt idx="5767">
                  <c:v>12.1</c:v>
                </c:pt>
                <c:pt idx="5768">
                  <c:v>10.540000000000001</c:v>
                </c:pt>
                <c:pt idx="5769">
                  <c:v>8.7560000000000002</c:v>
                </c:pt>
                <c:pt idx="5770">
                  <c:v>6.8780000000000001</c:v>
                </c:pt>
                <c:pt idx="5771">
                  <c:v>3.5140000000000002</c:v>
                </c:pt>
                <c:pt idx="5772">
                  <c:v>1.04</c:v>
                </c:pt>
                <c:pt idx="5773">
                  <c:v>0.81699999999999995</c:v>
                </c:pt>
                <c:pt idx="5774">
                  <c:v>5.484</c:v>
                </c:pt>
                <c:pt idx="5775">
                  <c:v>7.8559999999999999</c:v>
                </c:pt>
                <c:pt idx="5776">
                  <c:v>9.2370000000000001</c:v>
                </c:pt>
                <c:pt idx="5777">
                  <c:v>11.157</c:v>
                </c:pt>
                <c:pt idx="5778">
                  <c:v>20.190999999999999</c:v>
                </c:pt>
                <c:pt idx="5779">
                  <c:v>20.402999999999999</c:v>
                </c:pt>
                <c:pt idx="5780">
                  <c:v>12.484</c:v>
                </c:pt>
                <c:pt idx="5781">
                  <c:v>11.176</c:v>
                </c:pt>
                <c:pt idx="5782">
                  <c:v>9.9700000000000006</c:v>
                </c:pt>
                <c:pt idx="5783">
                  <c:v>9.3529999999999998</c:v>
                </c:pt>
                <c:pt idx="5784">
                  <c:v>9.3979999999999997</c:v>
                </c:pt>
                <c:pt idx="5785">
                  <c:v>8.9809999999999999</c:v>
                </c:pt>
                <c:pt idx="5786">
                  <c:v>8.8680000000000003</c:v>
                </c:pt>
                <c:pt idx="5787">
                  <c:v>8.9370000000000012</c:v>
                </c:pt>
                <c:pt idx="5788">
                  <c:v>10.123000000000001</c:v>
                </c:pt>
                <c:pt idx="5789">
                  <c:v>12.545999999999999</c:v>
                </c:pt>
                <c:pt idx="5790">
                  <c:v>13.446999999999999</c:v>
                </c:pt>
                <c:pt idx="5791">
                  <c:v>12.623999999999999</c:v>
                </c:pt>
                <c:pt idx="5792">
                  <c:v>10.870999999999999</c:v>
                </c:pt>
                <c:pt idx="5793">
                  <c:v>9.2189999999999994</c:v>
                </c:pt>
                <c:pt idx="5794">
                  <c:v>8.4400000000000013</c:v>
                </c:pt>
                <c:pt idx="5795">
                  <c:v>6.5780000000000003</c:v>
                </c:pt>
                <c:pt idx="5796">
                  <c:v>4.5250000000000004</c:v>
                </c:pt>
                <c:pt idx="5797">
                  <c:v>5.1319999999999997</c:v>
                </c:pt>
                <c:pt idx="5798">
                  <c:v>7.9450000000000003</c:v>
                </c:pt>
                <c:pt idx="5799">
                  <c:v>9.0150000000000006</c:v>
                </c:pt>
                <c:pt idx="5800">
                  <c:v>10.538</c:v>
                </c:pt>
                <c:pt idx="5801">
                  <c:v>12.351000000000001</c:v>
                </c:pt>
                <c:pt idx="5802">
                  <c:v>22.749000000000002</c:v>
                </c:pt>
                <c:pt idx="5803">
                  <c:v>28.927</c:v>
                </c:pt>
                <c:pt idx="5804">
                  <c:v>16.908999999999999</c:v>
                </c:pt>
                <c:pt idx="5805">
                  <c:v>12.5</c:v>
                </c:pt>
                <c:pt idx="5806">
                  <c:v>11.01</c:v>
                </c:pt>
                <c:pt idx="5807">
                  <c:v>10.988</c:v>
                </c:pt>
                <c:pt idx="5808">
                  <c:v>10.029999999999999</c:v>
                </c:pt>
                <c:pt idx="5809">
                  <c:v>9.3529999999999998</c:v>
                </c:pt>
                <c:pt idx="5810">
                  <c:v>9.3279999999999994</c:v>
                </c:pt>
                <c:pt idx="5811">
                  <c:v>9.7620000000000005</c:v>
                </c:pt>
                <c:pt idx="5812">
                  <c:v>10.737</c:v>
                </c:pt>
                <c:pt idx="5813">
                  <c:v>13.683000000000002</c:v>
                </c:pt>
                <c:pt idx="5814">
                  <c:v>15.106</c:v>
                </c:pt>
                <c:pt idx="5815">
                  <c:v>13.355</c:v>
                </c:pt>
                <c:pt idx="5816">
                  <c:v>11.370000000000001</c:v>
                </c:pt>
                <c:pt idx="5817">
                  <c:v>9.8239999999999998</c:v>
                </c:pt>
                <c:pt idx="5818">
                  <c:v>8.995000000000001</c:v>
                </c:pt>
                <c:pt idx="5819">
                  <c:v>8.6129999999999995</c:v>
                </c:pt>
                <c:pt idx="5820">
                  <c:v>8.02</c:v>
                </c:pt>
                <c:pt idx="5821">
                  <c:v>7.9079999999999995</c:v>
                </c:pt>
                <c:pt idx="5822">
                  <c:v>8.1980000000000004</c:v>
                </c:pt>
                <c:pt idx="5823">
                  <c:v>8.6349999999999998</c:v>
                </c:pt>
                <c:pt idx="5824">
                  <c:v>10.196</c:v>
                </c:pt>
                <c:pt idx="5825">
                  <c:v>11.998999999999999</c:v>
                </c:pt>
                <c:pt idx="5826">
                  <c:v>15.611000000000001</c:v>
                </c:pt>
                <c:pt idx="5827">
                  <c:v>13.728999999999999</c:v>
                </c:pt>
                <c:pt idx="5828">
                  <c:v>11.270999999999999</c:v>
                </c:pt>
                <c:pt idx="5829">
                  <c:v>9.6829999999999998</c:v>
                </c:pt>
                <c:pt idx="5830">
                  <c:v>9.5359999999999996</c:v>
                </c:pt>
                <c:pt idx="5831">
                  <c:v>10.766999999999999</c:v>
                </c:pt>
                <c:pt idx="5832">
                  <c:v>10.544</c:v>
                </c:pt>
                <c:pt idx="5833">
                  <c:v>10.206</c:v>
                </c:pt>
                <c:pt idx="5834">
                  <c:v>9.9039999999999999</c:v>
                </c:pt>
                <c:pt idx="5835">
                  <c:v>9.6650000000000009</c:v>
                </c:pt>
                <c:pt idx="5836">
                  <c:v>9.8069999999999986</c:v>
                </c:pt>
                <c:pt idx="5837">
                  <c:v>10.997</c:v>
                </c:pt>
                <c:pt idx="5838">
                  <c:v>11.074999999999999</c:v>
                </c:pt>
                <c:pt idx="5839">
                  <c:v>10.997</c:v>
                </c:pt>
                <c:pt idx="5840">
                  <c:v>8.4920000000000009</c:v>
                </c:pt>
                <c:pt idx="5841">
                  <c:v>6.0129999999999999</c:v>
                </c:pt>
                <c:pt idx="5842">
                  <c:v>1.8340000000000001</c:v>
                </c:pt>
                <c:pt idx="5843">
                  <c:v>4.7E-2</c:v>
                </c:pt>
                <c:pt idx="5844">
                  <c:v>-5.8999999999999997E-2</c:v>
                </c:pt>
                <c:pt idx="5845">
                  <c:v>-0.08</c:v>
                </c:pt>
                <c:pt idx="5846">
                  <c:v>0.255</c:v>
                </c:pt>
                <c:pt idx="5847">
                  <c:v>2.371</c:v>
                </c:pt>
                <c:pt idx="5848">
                  <c:v>8.0019999999999989</c:v>
                </c:pt>
                <c:pt idx="5849">
                  <c:v>11.73</c:v>
                </c:pt>
                <c:pt idx="5850">
                  <c:v>14.828999999999999</c:v>
                </c:pt>
                <c:pt idx="5851">
                  <c:v>12.678000000000001</c:v>
                </c:pt>
                <c:pt idx="5852">
                  <c:v>10.729000000000001</c:v>
                </c:pt>
                <c:pt idx="5853">
                  <c:v>9.9849999999999994</c:v>
                </c:pt>
                <c:pt idx="5854">
                  <c:v>8.923</c:v>
                </c:pt>
                <c:pt idx="5855">
                  <c:v>9.3760000000000012</c:v>
                </c:pt>
                <c:pt idx="5856">
                  <c:v>8.5980000000000008</c:v>
                </c:pt>
                <c:pt idx="5857">
                  <c:v>8.0370000000000008</c:v>
                </c:pt>
                <c:pt idx="5858">
                  <c:v>8.0139999999999993</c:v>
                </c:pt>
                <c:pt idx="5859">
                  <c:v>8.120000000000001</c:v>
                </c:pt>
                <c:pt idx="5860">
                  <c:v>8.016</c:v>
                </c:pt>
                <c:pt idx="5861">
                  <c:v>7.9489999999999998</c:v>
                </c:pt>
                <c:pt idx="5862">
                  <c:v>7.31</c:v>
                </c:pt>
                <c:pt idx="5863">
                  <c:v>6.0630000000000006</c:v>
                </c:pt>
                <c:pt idx="5864">
                  <c:v>4.1270000000000007</c:v>
                </c:pt>
                <c:pt idx="5865">
                  <c:v>1.2730000000000001</c:v>
                </c:pt>
                <c:pt idx="5866">
                  <c:v>-7.9000000000000001E-2</c:v>
                </c:pt>
                <c:pt idx="5867">
                  <c:v>-0.91700000000000004</c:v>
                </c:pt>
                <c:pt idx="5868">
                  <c:v>-2.4</c:v>
                </c:pt>
                <c:pt idx="5869">
                  <c:v>-1.9940000000000002</c:v>
                </c:pt>
                <c:pt idx="5870">
                  <c:v>-0.499</c:v>
                </c:pt>
                <c:pt idx="5871">
                  <c:v>2.556</c:v>
                </c:pt>
                <c:pt idx="5872">
                  <c:v>7.8280000000000003</c:v>
                </c:pt>
                <c:pt idx="5873">
                  <c:v>10.911</c:v>
                </c:pt>
                <c:pt idx="5874">
                  <c:v>13.16</c:v>
                </c:pt>
                <c:pt idx="5875">
                  <c:v>12.391</c:v>
                </c:pt>
                <c:pt idx="5876">
                  <c:v>10.763</c:v>
                </c:pt>
                <c:pt idx="5877">
                  <c:v>10.202</c:v>
                </c:pt>
                <c:pt idx="5878">
                  <c:v>9.15</c:v>
                </c:pt>
                <c:pt idx="5879">
                  <c:v>9.1239999999999988</c:v>
                </c:pt>
                <c:pt idx="5880">
                  <c:v>9.4770000000000003</c:v>
                </c:pt>
                <c:pt idx="5881">
                  <c:v>9.2390000000000008</c:v>
                </c:pt>
                <c:pt idx="5882">
                  <c:v>9.2510000000000012</c:v>
                </c:pt>
                <c:pt idx="5883">
                  <c:v>9.1590000000000007</c:v>
                </c:pt>
                <c:pt idx="5884">
                  <c:v>10.151999999999999</c:v>
                </c:pt>
                <c:pt idx="5885">
                  <c:v>11.473000000000001</c:v>
                </c:pt>
                <c:pt idx="5886">
                  <c:v>13.494999999999999</c:v>
                </c:pt>
                <c:pt idx="5887">
                  <c:v>13.193999999999999</c:v>
                </c:pt>
                <c:pt idx="5888">
                  <c:v>12.263999999999999</c:v>
                </c:pt>
                <c:pt idx="5889">
                  <c:v>10.282999999999999</c:v>
                </c:pt>
                <c:pt idx="5890">
                  <c:v>9.081999999999999</c:v>
                </c:pt>
                <c:pt idx="5891">
                  <c:v>8.504999999999999</c:v>
                </c:pt>
                <c:pt idx="5892">
                  <c:v>8.1189999999999998</c:v>
                </c:pt>
                <c:pt idx="5893">
                  <c:v>8.3629999999999995</c:v>
                </c:pt>
                <c:pt idx="5894">
                  <c:v>8.8239999999999998</c:v>
                </c:pt>
                <c:pt idx="5895">
                  <c:v>9.3629999999999995</c:v>
                </c:pt>
                <c:pt idx="5896">
                  <c:v>11.288</c:v>
                </c:pt>
                <c:pt idx="5897">
                  <c:v>13.778</c:v>
                </c:pt>
                <c:pt idx="5898">
                  <c:v>25.54</c:v>
                </c:pt>
                <c:pt idx="5899">
                  <c:v>21.206</c:v>
                </c:pt>
                <c:pt idx="5900">
                  <c:v>13.190000000000001</c:v>
                </c:pt>
                <c:pt idx="5901">
                  <c:v>11.423999999999999</c:v>
                </c:pt>
                <c:pt idx="5902">
                  <c:v>10.384</c:v>
                </c:pt>
                <c:pt idx="5903">
                  <c:v>9.9599999999999991</c:v>
                </c:pt>
                <c:pt idx="5904">
                  <c:v>9.3099999999999987</c:v>
                </c:pt>
                <c:pt idx="5905">
                  <c:v>9.1560000000000006</c:v>
                </c:pt>
                <c:pt idx="5906">
                  <c:v>9.327</c:v>
                </c:pt>
                <c:pt idx="5907">
                  <c:v>9.6239999999999988</c:v>
                </c:pt>
                <c:pt idx="5908">
                  <c:v>10.268000000000001</c:v>
                </c:pt>
                <c:pt idx="5909">
                  <c:v>13.721</c:v>
                </c:pt>
                <c:pt idx="5910">
                  <c:v>15.106</c:v>
                </c:pt>
                <c:pt idx="5911">
                  <c:v>13.395</c:v>
                </c:pt>
                <c:pt idx="5912">
                  <c:v>11.598000000000001</c:v>
                </c:pt>
                <c:pt idx="5913">
                  <c:v>9.8879999999999999</c:v>
                </c:pt>
                <c:pt idx="5914">
                  <c:v>9.0019999999999989</c:v>
                </c:pt>
                <c:pt idx="5915">
                  <c:v>8.48</c:v>
                </c:pt>
                <c:pt idx="5916">
                  <c:v>8.2690000000000001</c:v>
                </c:pt>
                <c:pt idx="5917">
                  <c:v>8.4130000000000003</c:v>
                </c:pt>
                <c:pt idx="5918">
                  <c:v>8.6669999999999998</c:v>
                </c:pt>
                <c:pt idx="5919">
                  <c:v>9.1209999999999987</c:v>
                </c:pt>
                <c:pt idx="5920">
                  <c:v>12.393000000000001</c:v>
                </c:pt>
                <c:pt idx="5921">
                  <c:v>30.000999999999998</c:v>
                </c:pt>
                <c:pt idx="5922">
                  <c:v>65.637</c:v>
                </c:pt>
                <c:pt idx="5923">
                  <c:v>52.032000000000004</c:v>
                </c:pt>
                <c:pt idx="5924">
                  <c:v>21.696999999999999</c:v>
                </c:pt>
                <c:pt idx="5925">
                  <c:v>13.319999999999999</c:v>
                </c:pt>
                <c:pt idx="5926">
                  <c:v>11.756</c:v>
                </c:pt>
                <c:pt idx="5927">
                  <c:v>10.817</c:v>
                </c:pt>
                <c:pt idx="5928">
                  <c:v>10.102</c:v>
                </c:pt>
                <c:pt idx="5929">
                  <c:v>9.9030000000000005</c:v>
                </c:pt>
                <c:pt idx="5930">
                  <c:v>9.9980000000000011</c:v>
                </c:pt>
                <c:pt idx="5931">
                  <c:v>9.9060000000000006</c:v>
                </c:pt>
                <c:pt idx="5932">
                  <c:v>10.937000000000001</c:v>
                </c:pt>
                <c:pt idx="5933">
                  <c:v>14.402000000000001</c:v>
                </c:pt>
                <c:pt idx="5934">
                  <c:v>18.116</c:v>
                </c:pt>
                <c:pt idx="5935">
                  <c:v>15.588999999999999</c:v>
                </c:pt>
                <c:pt idx="5936">
                  <c:v>12.529</c:v>
                </c:pt>
                <c:pt idx="5937">
                  <c:v>10.721</c:v>
                </c:pt>
                <c:pt idx="5938">
                  <c:v>9.6059999999999999</c:v>
                </c:pt>
                <c:pt idx="5939">
                  <c:v>9.1999999999999993</c:v>
                </c:pt>
                <c:pt idx="5940">
                  <c:v>9.0489999999999995</c:v>
                </c:pt>
                <c:pt idx="5941">
                  <c:v>8.92</c:v>
                </c:pt>
                <c:pt idx="5942">
                  <c:v>9.2720000000000002</c:v>
                </c:pt>
                <c:pt idx="5943">
                  <c:v>10.184999999999999</c:v>
                </c:pt>
                <c:pt idx="5944">
                  <c:v>12.397</c:v>
                </c:pt>
                <c:pt idx="5945">
                  <c:v>15.569999999999999</c:v>
                </c:pt>
                <c:pt idx="5946">
                  <c:v>32.006999999999998</c:v>
                </c:pt>
                <c:pt idx="5947">
                  <c:v>18.922999999999998</c:v>
                </c:pt>
                <c:pt idx="5948">
                  <c:v>13.041999999999998</c:v>
                </c:pt>
                <c:pt idx="5949">
                  <c:v>10.859</c:v>
                </c:pt>
                <c:pt idx="5950">
                  <c:v>9.9580000000000002</c:v>
                </c:pt>
                <c:pt idx="5951">
                  <c:v>10.126999999999999</c:v>
                </c:pt>
                <c:pt idx="5952">
                  <c:v>9.4599999999999991</c:v>
                </c:pt>
                <c:pt idx="5953">
                  <c:v>9</c:v>
                </c:pt>
                <c:pt idx="5954">
                  <c:v>8.7110000000000003</c:v>
                </c:pt>
                <c:pt idx="5955">
                  <c:v>8.0920000000000005</c:v>
                </c:pt>
                <c:pt idx="5956">
                  <c:v>8.4700000000000006</c:v>
                </c:pt>
                <c:pt idx="5957">
                  <c:v>10.904999999999999</c:v>
                </c:pt>
                <c:pt idx="5958">
                  <c:v>11.36</c:v>
                </c:pt>
                <c:pt idx="5959">
                  <c:v>11.904</c:v>
                </c:pt>
                <c:pt idx="5960">
                  <c:v>9.7680000000000007</c:v>
                </c:pt>
                <c:pt idx="5961">
                  <c:v>7.104000000000001</c:v>
                </c:pt>
                <c:pt idx="5962">
                  <c:v>1.0999999999999999E-2</c:v>
                </c:pt>
                <c:pt idx="5963">
                  <c:v>-0.30499999999999999</c:v>
                </c:pt>
                <c:pt idx="5964">
                  <c:v>-1.17</c:v>
                </c:pt>
                <c:pt idx="5965">
                  <c:v>-1.968</c:v>
                </c:pt>
                <c:pt idx="5966">
                  <c:v>-0.70199999999999996</c:v>
                </c:pt>
                <c:pt idx="5967">
                  <c:v>-1E-3</c:v>
                </c:pt>
                <c:pt idx="5968">
                  <c:v>3.6130000000000004</c:v>
                </c:pt>
                <c:pt idx="5969">
                  <c:v>8.495000000000001</c:v>
                </c:pt>
                <c:pt idx="5970">
                  <c:v>9.9740000000000002</c:v>
                </c:pt>
                <c:pt idx="5971">
                  <c:v>9.293000000000001</c:v>
                </c:pt>
                <c:pt idx="5972">
                  <c:v>8.01</c:v>
                </c:pt>
                <c:pt idx="5973">
                  <c:v>8.0030000000000001</c:v>
                </c:pt>
                <c:pt idx="5974">
                  <c:v>6.4610000000000003</c:v>
                </c:pt>
                <c:pt idx="5975">
                  <c:v>6.479000000000001</c:v>
                </c:pt>
                <c:pt idx="5976">
                  <c:v>6.1</c:v>
                </c:pt>
                <c:pt idx="5977">
                  <c:v>5.1219999999999999</c:v>
                </c:pt>
                <c:pt idx="5978">
                  <c:v>4.8579999999999997</c:v>
                </c:pt>
                <c:pt idx="5979">
                  <c:v>5.7750000000000004</c:v>
                </c:pt>
                <c:pt idx="5980">
                  <c:v>6.9859999999999998</c:v>
                </c:pt>
                <c:pt idx="5981">
                  <c:v>9.3290000000000006</c:v>
                </c:pt>
                <c:pt idx="5982">
                  <c:v>11.948</c:v>
                </c:pt>
                <c:pt idx="5983">
                  <c:v>12.037000000000001</c:v>
                </c:pt>
                <c:pt idx="5984">
                  <c:v>10.009</c:v>
                </c:pt>
                <c:pt idx="5985">
                  <c:v>8</c:v>
                </c:pt>
                <c:pt idx="5986">
                  <c:v>5.9509999999999996</c:v>
                </c:pt>
                <c:pt idx="5987">
                  <c:v>3.1539999999999999</c:v>
                </c:pt>
                <c:pt idx="5988">
                  <c:v>1.248</c:v>
                </c:pt>
                <c:pt idx="5989">
                  <c:v>1.4529999999999998</c:v>
                </c:pt>
                <c:pt idx="5990">
                  <c:v>3.0059999999999998</c:v>
                </c:pt>
                <c:pt idx="5991">
                  <c:v>7.1180000000000003</c:v>
                </c:pt>
                <c:pt idx="5992">
                  <c:v>8.7560000000000002</c:v>
                </c:pt>
                <c:pt idx="5993">
                  <c:v>10.026999999999999</c:v>
                </c:pt>
                <c:pt idx="5994">
                  <c:v>12.9</c:v>
                </c:pt>
                <c:pt idx="5995">
                  <c:v>13.649000000000001</c:v>
                </c:pt>
                <c:pt idx="5996">
                  <c:v>9.9760000000000009</c:v>
                </c:pt>
                <c:pt idx="5997">
                  <c:v>9.5359999999999996</c:v>
                </c:pt>
                <c:pt idx="5998">
                  <c:v>9.2880000000000003</c:v>
                </c:pt>
                <c:pt idx="5999">
                  <c:v>10.247</c:v>
                </c:pt>
                <c:pt idx="6000">
                  <c:v>9.6900000000000013</c:v>
                </c:pt>
                <c:pt idx="6001">
                  <c:v>9.629999999999999</c:v>
                </c:pt>
                <c:pt idx="6002">
                  <c:v>9.5310000000000006</c:v>
                </c:pt>
                <c:pt idx="6003">
                  <c:v>9.8290000000000006</c:v>
                </c:pt>
                <c:pt idx="6004">
                  <c:v>10.102</c:v>
                </c:pt>
                <c:pt idx="6005">
                  <c:v>10.388</c:v>
                </c:pt>
                <c:pt idx="6006">
                  <c:v>10.471</c:v>
                </c:pt>
                <c:pt idx="6007">
                  <c:v>9.5440000000000005</c:v>
                </c:pt>
                <c:pt idx="6008">
                  <c:v>8.4190000000000005</c:v>
                </c:pt>
                <c:pt idx="6009">
                  <c:v>5.1520000000000001</c:v>
                </c:pt>
                <c:pt idx="6010">
                  <c:v>1.417</c:v>
                </c:pt>
                <c:pt idx="6011">
                  <c:v>0.54800000000000004</c:v>
                </c:pt>
                <c:pt idx="6012">
                  <c:v>0.10200000000000001</c:v>
                </c:pt>
                <c:pt idx="6013">
                  <c:v>4.3999999999999997E-2</c:v>
                </c:pt>
                <c:pt idx="6014">
                  <c:v>0.84099999999999997</c:v>
                </c:pt>
                <c:pt idx="6015">
                  <c:v>4.9619999999999997</c:v>
                </c:pt>
                <c:pt idx="6016">
                  <c:v>10.14</c:v>
                </c:pt>
                <c:pt idx="6017">
                  <c:v>12.856999999999999</c:v>
                </c:pt>
                <c:pt idx="6018">
                  <c:v>15.040000000000001</c:v>
                </c:pt>
                <c:pt idx="6019">
                  <c:v>13.3</c:v>
                </c:pt>
                <c:pt idx="6020">
                  <c:v>10.190000000000001</c:v>
                </c:pt>
                <c:pt idx="6021">
                  <c:v>9.2319999999999993</c:v>
                </c:pt>
                <c:pt idx="6022">
                  <c:v>8.9239999999999995</c:v>
                </c:pt>
                <c:pt idx="6023">
                  <c:v>9.391</c:v>
                </c:pt>
                <c:pt idx="6024">
                  <c:v>8.645999999999999</c:v>
                </c:pt>
                <c:pt idx="6025">
                  <c:v>8.3680000000000003</c:v>
                </c:pt>
                <c:pt idx="6026">
                  <c:v>8.1999999999999993</c:v>
                </c:pt>
                <c:pt idx="6027">
                  <c:v>8.2390000000000008</c:v>
                </c:pt>
                <c:pt idx="6028">
                  <c:v>8.51</c:v>
                </c:pt>
                <c:pt idx="6029">
                  <c:v>8.3360000000000003</c:v>
                </c:pt>
                <c:pt idx="6030">
                  <c:v>8.206999999999999</c:v>
                </c:pt>
                <c:pt idx="6031">
                  <c:v>7.673</c:v>
                </c:pt>
                <c:pt idx="6032">
                  <c:v>4.0579999999999998</c:v>
                </c:pt>
                <c:pt idx="6033">
                  <c:v>0.82899999999999996</c:v>
                </c:pt>
                <c:pt idx="6034">
                  <c:v>4.3999999999999997E-2</c:v>
                </c:pt>
                <c:pt idx="6035">
                  <c:v>4.0000000000000001E-3</c:v>
                </c:pt>
                <c:pt idx="6036">
                  <c:v>1E-3</c:v>
                </c:pt>
                <c:pt idx="6037">
                  <c:v>0.11599999999999999</c:v>
                </c:pt>
                <c:pt idx="6038">
                  <c:v>0.317</c:v>
                </c:pt>
                <c:pt idx="6039">
                  <c:v>5.8620000000000001</c:v>
                </c:pt>
                <c:pt idx="6040">
                  <c:v>9.5990000000000002</c:v>
                </c:pt>
                <c:pt idx="6041">
                  <c:v>11.955</c:v>
                </c:pt>
                <c:pt idx="6042">
                  <c:v>12.415000000000001</c:v>
                </c:pt>
                <c:pt idx="6043">
                  <c:v>12.812000000000001</c:v>
                </c:pt>
                <c:pt idx="6044">
                  <c:v>11.72</c:v>
                </c:pt>
                <c:pt idx="6045">
                  <c:v>10.58</c:v>
                </c:pt>
                <c:pt idx="6046">
                  <c:v>9.7129999999999992</c:v>
                </c:pt>
                <c:pt idx="6047">
                  <c:v>8.641</c:v>
                </c:pt>
                <c:pt idx="6048">
                  <c:v>8.5760000000000005</c:v>
                </c:pt>
                <c:pt idx="6049">
                  <c:v>8.41</c:v>
                </c:pt>
                <c:pt idx="6050">
                  <c:v>8.2029999999999994</c:v>
                </c:pt>
                <c:pt idx="6051">
                  <c:v>8.5109999999999992</c:v>
                </c:pt>
                <c:pt idx="6052">
                  <c:v>8.5790000000000006</c:v>
                </c:pt>
                <c:pt idx="6053">
                  <c:v>11.847</c:v>
                </c:pt>
                <c:pt idx="6054">
                  <c:v>14.062000000000001</c:v>
                </c:pt>
                <c:pt idx="6055">
                  <c:v>15.956999999999999</c:v>
                </c:pt>
                <c:pt idx="6056">
                  <c:v>12.968</c:v>
                </c:pt>
                <c:pt idx="6057">
                  <c:v>11.087</c:v>
                </c:pt>
                <c:pt idx="6058">
                  <c:v>10.074</c:v>
                </c:pt>
                <c:pt idx="6059">
                  <c:v>9.4980000000000011</c:v>
                </c:pt>
                <c:pt idx="6060">
                  <c:v>8.9169999999999998</c:v>
                </c:pt>
                <c:pt idx="6061">
                  <c:v>8.2059999999999995</c:v>
                </c:pt>
                <c:pt idx="6062">
                  <c:v>8.3979999999999997</c:v>
                </c:pt>
                <c:pt idx="6063">
                  <c:v>7.8680000000000003</c:v>
                </c:pt>
                <c:pt idx="6064">
                  <c:v>9.2799999999999994</c:v>
                </c:pt>
                <c:pt idx="6065">
                  <c:v>11.315000000000001</c:v>
                </c:pt>
                <c:pt idx="6066">
                  <c:v>11.456</c:v>
                </c:pt>
                <c:pt idx="6067">
                  <c:v>11.153</c:v>
                </c:pt>
                <c:pt idx="6068">
                  <c:v>9.6020000000000003</c:v>
                </c:pt>
                <c:pt idx="6069">
                  <c:v>8.7940000000000005</c:v>
                </c:pt>
                <c:pt idx="6070">
                  <c:v>7.952</c:v>
                </c:pt>
                <c:pt idx="6071">
                  <c:v>6.734</c:v>
                </c:pt>
                <c:pt idx="6072">
                  <c:v>5.9790000000000001</c:v>
                </c:pt>
                <c:pt idx="6073">
                  <c:v>6.1470000000000002</c:v>
                </c:pt>
                <c:pt idx="6074">
                  <c:v>6.1360000000000001</c:v>
                </c:pt>
                <c:pt idx="6075">
                  <c:v>6.7299999999999995</c:v>
                </c:pt>
                <c:pt idx="6076">
                  <c:v>8.0920000000000005</c:v>
                </c:pt>
                <c:pt idx="6077">
                  <c:v>10.312000000000001</c:v>
                </c:pt>
                <c:pt idx="6078">
                  <c:v>12.99</c:v>
                </c:pt>
                <c:pt idx="6079">
                  <c:v>11.494</c:v>
                </c:pt>
                <c:pt idx="6080">
                  <c:v>10</c:v>
                </c:pt>
                <c:pt idx="6081">
                  <c:v>5.992</c:v>
                </c:pt>
                <c:pt idx="6082">
                  <c:v>0.95199999999999996</c:v>
                </c:pt>
                <c:pt idx="6083">
                  <c:v>4.0000000000000001E-3</c:v>
                </c:pt>
                <c:pt idx="6084">
                  <c:v>-7.000000000000001E-3</c:v>
                </c:pt>
                <c:pt idx="6085">
                  <c:v>-1.6E-2</c:v>
                </c:pt>
                <c:pt idx="6086">
                  <c:v>-4.0000000000000001E-3</c:v>
                </c:pt>
                <c:pt idx="6087">
                  <c:v>2.1999999999999999E-2</c:v>
                </c:pt>
                <c:pt idx="6088">
                  <c:v>2.177</c:v>
                </c:pt>
                <c:pt idx="6089">
                  <c:v>8.0400000000000009</c:v>
                </c:pt>
                <c:pt idx="6090">
                  <c:v>9.2910000000000004</c:v>
                </c:pt>
                <c:pt idx="6091">
                  <c:v>8.3249999999999993</c:v>
                </c:pt>
                <c:pt idx="6092">
                  <c:v>8.202</c:v>
                </c:pt>
                <c:pt idx="6093">
                  <c:v>7.6629999999999994</c:v>
                </c:pt>
                <c:pt idx="6094">
                  <c:v>6.4379999999999997</c:v>
                </c:pt>
                <c:pt idx="6095">
                  <c:v>4</c:v>
                </c:pt>
                <c:pt idx="6096">
                  <c:v>3.9909999999999997</c:v>
                </c:pt>
                <c:pt idx="6097">
                  <c:v>3.2990000000000004</c:v>
                </c:pt>
                <c:pt idx="6098">
                  <c:v>3.3729999999999998</c:v>
                </c:pt>
                <c:pt idx="6099">
                  <c:v>3.8929999999999998</c:v>
                </c:pt>
                <c:pt idx="6100">
                  <c:v>6.1560000000000006</c:v>
                </c:pt>
                <c:pt idx="6101">
                  <c:v>8.6790000000000003</c:v>
                </c:pt>
                <c:pt idx="6102">
                  <c:v>9.754999999999999</c:v>
                </c:pt>
                <c:pt idx="6103">
                  <c:v>11.071999999999999</c:v>
                </c:pt>
                <c:pt idx="6104">
                  <c:v>9.76</c:v>
                </c:pt>
                <c:pt idx="6105">
                  <c:v>7.681</c:v>
                </c:pt>
                <c:pt idx="6106">
                  <c:v>6.7510000000000003</c:v>
                </c:pt>
                <c:pt idx="6107">
                  <c:v>6.2450000000000001</c:v>
                </c:pt>
                <c:pt idx="6108">
                  <c:v>6.3849999999999998</c:v>
                </c:pt>
                <c:pt idx="6109">
                  <c:v>6.9</c:v>
                </c:pt>
                <c:pt idx="6110">
                  <c:v>6.9049999999999994</c:v>
                </c:pt>
                <c:pt idx="6111">
                  <c:v>7.6749999999999998</c:v>
                </c:pt>
                <c:pt idx="6112">
                  <c:v>10.138999999999999</c:v>
                </c:pt>
                <c:pt idx="6113">
                  <c:v>11.513999999999999</c:v>
                </c:pt>
                <c:pt idx="6114">
                  <c:v>14.286000000000001</c:v>
                </c:pt>
                <c:pt idx="6115">
                  <c:v>13.836000000000002</c:v>
                </c:pt>
                <c:pt idx="6116">
                  <c:v>11.513999999999999</c:v>
                </c:pt>
                <c:pt idx="6117">
                  <c:v>10.297000000000001</c:v>
                </c:pt>
                <c:pt idx="6118">
                  <c:v>10.148999999999999</c:v>
                </c:pt>
                <c:pt idx="6119">
                  <c:v>9.0060000000000002</c:v>
                </c:pt>
                <c:pt idx="6120">
                  <c:v>8.41</c:v>
                </c:pt>
                <c:pt idx="6121">
                  <c:v>8.3930000000000007</c:v>
                </c:pt>
                <c:pt idx="6122">
                  <c:v>8.3450000000000006</c:v>
                </c:pt>
                <c:pt idx="6123">
                  <c:v>8.5019999999999989</c:v>
                </c:pt>
                <c:pt idx="6124">
                  <c:v>8.6920000000000002</c:v>
                </c:pt>
                <c:pt idx="6125">
                  <c:v>10.795999999999999</c:v>
                </c:pt>
                <c:pt idx="6126">
                  <c:v>13.494</c:v>
                </c:pt>
                <c:pt idx="6127">
                  <c:v>13.593999999999999</c:v>
                </c:pt>
                <c:pt idx="6128">
                  <c:v>10.336</c:v>
                </c:pt>
                <c:pt idx="6129">
                  <c:v>8.5</c:v>
                </c:pt>
                <c:pt idx="6130">
                  <c:v>8.0410000000000004</c:v>
                </c:pt>
                <c:pt idx="6131">
                  <c:v>7.8620000000000001</c:v>
                </c:pt>
                <c:pt idx="6132">
                  <c:v>7.8230000000000004</c:v>
                </c:pt>
                <c:pt idx="6133">
                  <c:v>8.0109999999999992</c:v>
                </c:pt>
                <c:pt idx="6134">
                  <c:v>8.4930000000000003</c:v>
                </c:pt>
                <c:pt idx="6135">
                  <c:v>9.1669999999999998</c:v>
                </c:pt>
                <c:pt idx="6136">
                  <c:v>10.974</c:v>
                </c:pt>
                <c:pt idx="6137">
                  <c:v>14.519</c:v>
                </c:pt>
                <c:pt idx="6138">
                  <c:v>30.000999999999998</c:v>
                </c:pt>
                <c:pt idx="6139">
                  <c:v>25.002000000000002</c:v>
                </c:pt>
                <c:pt idx="6140">
                  <c:v>12.5</c:v>
                </c:pt>
                <c:pt idx="6141">
                  <c:v>9.9469999999999992</c:v>
                </c:pt>
                <c:pt idx="6142">
                  <c:v>9.2040000000000006</c:v>
                </c:pt>
                <c:pt idx="6143">
                  <c:v>9.9969999999999999</c:v>
                </c:pt>
                <c:pt idx="6144">
                  <c:v>9.1519999999999992</c:v>
                </c:pt>
                <c:pt idx="6145">
                  <c:v>8.7309999999999999</c:v>
                </c:pt>
                <c:pt idx="6146">
                  <c:v>8.6760000000000002</c:v>
                </c:pt>
                <c:pt idx="6147">
                  <c:v>8.4629999999999992</c:v>
                </c:pt>
                <c:pt idx="6148">
                  <c:v>8.7919999999999998</c:v>
                </c:pt>
                <c:pt idx="6149">
                  <c:v>10.048999999999999</c:v>
                </c:pt>
                <c:pt idx="6150">
                  <c:v>11.995999999999999</c:v>
                </c:pt>
                <c:pt idx="6151">
                  <c:v>13.224</c:v>
                </c:pt>
                <c:pt idx="6152">
                  <c:v>11.623999999999999</c:v>
                </c:pt>
                <c:pt idx="6153">
                  <c:v>10.254000000000001</c:v>
                </c:pt>
                <c:pt idx="6154">
                  <c:v>9.4989999999999988</c:v>
                </c:pt>
                <c:pt idx="6155">
                  <c:v>8.8550000000000004</c:v>
                </c:pt>
                <c:pt idx="6156">
                  <c:v>7.75</c:v>
                </c:pt>
                <c:pt idx="6157">
                  <c:v>6.6959999999999997</c:v>
                </c:pt>
                <c:pt idx="6158">
                  <c:v>7.2200000000000006</c:v>
                </c:pt>
                <c:pt idx="6159">
                  <c:v>7.43</c:v>
                </c:pt>
                <c:pt idx="6160">
                  <c:v>7.9849999999999994</c:v>
                </c:pt>
                <c:pt idx="6161">
                  <c:v>9.6470000000000002</c:v>
                </c:pt>
                <c:pt idx="6162">
                  <c:v>10</c:v>
                </c:pt>
                <c:pt idx="6163">
                  <c:v>9.4250000000000007</c:v>
                </c:pt>
                <c:pt idx="6164">
                  <c:v>8.456999999999999</c:v>
                </c:pt>
                <c:pt idx="6165">
                  <c:v>7.93</c:v>
                </c:pt>
                <c:pt idx="6166">
                  <c:v>6.0990000000000002</c:v>
                </c:pt>
                <c:pt idx="6167">
                  <c:v>5.5609999999999999</c:v>
                </c:pt>
                <c:pt idx="6168">
                  <c:v>5.0009999999999994</c:v>
                </c:pt>
                <c:pt idx="6169">
                  <c:v>4.3330000000000002</c:v>
                </c:pt>
                <c:pt idx="6170">
                  <c:v>4.5179999999999998</c:v>
                </c:pt>
                <c:pt idx="6171">
                  <c:v>4.67</c:v>
                </c:pt>
                <c:pt idx="6172">
                  <c:v>4.4270000000000005</c:v>
                </c:pt>
                <c:pt idx="6173">
                  <c:v>5.5350000000000001</c:v>
                </c:pt>
                <c:pt idx="6174">
                  <c:v>6.5</c:v>
                </c:pt>
                <c:pt idx="6175">
                  <c:v>7.5540000000000003</c:v>
                </c:pt>
                <c:pt idx="6176">
                  <c:v>6.6599999999999993</c:v>
                </c:pt>
                <c:pt idx="6177">
                  <c:v>4.1020000000000003</c:v>
                </c:pt>
                <c:pt idx="6178">
                  <c:v>0.80800000000000005</c:v>
                </c:pt>
                <c:pt idx="6179">
                  <c:v>8.5999999999999993E-2</c:v>
                </c:pt>
                <c:pt idx="6180">
                  <c:v>-6.0000000000000001E-3</c:v>
                </c:pt>
                <c:pt idx="6181">
                  <c:v>-4.5999999999999999E-2</c:v>
                </c:pt>
                <c:pt idx="6182">
                  <c:v>-7.000000000000001E-3</c:v>
                </c:pt>
                <c:pt idx="6183">
                  <c:v>0.95399999999999996</c:v>
                </c:pt>
                <c:pt idx="6184">
                  <c:v>6.5090000000000003</c:v>
                </c:pt>
                <c:pt idx="6185">
                  <c:v>9.4390000000000001</c:v>
                </c:pt>
                <c:pt idx="6186">
                  <c:v>12.657999999999999</c:v>
                </c:pt>
                <c:pt idx="6187">
                  <c:v>11.785</c:v>
                </c:pt>
                <c:pt idx="6188">
                  <c:v>10.309000000000001</c:v>
                </c:pt>
                <c:pt idx="6189">
                  <c:v>9.375</c:v>
                </c:pt>
                <c:pt idx="6190">
                  <c:v>8.4760000000000009</c:v>
                </c:pt>
                <c:pt idx="6191">
                  <c:v>7.8109999999999999</c:v>
                </c:pt>
                <c:pt idx="6192">
                  <c:v>7.0069999999999997</c:v>
                </c:pt>
                <c:pt idx="6193">
                  <c:v>6.6599999999999993</c:v>
                </c:pt>
                <c:pt idx="6194">
                  <c:v>6.7150000000000007</c:v>
                </c:pt>
                <c:pt idx="6195">
                  <c:v>6.3659999999999997</c:v>
                </c:pt>
                <c:pt idx="6196">
                  <c:v>6.5609999999999999</c:v>
                </c:pt>
                <c:pt idx="6197">
                  <c:v>6.918000000000001</c:v>
                </c:pt>
                <c:pt idx="6198">
                  <c:v>8.5419999999999998</c:v>
                </c:pt>
                <c:pt idx="6199">
                  <c:v>7.6959999999999997</c:v>
                </c:pt>
                <c:pt idx="6200">
                  <c:v>5.407</c:v>
                </c:pt>
                <c:pt idx="6201">
                  <c:v>1.0920000000000001</c:v>
                </c:pt>
                <c:pt idx="6202">
                  <c:v>7.000000000000001E-3</c:v>
                </c:pt>
                <c:pt idx="6203">
                  <c:v>0</c:v>
                </c:pt>
                <c:pt idx="6204">
                  <c:v>-1E-3</c:v>
                </c:pt>
                <c:pt idx="6205">
                  <c:v>-4.0999999999999995E-2</c:v>
                </c:pt>
                <c:pt idx="6206">
                  <c:v>-2.7000000000000003E-2</c:v>
                </c:pt>
                <c:pt idx="6207">
                  <c:v>1.97</c:v>
                </c:pt>
                <c:pt idx="6208">
                  <c:v>8.2249999999999996</c:v>
                </c:pt>
                <c:pt idx="6209">
                  <c:v>11.28</c:v>
                </c:pt>
                <c:pt idx="6210">
                  <c:v>13.315999999999999</c:v>
                </c:pt>
                <c:pt idx="6211">
                  <c:v>12.36</c:v>
                </c:pt>
                <c:pt idx="6212">
                  <c:v>11.268000000000001</c:v>
                </c:pt>
                <c:pt idx="6213">
                  <c:v>10.711</c:v>
                </c:pt>
                <c:pt idx="6214">
                  <c:v>9.26</c:v>
                </c:pt>
                <c:pt idx="6215">
                  <c:v>9.2989999999999995</c:v>
                </c:pt>
                <c:pt idx="6216">
                  <c:v>8.8140000000000001</c:v>
                </c:pt>
                <c:pt idx="6217">
                  <c:v>8.7260000000000009</c:v>
                </c:pt>
                <c:pt idx="6218">
                  <c:v>8.4930000000000003</c:v>
                </c:pt>
                <c:pt idx="6219">
                  <c:v>8.4340000000000011</c:v>
                </c:pt>
                <c:pt idx="6220">
                  <c:v>8.8309999999999995</c:v>
                </c:pt>
                <c:pt idx="6221">
                  <c:v>11.097</c:v>
                </c:pt>
                <c:pt idx="6222">
                  <c:v>13</c:v>
                </c:pt>
                <c:pt idx="6223">
                  <c:v>14.606</c:v>
                </c:pt>
                <c:pt idx="6224">
                  <c:v>12.64</c:v>
                </c:pt>
                <c:pt idx="6225">
                  <c:v>11.263</c:v>
                </c:pt>
                <c:pt idx="6226">
                  <c:v>10.501999999999999</c:v>
                </c:pt>
                <c:pt idx="6227">
                  <c:v>9.6020000000000003</c:v>
                </c:pt>
                <c:pt idx="6228">
                  <c:v>8.6890000000000001</c:v>
                </c:pt>
                <c:pt idx="6229">
                  <c:v>8.0860000000000003</c:v>
                </c:pt>
                <c:pt idx="6230">
                  <c:v>7.5370000000000008</c:v>
                </c:pt>
                <c:pt idx="6231">
                  <c:v>7.63</c:v>
                </c:pt>
                <c:pt idx="6232">
                  <c:v>8.6980000000000004</c:v>
                </c:pt>
                <c:pt idx="6233">
                  <c:v>10.787000000000001</c:v>
                </c:pt>
                <c:pt idx="6234">
                  <c:v>11.257</c:v>
                </c:pt>
                <c:pt idx="6235">
                  <c:v>10.901</c:v>
                </c:pt>
                <c:pt idx="6236">
                  <c:v>9.01</c:v>
                </c:pt>
                <c:pt idx="6237">
                  <c:v>7.8810000000000002</c:v>
                </c:pt>
                <c:pt idx="6238">
                  <c:v>8.1530000000000005</c:v>
                </c:pt>
                <c:pt idx="6239">
                  <c:v>8.5540000000000003</c:v>
                </c:pt>
                <c:pt idx="6240">
                  <c:v>8.23</c:v>
                </c:pt>
                <c:pt idx="6241">
                  <c:v>8.0510000000000002</c:v>
                </c:pt>
                <c:pt idx="6242">
                  <c:v>7.984</c:v>
                </c:pt>
                <c:pt idx="6243">
                  <c:v>8.0040000000000013</c:v>
                </c:pt>
                <c:pt idx="6244">
                  <c:v>9.1519999999999992</c:v>
                </c:pt>
                <c:pt idx="6245">
                  <c:v>10.831999999999999</c:v>
                </c:pt>
                <c:pt idx="6246">
                  <c:v>13.394</c:v>
                </c:pt>
                <c:pt idx="6247">
                  <c:v>13.752000000000001</c:v>
                </c:pt>
                <c:pt idx="6248">
                  <c:v>10.891</c:v>
                </c:pt>
                <c:pt idx="6249">
                  <c:v>9.6519999999999992</c:v>
                </c:pt>
                <c:pt idx="6250">
                  <c:v>8.2390000000000008</c:v>
                </c:pt>
                <c:pt idx="6251">
                  <c:v>5.9809999999999999</c:v>
                </c:pt>
                <c:pt idx="6252">
                  <c:v>4.1770000000000005</c:v>
                </c:pt>
                <c:pt idx="6253">
                  <c:v>2.5640000000000001</c:v>
                </c:pt>
                <c:pt idx="6254">
                  <c:v>4.444</c:v>
                </c:pt>
                <c:pt idx="6255">
                  <c:v>7.4290000000000003</c:v>
                </c:pt>
                <c:pt idx="6256">
                  <c:v>9.35</c:v>
                </c:pt>
                <c:pt idx="6257">
                  <c:v>11.298999999999999</c:v>
                </c:pt>
                <c:pt idx="6258">
                  <c:v>13.253</c:v>
                </c:pt>
                <c:pt idx="6259">
                  <c:v>11.123999999999999</c:v>
                </c:pt>
                <c:pt idx="6260">
                  <c:v>9.6120000000000001</c:v>
                </c:pt>
                <c:pt idx="6261">
                  <c:v>8.9939999999999998</c:v>
                </c:pt>
                <c:pt idx="6262">
                  <c:v>8.3840000000000003</c:v>
                </c:pt>
                <c:pt idx="6263">
                  <c:v>8.516</c:v>
                </c:pt>
                <c:pt idx="6264">
                  <c:v>8.0939999999999994</c:v>
                </c:pt>
                <c:pt idx="6265">
                  <c:v>8.3709999999999987</c:v>
                </c:pt>
                <c:pt idx="6266">
                  <c:v>8.3670000000000009</c:v>
                </c:pt>
                <c:pt idx="6267">
                  <c:v>8.2510000000000012</c:v>
                </c:pt>
                <c:pt idx="6268">
                  <c:v>8.9920000000000009</c:v>
                </c:pt>
                <c:pt idx="6269">
                  <c:v>10.509</c:v>
                </c:pt>
                <c:pt idx="6270">
                  <c:v>14.191999999999998</c:v>
                </c:pt>
                <c:pt idx="6271">
                  <c:v>13.306999999999999</c:v>
                </c:pt>
                <c:pt idx="6272">
                  <c:v>10.244</c:v>
                </c:pt>
                <c:pt idx="6273">
                  <c:v>7.9</c:v>
                </c:pt>
                <c:pt idx="6274">
                  <c:v>5.532</c:v>
                </c:pt>
                <c:pt idx="6275">
                  <c:v>0.54900000000000004</c:v>
                </c:pt>
                <c:pt idx="6276">
                  <c:v>0</c:v>
                </c:pt>
                <c:pt idx="6277">
                  <c:v>-8.9999999999999993E-3</c:v>
                </c:pt>
                <c:pt idx="6278">
                  <c:v>0.10400000000000001</c:v>
                </c:pt>
                <c:pt idx="6279">
                  <c:v>4.0049999999999999</c:v>
                </c:pt>
                <c:pt idx="6280">
                  <c:v>8.7519999999999989</c:v>
                </c:pt>
                <c:pt idx="6281">
                  <c:v>11.391</c:v>
                </c:pt>
                <c:pt idx="6282">
                  <c:v>12.991999999999999</c:v>
                </c:pt>
                <c:pt idx="6283">
                  <c:v>10.82</c:v>
                </c:pt>
                <c:pt idx="6284">
                  <c:v>9.3249999999999993</c:v>
                </c:pt>
                <c:pt idx="6285">
                  <c:v>8.9920000000000009</c:v>
                </c:pt>
                <c:pt idx="6286">
                  <c:v>7.9489999999999998</c:v>
                </c:pt>
                <c:pt idx="6287">
                  <c:v>7.6400000000000006</c:v>
                </c:pt>
                <c:pt idx="6288">
                  <c:v>7.7530000000000001</c:v>
                </c:pt>
                <c:pt idx="6289">
                  <c:v>7.8029999999999999</c:v>
                </c:pt>
                <c:pt idx="6290">
                  <c:v>7.7349999999999994</c:v>
                </c:pt>
                <c:pt idx="6291">
                  <c:v>7.9260000000000002</c:v>
                </c:pt>
                <c:pt idx="6292">
                  <c:v>8.9989999999999988</c:v>
                </c:pt>
                <c:pt idx="6293">
                  <c:v>11.347</c:v>
                </c:pt>
                <c:pt idx="6294">
                  <c:v>14.324000000000002</c:v>
                </c:pt>
                <c:pt idx="6295">
                  <c:v>12.412000000000001</c:v>
                </c:pt>
                <c:pt idx="6296">
                  <c:v>9.7639999999999993</c:v>
                </c:pt>
                <c:pt idx="6297">
                  <c:v>7.4809999999999999</c:v>
                </c:pt>
                <c:pt idx="6298">
                  <c:v>5.0409999999999995</c:v>
                </c:pt>
                <c:pt idx="6299">
                  <c:v>0.497</c:v>
                </c:pt>
                <c:pt idx="6300">
                  <c:v>-6.0000000000000001E-3</c:v>
                </c:pt>
                <c:pt idx="6301">
                  <c:v>-8.9999999999999993E-3</c:v>
                </c:pt>
                <c:pt idx="6302">
                  <c:v>1.091</c:v>
                </c:pt>
                <c:pt idx="6303">
                  <c:v>5.8549999999999995</c:v>
                </c:pt>
                <c:pt idx="6304">
                  <c:v>9.1050000000000004</c:v>
                </c:pt>
                <c:pt idx="6305">
                  <c:v>11.452999999999999</c:v>
                </c:pt>
                <c:pt idx="6306">
                  <c:v>13.430000000000001</c:v>
                </c:pt>
                <c:pt idx="6307">
                  <c:v>11.35</c:v>
                </c:pt>
                <c:pt idx="6308">
                  <c:v>9.11</c:v>
                </c:pt>
                <c:pt idx="6309">
                  <c:v>8.8970000000000002</c:v>
                </c:pt>
                <c:pt idx="6310">
                  <c:v>7.8870000000000005</c:v>
                </c:pt>
                <c:pt idx="6311">
                  <c:v>7.2610000000000001</c:v>
                </c:pt>
                <c:pt idx="6312">
                  <c:v>7.4040000000000008</c:v>
                </c:pt>
                <c:pt idx="6313">
                  <c:v>7.3420000000000005</c:v>
                </c:pt>
                <c:pt idx="6314">
                  <c:v>7.3170000000000002</c:v>
                </c:pt>
                <c:pt idx="6315">
                  <c:v>7.452</c:v>
                </c:pt>
                <c:pt idx="6316">
                  <c:v>8.9090000000000007</c:v>
                </c:pt>
                <c:pt idx="6317">
                  <c:v>10.806000000000001</c:v>
                </c:pt>
                <c:pt idx="6318">
                  <c:v>14.145</c:v>
                </c:pt>
                <c:pt idx="6319">
                  <c:v>10.86</c:v>
                </c:pt>
                <c:pt idx="6320">
                  <c:v>8.8919999999999995</c:v>
                </c:pt>
                <c:pt idx="6321">
                  <c:v>6.2050000000000001</c:v>
                </c:pt>
                <c:pt idx="6322">
                  <c:v>2.4690000000000003</c:v>
                </c:pt>
                <c:pt idx="6323">
                  <c:v>0.82400000000000007</c:v>
                </c:pt>
                <c:pt idx="6324">
                  <c:v>-1E-3</c:v>
                </c:pt>
                <c:pt idx="6325">
                  <c:v>7.000000000000001E-3</c:v>
                </c:pt>
                <c:pt idx="6326">
                  <c:v>0.75600000000000001</c:v>
                </c:pt>
                <c:pt idx="6327">
                  <c:v>4.3680000000000003</c:v>
                </c:pt>
                <c:pt idx="6328">
                  <c:v>8.4120000000000008</c:v>
                </c:pt>
                <c:pt idx="6329">
                  <c:v>10.601000000000001</c:v>
                </c:pt>
                <c:pt idx="6330">
                  <c:v>14.571999999999999</c:v>
                </c:pt>
                <c:pt idx="6331">
                  <c:v>10.884</c:v>
                </c:pt>
                <c:pt idx="6332">
                  <c:v>9.1069999999999993</c:v>
                </c:pt>
                <c:pt idx="6333">
                  <c:v>8.7799999999999994</c:v>
                </c:pt>
                <c:pt idx="6334">
                  <c:v>8.7080000000000002</c:v>
                </c:pt>
                <c:pt idx="6335">
                  <c:v>8.8290000000000006</c:v>
                </c:pt>
                <c:pt idx="6336">
                  <c:v>8.5299999999999994</c:v>
                </c:pt>
                <c:pt idx="6337">
                  <c:v>8.1999999999999993</c:v>
                </c:pt>
                <c:pt idx="6338">
                  <c:v>8.2189999999999994</c:v>
                </c:pt>
                <c:pt idx="6339">
                  <c:v>8.6379999999999999</c:v>
                </c:pt>
                <c:pt idx="6340">
                  <c:v>8.9480000000000004</c:v>
                </c:pt>
                <c:pt idx="6341">
                  <c:v>9.9689999999999994</c:v>
                </c:pt>
                <c:pt idx="6342">
                  <c:v>9.7759999999999998</c:v>
                </c:pt>
                <c:pt idx="6343">
                  <c:v>8.5299999999999994</c:v>
                </c:pt>
                <c:pt idx="6344">
                  <c:v>6.0990000000000002</c:v>
                </c:pt>
                <c:pt idx="6345">
                  <c:v>2.2000000000000002</c:v>
                </c:pt>
                <c:pt idx="6346">
                  <c:v>0.315</c:v>
                </c:pt>
                <c:pt idx="6347">
                  <c:v>0</c:v>
                </c:pt>
                <c:pt idx="6348">
                  <c:v>-0.33599999999999997</c:v>
                </c:pt>
                <c:pt idx="6349">
                  <c:v>-0.39500000000000002</c:v>
                </c:pt>
                <c:pt idx="6350">
                  <c:v>0.10900000000000001</c:v>
                </c:pt>
                <c:pt idx="6351">
                  <c:v>4.726</c:v>
                </c:pt>
                <c:pt idx="6352">
                  <c:v>9.7189999999999994</c:v>
                </c:pt>
                <c:pt idx="6353">
                  <c:v>12.75</c:v>
                </c:pt>
                <c:pt idx="6354">
                  <c:v>14.199000000000002</c:v>
                </c:pt>
                <c:pt idx="6355">
                  <c:v>11.25</c:v>
                </c:pt>
                <c:pt idx="6356">
                  <c:v>9.593</c:v>
                </c:pt>
                <c:pt idx="6357">
                  <c:v>9.36</c:v>
                </c:pt>
                <c:pt idx="6358">
                  <c:v>8.83</c:v>
                </c:pt>
                <c:pt idx="6359">
                  <c:v>9.7729999999999997</c:v>
                </c:pt>
                <c:pt idx="6360">
                  <c:v>9.004999999999999</c:v>
                </c:pt>
                <c:pt idx="6361">
                  <c:v>8.9989999999999988</c:v>
                </c:pt>
                <c:pt idx="6362">
                  <c:v>8.9499999999999993</c:v>
                </c:pt>
                <c:pt idx="6363">
                  <c:v>9.0749999999999993</c:v>
                </c:pt>
                <c:pt idx="6364">
                  <c:v>9.0650000000000013</c:v>
                </c:pt>
                <c:pt idx="6365">
                  <c:v>9.4879999999999995</c:v>
                </c:pt>
                <c:pt idx="6366">
                  <c:v>9.7309999999999999</c:v>
                </c:pt>
                <c:pt idx="6367">
                  <c:v>8.6479999999999997</c:v>
                </c:pt>
                <c:pt idx="6368">
                  <c:v>6.2789999999999999</c:v>
                </c:pt>
                <c:pt idx="6369">
                  <c:v>2.617</c:v>
                </c:pt>
                <c:pt idx="6370">
                  <c:v>1.113</c:v>
                </c:pt>
                <c:pt idx="6371">
                  <c:v>0.76900000000000002</c:v>
                </c:pt>
                <c:pt idx="6372">
                  <c:v>-8.0000000000000002E-3</c:v>
                </c:pt>
                <c:pt idx="6373">
                  <c:v>1E-3</c:v>
                </c:pt>
                <c:pt idx="6374">
                  <c:v>0.96599999999999997</c:v>
                </c:pt>
                <c:pt idx="6375">
                  <c:v>6.16</c:v>
                </c:pt>
                <c:pt idx="6376">
                  <c:v>10.626999999999999</c:v>
                </c:pt>
                <c:pt idx="6377">
                  <c:v>13.222999999999999</c:v>
                </c:pt>
                <c:pt idx="6378">
                  <c:v>15.718</c:v>
                </c:pt>
                <c:pt idx="6379">
                  <c:v>12.611000000000001</c:v>
                </c:pt>
                <c:pt idx="6380">
                  <c:v>10.954000000000001</c:v>
                </c:pt>
                <c:pt idx="6381">
                  <c:v>9.8719999999999999</c:v>
                </c:pt>
                <c:pt idx="6382">
                  <c:v>9.1999999999999993</c:v>
                </c:pt>
                <c:pt idx="6383">
                  <c:v>9.08</c:v>
                </c:pt>
                <c:pt idx="6384">
                  <c:v>8.4079999999999995</c:v>
                </c:pt>
                <c:pt idx="6385">
                  <c:v>8.52</c:v>
                </c:pt>
                <c:pt idx="6386">
                  <c:v>8.7149999999999999</c:v>
                </c:pt>
                <c:pt idx="6387">
                  <c:v>8.6930000000000014</c:v>
                </c:pt>
                <c:pt idx="6388">
                  <c:v>9.73</c:v>
                </c:pt>
                <c:pt idx="6389">
                  <c:v>13.34</c:v>
                </c:pt>
                <c:pt idx="6390">
                  <c:v>20.372999999999998</c:v>
                </c:pt>
                <c:pt idx="6391">
                  <c:v>15.133000000000001</c:v>
                </c:pt>
                <c:pt idx="6392">
                  <c:v>10.998999999999999</c:v>
                </c:pt>
                <c:pt idx="6393">
                  <c:v>9.4659999999999993</c:v>
                </c:pt>
                <c:pt idx="6394">
                  <c:v>8.016</c:v>
                </c:pt>
                <c:pt idx="6395">
                  <c:v>7.8940000000000001</c:v>
                </c:pt>
                <c:pt idx="6396">
                  <c:v>7.6549999999999994</c:v>
                </c:pt>
                <c:pt idx="6397">
                  <c:v>7.6769999999999996</c:v>
                </c:pt>
                <c:pt idx="6398">
                  <c:v>8.0980000000000008</c:v>
                </c:pt>
                <c:pt idx="6399">
                  <c:v>10.225</c:v>
                </c:pt>
                <c:pt idx="6400">
                  <c:v>13.600999999999999</c:v>
                </c:pt>
                <c:pt idx="6401">
                  <c:v>24.026</c:v>
                </c:pt>
                <c:pt idx="6402">
                  <c:v>32.838999999999999</c:v>
                </c:pt>
                <c:pt idx="6403">
                  <c:v>17.863999999999997</c:v>
                </c:pt>
                <c:pt idx="6404">
                  <c:v>11.670999999999999</c:v>
                </c:pt>
                <c:pt idx="6405">
                  <c:v>10.093</c:v>
                </c:pt>
                <c:pt idx="6406">
                  <c:v>9.1539999999999999</c:v>
                </c:pt>
                <c:pt idx="6407">
                  <c:v>8.82</c:v>
                </c:pt>
                <c:pt idx="6408">
                  <c:v>8.2510000000000012</c:v>
                </c:pt>
                <c:pt idx="6409">
                  <c:v>8.3689999999999998</c:v>
                </c:pt>
                <c:pt idx="6410">
                  <c:v>8.5019999999999989</c:v>
                </c:pt>
                <c:pt idx="6411">
                  <c:v>8.3260000000000005</c:v>
                </c:pt>
                <c:pt idx="6412">
                  <c:v>8.8290000000000006</c:v>
                </c:pt>
                <c:pt idx="6413">
                  <c:v>11.074999999999999</c:v>
                </c:pt>
                <c:pt idx="6414">
                  <c:v>14.196000000000002</c:v>
                </c:pt>
                <c:pt idx="6415">
                  <c:v>12.74</c:v>
                </c:pt>
                <c:pt idx="6416">
                  <c:v>10.602</c:v>
                </c:pt>
                <c:pt idx="6417">
                  <c:v>9.2609999999999992</c:v>
                </c:pt>
                <c:pt idx="6418">
                  <c:v>8.3870000000000005</c:v>
                </c:pt>
                <c:pt idx="6419">
                  <c:v>7.5750000000000002</c:v>
                </c:pt>
                <c:pt idx="6420">
                  <c:v>6.8989999999999991</c:v>
                </c:pt>
                <c:pt idx="6421">
                  <c:v>6.1590000000000007</c:v>
                </c:pt>
                <c:pt idx="6422">
                  <c:v>7.4939999999999998</c:v>
                </c:pt>
                <c:pt idx="6423">
                  <c:v>8.327</c:v>
                </c:pt>
                <c:pt idx="6424">
                  <c:v>10.404</c:v>
                </c:pt>
                <c:pt idx="6425">
                  <c:v>11.904999999999999</c:v>
                </c:pt>
                <c:pt idx="6426">
                  <c:v>12.413</c:v>
                </c:pt>
                <c:pt idx="6427">
                  <c:v>10.17</c:v>
                </c:pt>
                <c:pt idx="6428">
                  <c:v>8.0440000000000005</c:v>
                </c:pt>
                <c:pt idx="6429">
                  <c:v>7.4480000000000004</c:v>
                </c:pt>
                <c:pt idx="6430">
                  <c:v>6.0579999999999998</c:v>
                </c:pt>
                <c:pt idx="6431">
                  <c:v>5.1479999999999997</c:v>
                </c:pt>
                <c:pt idx="6432">
                  <c:v>4.218</c:v>
                </c:pt>
                <c:pt idx="6433">
                  <c:v>3.9200000000000004</c:v>
                </c:pt>
                <c:pt idx="6434">
                  <c:v>3.9450000000000003</c:v>
                </c:pt>
                <c:pt idx="6435">
                  <c:v>5.4770000000000003</c:v>
                </c:pt>
                <c:pt idx="6436">
                  <c:v>6.3950000000000005</c:v>
                </c:pt>
                <c:pt idx="6437">
                  <c:v>7.8340000000000005</c:v>
                </c:pt>
                <c:pt idx="6438">
                  <c:v>8.3769999999999989</c:v>
                </c:pt>
                <c:pt idx="6439">
                  <c:v>8.8150000000000013</c:v>
                </c:pt>
                <c:pt idx="6440">
                  <c:v>7.0319999999999991</c:v>
                </c:pt>
                <c:pt idx="6441">
                  <c:v>4.9459999999999997</c:v>
                </c:pt>
                <c:pt idx="6442">
                  <c:v>2.524</c:v>
                </c:pt>
                <c:pt idx="6443">
                  <c:v>1.9100000000000001</c:v>
                </c:pt>
                <c:pt idx="6444">
                  <c:v>1.8780000000000001</c:v>
                </c:pt>
                <c:pt idx="6445">
                  <c:v>5.5529999999999999</c:v>
                </c:pt>
                <c:pt idx="6446">
                  <c:v>7.2230000000000008</c:v>
                </c:pt>
                <c:pt idx="6447">
                  <c:v>8.9689999999999994</c:v>
                </c:pt>
                <c:pt idx="6448">
                  <c:v>10.785</c:v>
                </c:pt>
                <c:pt idx="6449">
                  <c:v>15.62</c:v>
                </c:pt>
                <c:pt idx="6450">
                  <c:v>19.541999999999998</c:v>
                </c:pt>
                <c:pt idx="6451">
                  <c:v>13.184000000000001</c:v>
                </c:pt>
                <c:pt idx="6452">
                  <c:v>9.6609999999999996</c:v>
                </c:pt>
                <c:pt idx="6453">
                  <c:v>9.1639999999999997</c:v>
                </c:pt>
                <c:pt idx="6454">
                  <c:v>8.2219999999999995</c:v>
                </c:pt>
                <c:pt idx="6455">
                  <c:v>6.6019999999999994</c:v>
                </c:pt>
                <c:pt idx="6456">
                  <c:v>5.8780000000000001</c:v>
                </c:pt>
                <c:pt idx="6457">
                  <c:v>5.234</c:v>
                </c:pt>
                <c:pt idx="6458">
                  <c:v>4.9870000000000001</c:v>
                </c:pt>
                <c:pt idx="6459">
                  <c:v>4.5529999999999999</c:v>
                </c:pt>
                <c:pt idx="6460">
                  <c:v>4.9710000000000001</c:v>
                </c:pt>
                <c:pt idx="6461">
                  <c:v>7.2030000000000003</c:v>
                </c:pt>
                <c:pt idx="6462">
                  <c:v>8.52</c:v>
                </c:pt>
                <c:pt idx="6463">
                  <c:v>8.34</c:v>
                </c:pt>
                <c:pt idx="6464">
                  <c:v>6.7329999999999997</c:v>
                </c:pt>
                <c:pt idx="6465">
                  <c:v>4.923</c:v>
                </c:pt>
                <c:pt idx="6466">
                  <c:v>3.1619999999999999</c:v>
                </c:pt>
                <c:pt idx="6467">
                  <c:v>1.7</c:v>
                </c:pt>
                <c:pt idx="6468">
                  <c:v>1.208</c:v>
                </c:pt>
                <c:pt idx="6469">
                  <c:v>1.268</c:v>
                </c:pt>
                <c:pt idx="6470">
                  <c:v>3.79</c:v>
                </c:pt>
                <c:pt idx="6471">
                  <c:v>5.4909999999999997</c:v>
                </c:pt>
                <c:pt idx="6472">
                  <c:v>7.3650000000000002</c:v>
                </c:pt>
                <c:pt idx="6473">
                  <c:v>8</c:v>
                </c:pt>
                <c:pt idx="6474">
                  <c:v>8.9</c:v>
                </c:pt>
                <c:pt idx="6475">
                  <c:v>7.8930000000000007</c:v>
                </c:pt>
                <c:pt idx="6476">
                  <c:v>6.2840000000000007</c:v>
                </c:pt>
                <c:pt idx="6477">
                  <c:v>5.3719999999999999</c:v>
                </c:pt>
                <c:pt idx="6478">
                  <c:v>3.63</c:v>
                </c:pt>
                <c:pt idx="6479">
                  <c:v>-6.0000000000000001E-3</c:v>
                </c:pt>
                <c:pt idx="6480">
                  <c:v>4.0000000000000001E-3</c:v>
                </c:pt>
                <c:pt idx="6481">
                  <c:v>-1E-3</c:v>
                </c:pt>
                <c:pt idx="6482">
                  <c:v>-5.8999999999999997E-2</c:v>
                </c:pt>
                <c:pt idx="6483">
                  <c:v>-0.02</c:v>
                </c:pt>
                <c:pt idx="6484">
                  <c:v>-3.0000000000000001E-3</c:v>
                </c:pt>
                <c:pt idx="6485">
                  <c:v>0</c:v>
                </c:pt>
                <c:pt idx="6486">
                  <c:v>2.5920000000000001</c:v>
                </c:pt>
                <c:pt idx="6487">
                  <c:v>3.992</c:v>
                </c:pt>
                <c:pt idx="6488">
                  <c:v>0.55300000000000005</c:v>
                </c:pt>
                <c:pt idx="6489">
                  <c:v>-8.9999999999999993E-3</c:v>
                </c:pt>
                <c:pt idx="6490">
                  <c:v>-0.375</c:v>
                </c:pt>
                <c:pt idx="6491">
                  <c:v>-0.55599999999999994</c:v>
                </c:pt>
                <c:pt idx="6492">
                  <c:v>-0.63200000000000001</c:v>
                </c:pt>
                <c:pt idx="6493">
                  <c:v>-0.505</c:v>
                </c:pt>
                <c:pt idx="6494">
                  <c:v>-1.0999999999999999E-2</c:v>
                </c:pt>
                <c:pt idx="6495">
                  <c:v>0</c:v>
                </c:pt>
                <c:pt idx="6496">
                  <c:v>3.7829999999999999</c:v>
                </c:pt>
                <c:pt idx="6497">
                  <c:v>6.2549999999999999</c:v>
                </c:pt>
                <c:pt idx="6498">
                  <c:v>6.0469999999999997</c:v>
                </c:pt>
                <c:pt idx="6499">
                  <c:v>5.9569999999999999</c:v>
                </c:pt>
                <c:pt idx="6500">
                  <c:v>3.3090000000000002</c:v>
                </c:pt>
                <c:pt idx="6501">
                  <c:v>2.6030000000000002</c:v>
                </c:pt>
                <c:pt idx="6502">
                  <c:v>2.5</c:v>
                </c:pt>
                <c:pt idx="6503">
                  <c:v>0.17699999999999999</c:v>
                </c:pt>
                <c:pt idx="6504">
                  <c:v>0.30299999999999999</c:v>
                </c:pt>
                <c:pt idx="6505">
                  <c:v>0.32900000000000001</c:v>
                </c:pt>
                <c:pt idx="6506">
                  <c:v>0.316</c:v>
                </c:pt>
                <c:pt idx="6507">
                  <c:v>0.32700000000000001</c:v>
                </c:pt>
                <c:pt idx="6508">
                  <c:v>0.41500000000000004</c:v>
                </c:pt>
                <c:pt idx="6509">
                  <c:v>1.1960000000000002</c:v>
                </c:pt>
                <c:pt idx="6510">
                  <c:v>2.2280000000000002</c:v>
                </c:pt>
                <c:pt idx="6511">
                  <c:v>2.621</c:v>
                </c:pt>
                <c:pt idx="6512">
                  <c:v>1.891</c:v>
                </c:pt>
                <c:pt idx="6513">
                  <c:v>0.97499999999999998</c:v>
                </c:pt>
                <c:pt idx="6514">
                  <c:v>0.378</c:v>
                </c:pt>
                <c:pt idx="6515">
                  <c:v>6.5000000000000002E-2</c:v>
                </c:pt>
                <c:pt idx="6516">
                  <c:v>0</c:v>
                </c:pt>
                <c:pt idx="6517">
                  <c:v>0</c:v>
                </c:pt>
                <c:pt idx="6518">
                  <c:v>6.0000000000000001E-3</c:v>
                </c:pt>
                <c:pt idx="6519">
                  <c:v>0.98199999999999998</c:v>
                </c:pt>
                <c:pt idx="6520">
                  <c:v>6.3229999999999995</c:v>
                </c:pt>
                <c:pt idx="6521">
                  <c:v>8.0280000000000005</c:v>
                </c:pt>
                <c:pt idx="6522">
                  <c:v>10.007999999999999</c:v>
                </c:pt>
                <c:pt idx="6523">
                  <c:v>9.6310000000000002</c:v>
                </c:pt>
                <c:pt idx="6524">
                  <c:v>8.07</c:v>
                </c:pt>
                <c:pt idx="6525">
                  <c:v>8.0280000000000005</c:v>
                </c:pt>
                <c:pt idx="6526">
                  <c:v>7.4730000000000008</c:v>
                </c:pt>
                <c:pt idx="6527">
                  <c:v>6.0659999999999998</c:v>
                </c:pt>
                <c:pt idx="6528">
                  <c:v>4.55</c:v>
                </c:pt>
                <c:pt idx="6529">
                  <c:v>4.4159999999999995</c:v>
                </c:pt>
                <c:pt idx="6530">
                  <c:v>4.335</c:v>
                </c:pt>
                <c:pt idx="6531">
                  <c:v>5.774</c:v>
                </c:pt>
                <c:pt idx="6532">
                  <c:v>7.3629999999999995</c:v>
                </c:pt>
                <c:pt idx="6533">
                  <c:v>7.7</c:v>
                </c:pt>
                <c:pt idx="6534">
                  <c:v>9.8000000000000007</c:v>
                </c:pt>
                <c:pt idx="6535">
                  <c:v>9.6879999999999988</c:v>
                </c:pt>
                <c:pt idx="6536">
                  <c:v>5.4429999999999996</c:v>
                </c:pt>
                <c:pt idx="6537">
                  <c:v>0.13300000000000001</c:v>
                </c:pt>
                <c:pt idx="6538">
                  <c:v>0</c:v>
                </c:pt>
                <c:pt idx="6539">
                  <c:v>-1E-3</c:v>
                </c:pt>
                <c:pt idx="6540">
                  <c:v>-0.05</c:v>
                </c:pt>
                <c:pt idx="6541">
                  <c:v>-4.4999999999999998E-2</c:v>
                </c:pt>
                <c:pt idx="6542">
                  <c:v>0</c:v>
                </c:pt>
                <c:pt idx="6543">
                  <c:v>4.3239999999999998</c:v>
                </c:pt>
                <c:pt idx="6544">
                  <c:v>9.4009999999999998</c:v>
                </c:pt>
                <c:pt idx="6545">
                  <c:v>15.259</c:v>
                </c:pt>
                <c:pt idx="6546">
                  <c:v>16.731999999999999</c:v>
                </c:pt>
                <c:pt idx="6547">
                  <c:v>10.961</c:v>
                </c:pt>
                <c:pt idx="6548">
                  <c:v>8.0129999999999999</c:v>
                </c:pt>
                <c:pt idx="6549">
                  <c:v>6.43</c:v>
                </c:pt>
                <c:pt idx="6550">
                  <c:v>3.7389999999999999</c:v>
                </c:pt>
                <c:pt idx="6551">
                  <c:v>1.9</c:v>
                </c:pt>
                <c:pt idx="6552">
                  <c:v>1.145</c:v>
                </c:pt>
                <c:pt idx="6553">
                  <c:v>0.84000000000000008</c:v>
                </c:pt>
                <c:pt idx="6554">
                  <c:v>0.55300000000000005</c:v>
                </c:pt>
                <c:pt idx="6555">
                  <c:v>0.56100000000000005</c:v>
                </c:pt>
                <c:pt idx="6556">
                  <c:v>1.698</c:v>
                </c:pt>
                <c:pt idx="6557">
                  <c:v>4.5640000000000001</c:v>
                </c:pt>
                <c:pt idx="6558">
                  <c:v>9.0419999999999998</c:v>
                </c:pt>
                <c:pt idx="6559">
                  <c:v>9.3550000000000004</c:v>
                </c:pt>
                <c:pt idx="6560">
                  <c:v>6.8459999999999992</c:v>
                </c:pt>
                <c:pt idx="6561">
                  <c:v>4.4409999999999998</c:v>
                </c:pt>
                <c:pt idx="6562">
                  <c:v>2.0910000000000002</c:v>
                </c:pt>
                <c:pt idx="6563">
                  <c:v>0.92799999999999994</c:v>
                </c:pt>
                <c:pt idx="6564">
                  <c:v>0.20600000000000002</c:v>
                </c:pt>
                <c:pt idx="6565">
                  <c:v>0.76300000000000001</c:v>
                </c:pt>
                <c:pt idx="6566">
                  <c:v>2.1960000000000002</c:v>
                </c:pt>
                <c:pt idx="6567">
                  <c:v>3.5130000000000003</c:v>
                </c:pt>
                <c:pt idx="6568">
                  <c:v>6.4599999999999991</c:v>
                </c:pt>
                <c:pt idx="6569">
                  <c:v>7.0359999999999996</c:v>
                </c:pt>
                <c:pt idx="6570">
                  <c:v>6.4239999999999995</c:v>
                </c:pt>
                <c:pt idx="6571">
                  <c:v>4.2350000000000003</c:v>
                </c:pt>
                <c:pt idx="6572">
                  <c:v>2.1930000000000001</c:v>
                </c:pt>
                <c:pt idx="6573">
                  <c:v>2.0010000000000003</c:v>
                </c:pt>
                <c:pt idx="6574">
                  <c:v>0.98399999999999999</c:v>
                </c:pt>
                <c:pt idx="6575">
                  <c:v>0.32100000000000001</c:v>
                </c:pt>
                <c:pt idx="6576">
                  <c:v>7.000000000000001E-3</c:v>
                </c:pt>
                <c:pt idx="6577">
                  <c:v>5.0000000000000001E-3</c:v>
                </c:pt>
                <c:pt idx="6578">
                  <c:v>2E-3</c:v>
                </c:pt>
                <c:pt idx="6579">
                  <c:v>8.9999999999999993E-3</c:v>
                </c:pt>
                <c:pt idx="6580">
                  <c:v>0.67999999999999994</c:v>
                </c:pt>
                <c:pt idx="6581">
                  <c:v>6.3959999999999999</c:v>
                </c:pt>
                <c:pt idx="6582">
                  <c:v>10.334999999999999</c:v>
                </c:pt>
                <c:pt idx="6583">
                  <c:v>11.498000000000001</c:v>
                </c:pt>
                <c:pt idx="6584">
                  <c:v>10.041</c:v>
                </c:pt>
                <c:pt idx="6585">
                  <c:v>7.6480000000000006</c:v>
                </c:pt>
                <c:pt idx="6586">
                  <c:v>6.8209999999999997</c:v>
                </c:pt>
                <c:pt idx="6587">
                  <c:v>5.86</c:v>
                </c:pt>
                <c:pt idx="6588">
                  <c:v>5.5659999999999998</c:v>
                </c:pt>
                <c:pt idx="6589">
                  <c:v>5.6509999999999998</c:v>
                </c:pt>
                <c:pt idx="6590">
                  <c:v>6.218</c:v>
                </c:pt>
                <c:pt idx="6591">
                  <c:v>9.8940000000000001</c:v>
                </c:pt>
                <c:pt idx="6592">
                  <c:v>10.958</c:v>
                </c:pt>
                <c:pt idx="6593">
                  <c:v>13.39</c:v>
                </c:pt>
                <c:pt idx="6594">
                  <c:v>13.651</c:v>
                </c:pt>
                <c:pt idx="6595">
                  <c:v>11.854000000000001</c:v>
                </c:pt>
                <c:pt idx="6596">
                  <c:v>9.23</c:v>
                </c:pt>
                <c:pt idx="6597">
                  <c:v>9.1449999999999996</c:v>
                </c:pt>
                <c:pt idx="6598">
                  <c:v>7.6239999999999997</c:v>
                </c:pt>
                <c:pt idx="6599">
                  <c:v>8.5440000000000005</c:v>
                </c:pt>
                <c:pt idx="6600">
                  <c:v>8.0879999999999992</c:v>
                </c:pt>
                <c:pt idx="6601">
                  <c:v>7.7090000000000005</c:v>
                </c:pt>
                <c:pt idx="6602">
                  <c:v>7.4930000000000003</c:v>
                </c:pt>
                <c:pt idx="6603">
                  <c:v>7.7140000000000004</c:v>
                </c:pt>
                <c:pt idx="6604">
                  <c:v>8.11</c:v>
                </c:pt>
                <c:pt idx="6605">
                  <c:v>9.6530000000000005</c:v>
                </c:pt>
                <c:pt idx="6606">
                  <c:v>11.882999999999999</c:v>
                </c:pt>
                <c:pt idx="6607">
                  <c:v>13.569999999999999</c:v>
                </c:pt>
                <c:pt idx="6608">
                  <c:v>11.759</c:v>
                </c:pt>
                <c:pt idx="6609">
                  <c:v>10.321</c:v>
                </c:pt>
                <c:pt idx="6610">
                  <c:v>9.6519999999999992</c:v>
                </c:pt>
                <c:pt idx="6611">
                  <c:v>9.0449999999999999</c:v>
                </c:pt>
                <c:pt idx="6612">
                  <c:v>8.6440000000000001</c:v>
                </c:pt>
                <c:pt idx="6613">
                  <c:v>7.8870000000000005</c:v>
                </c:pt>
                <c:pt idx="6614">
                  <c:v>8.206999999999999</c:v>
                </c:pt>
                <c:pt idx="6615">
                  <c:v>8.1509999999999998</c:v>
                </c:pt>
                <c:pt idx="6616">
                  <c:v>10.01</c:v>
                </c:pt>
                <c:pt idx="6617">
                  <c:v>11.701000000000001</c:v>
                </c:pt>
                <c:pt idx="6618">
                  <c:v>13.007</c:v>
                </c:pt>
                <c:pt idx="6619">
                  <c:v>11.437000000000001</c:v>
                </c:pt>
                <c:pt idx="6620">
                  <c:v>9.6539999999999999</c:v>
                </c:pt>
                <c:pt idx="6621">
                  <c:v>9.33</c:v>
                </c:pt>
                <c:pt idx="6622">
                  <c:v>8.5</c:v>
                </c:pt>
                <c:pt idx="6623">
                  <c:v>6.7329999999999997</c:v>
                </c:pt>
                <c:pt idx="6624">
                  <c:v>6.5860000000000003</c:v>
                </c:pt>
                <c:pt idx="6625">
                  <c:v>6.5140000000000002</c:v>
                </c:pt>
                <c:pt idx="6626">
                  <c:v>6.418000000000001</c:v>
                </c:pt>
                <c:pt idx="6627">
                  <c:v>6.3979999999999997</c:v>
                </c:pt>
                <c:pt idx="6628">
                  <c:v>6.44</c:v>
                </c:pt>
                <c:pt idx="6629">
                  <c:v>6.543000000000001</c:v>
                </c:pt>
                <c:pt idx="6630">
                  <c:v>7.3370000000000006</c:v>
                </c:pt>
                <c:pt idx="6631">
                  <c:v>7.6669999999999998</c:v>
                </c:pt>
                <c:pt idx="6632">
                  <c:v>7.2900000000000009</c:v>
                </c:pt>
                <c:pt idx="6633">
                  <c:v>6.9279999999999999</c:v>
                </c:pt>
                <c:pt idx="6634">
                  <c:v>6.3040000000000003</c:v>
                </c:pt>
                <c:pt idx="6635">
                  <c:v>4.7090000000000005</c:v>
                </c:pt>
                <c:pt idx="6636">
                  <c:v>3.3979999999999997</c:v>
                </c:pt>
                <c:pt idx="6637">
                  <c:v>3.9140000000000001</c:v>
                </c:pt>
                <c:pt idx="6638">
                  <c:v>5.1360000000000001</c:v>
                </c:pt>
                <c:pt idx="6639">
                  <c:v>6.604000000000001</c:v>
                </c:pt>
                <c:pt idx="6640">
                  <c:v>8.9700000000000006</c:v>
                </c:pt>
                <c:pt idx="6641">
                  <c:v>11.007</c:v>
                </c:pt>
                <c:pt idx="6642">
                  <c:v>11.532</c:v>
                </c:pt>
                <c:pt idx="6643">
                  <c:v>10.827999999999999</c:v>
                </c:pt>
                <c:pt idx="6644">
                  <c:v>9.8760000000000012</c:v>
                </c:pt>
                <c:pt idx="6645">
                  <c:v>9.0960000000000001</c:v>
                </c:pt>
                <c:pt idx="6646">
                  <c:v>8.145999999999999</c:v>
                </c:pt>
                <c:pt idx="6647">
                  <c:v>7.3900000000000006</c:v>
                </c:pt>
                <c:pt idx="6648">
                  <c:v>7.2519999999999998</c:v>
                </c:pt>
                <c:pt idx="6649">
                  <c:v>7.2099999999999991</c:v>
                </c:pt>
                <c:pt idx="6650">
                  <c:v>7.2</c:v>
                </c:pt>
                <c:pt idx="6651">
                  <c:v>7.2329999999999997</c:v>
                </c:pt>
                <c:pt idx="6652">
                  <c:v>7.7099999999999991</c:v>
                </c:pt>
                <c:pt idx="6653">
                  <c:v>10.3</c:v>
                </c:pt>
                <c:pt idx="6654">
                  <c:v>12.654</c:v>
                </c:pt>
                <c:pt idx="6655">
                  <c:v>14.141999999999999</c:v>
                </c:pt>
                <c:pt idx="6656">
                  <c:v>11.626999999999999</c:v>
                </c:pt>
                <c:pt idx="6657">
                  <c:v>10.009</c:v>
                </c:pt>
                <c:pt idx="6658">
                  <c:v>8.5</c:v>
                </c:pt>
                <c:pt idx="6659">
                  <c:v>7.5069999999999997</c:v>
                </c:pt>
                <c:pt idx="6660">
                  <c:v>7.3489999999999993</c:v>
                </c:pt>
                <c:pt idx="6661">
                  <c:v>7.581999999999999</c:v>
                </c:pt>
                <c:pt idx="6662">
                  <c:v>7.9069999999999991</c:v>
                </c:pt>
                <c:pt idx="6663">
                  <c:v>8.98</c:v>
                </c:pt>
                <c:pt idx="6664">
                  <c:v>10.709999999999999</c:v>
                </c:pt>
                <c:pt idx="6665">
                  <c:v>13.196999999999999</c:v>
                </c:pt>
                <c:pt idx="6666">
                  <c:v>14.902000000000001</c:v>
                </c:pt>
                <c:pt idx="6667">
                  <c:v>12.370000000000001</c:v>
                </c:pt>
                <c:pt idx="6668">
                  <c:v>9.99</c:v>
                </c:pt>
                <c:pt idx="6669">
                  <c:v>9.99</c:v>
                </c:pt>
                <c:pt idx="6670">
                  <c:v>9</c:v>
                </c:pt>
                <c:pt idx="6671">
                  <c:v>9.3099999999999987</c:v>
                </c:pt>
                <c:pt idx="6672">
                  <c:v>8.4640000000000004</c:v>
                </c:pt>
                <c:pt idx="6673">
                  <c:v>8.14</c:v>
                </c:pt>
                <c:pt idx="6674">
                  <c:v>7.5540000000000003</c:v>
                </c:pt>
                <c:pt idx="6675">
                  <c:v>7.5720000000000001</c:v>
                </c:pt>
                <c:pt idx="6676">
                  <c:v>7.9819999999999993</c:v>
                </c:pt>
                <c:pt idx="6677">
                  <c:v>8.620000000000001</c:v>
                </c:pt>
                <c:pt idx="6678">
                  <c:v>10.040000000000001</c:v>
                </c:pt>
                <c:pt idx="6679">
                  <c:v>11.062000000000001</c:v>
                </c:pt>
                <c:pt idx="6680">
                  <c:v>10.3</c:v>
                </c:pt>
                <c:pt idx="6681">
                  <c:v>8.2420000000000009</c:v>
                </c:pt>
                <c:pt idx="6682">
                  <c:v>6.827</c:v>
                </c:pt>
                <c:pt idx="6683">
                  <c:v>5.1440000000000001</c:v>
                </c:pt>
                <c:pt idx="6684">
                  <c:v>3.8880000000000003</c:v>
                </c:pt>
                <c:pt idx="6685">
                  <c:v>4.3490000000000002</c:v>
                </c:pt>
                <c:pt idx="6686">
                  <c:v>6.2919999999999998</c:v>
                </c:pt>
                <c:pt idx="6687">
                  <c:v>7.7120000000000006</c:v>
                </c:pt>
                <c:pt idx="6688">
                  <c:v>9.9480000000000004</c:v>
                </c:pt>
                <c:pt idx="6689">
                  <c:v>14.865</c:v>
                </c:pt>
                <c:pt idx="6690">
                  <c:v>14.327999999999999</c:v>
                </c:pt>
                <c:pt idx="6691">
                  <c:v>10.723000000000001</c:v>
                </c:pt>
                <c:pt idx="6692">
                  <c:v>9.6560000000000006</c:v>
                </c:pt>
                <c:pt idx="6693">
                  <c:v>8.5229999999999997</c:v>
                </c:pt>
                <c:pt idx="6694">
                  <c:v>6.7</c:v>
                </c:pt>
                <c:pt idx="6695">
                  <c:v>6.7040000000000006</c:v>
                </c:pt>
                <c:pt idx="6696">
                  <c:v>6.3970000000000002</c:v>
                </c:pt>
                <c:pt idx="6697">
                  <c:v>6.2829999999999995</c:v>
                </c:pt>
                <c:pt idx="6698">
                  <c:v>6.335</c:v>
                </c:pt>
                <c:pt idx="6699">
                  <c:v>6.2709999999999999</c:v>
                </c:pt>
                <c:pt idx="6700">
                  <c:v>6.3970000000000002</c:v>
                </c:pt>
                <c:pt idx="6701">
                  <c:v>6.3409999999999993</c:v>
                </c:pt>
                <c:pt idx="6702">
                  <c:v>7.2810000000000006</c:v>
                </c:pt>
                <c:pt idx="6703">
                  <c:v>7.7200000000000006</c:v>
                </c:pt>
                <c:pt idx="6704">
                  <c:v>6.6059999999999999</c:v>
                </c:pt>
                <c:pt idx="6705">
                  <c:v>3.528</c:v>
                </c:pt>
                <c:pt idx="6706">
                  <c:v>1.6679999999999999</c:v>
                </c:pt>
                <c:pt idx="6707">
                  <c:v>0.52500000000000002</c:v>
                </c:pt>
                <c:pt idx="6708">
                  <c:v>-1E-3</c:v>
                </c:pt>
                <c:pt idx="6709">
                  <c:v>-1E-3</c:v>
                </c:pt>
                <c:pt idx="6710">
                  <c:v>0.02</c:v>
                </c:pt>
                <c:pt idx="6711">
                  <c:v>5.96</c:v>
                </c:pt>
                <c:pt idx="6712">
                  <c:v>9.0939999999999994</c:v>
                </c:pt>
                <c:pt idx="6713">
                  <c:v>10.629999999999999</c:v>
                </c:pt>
                <c:pt idx="6714">
                  <c:v>9.7219999999999995</c:v>
                </c:pt>
                <c:pt idx="6715">
                  <c:v>7.298</c:v>
                </c:pt>
                <c:pt idx="6716">
                  <c:v>5.9369999999999994</c:v>
                </c:pt>
                <c:pt idx="6717">
                  <c:v>5.8689999999999998</c:v>
                </c:pt>
                <c:pt idx="6718">
                  <c:v>5.1710000000000003</c:v>
                </c:pt>
                <c:pt idx="6719">
                  <c:v>3.4579999999999997</c:v>
                </c:pt>
                <c:pt idx="6720">
                  <c:v>3.5340000000000003</c:v>
                </c:pt>
                <c:pt idx="6721">
                  <c:v>3.3250000000000002</c:v>
                </c:pt>
                <c:pt idx="6722">
                  <c:v>3.0149999999999997</c:v>
                </c:pt>
                <c:pt idx="6723">
                  <c:v>3.6090000000000004</c:v>
                </c:pt>
                <c:pt idx="6724">
                  <c:v>4.673</c:v>
                </c:pt>
                <c:pt idx="6725">
                  <c:v>6.7590000000000003</c:v>
                </c:pt>
                <c:pt idx="6726">
                  <c:v>10.092000000000001</c:v>
                </c:pt>
                <c:pt idx="6727">
                  <c:v>10.831999999999999</c:v>
                </c:pt>
                <c:pt idx="6728">
                  <c:v>9.1859999999999999</c:v>
                </c:pt>
                <c:pt idx="6729">
                  <c:v>6.609</c:v>
                </c:pt>
                <c:pt idx="6730">
                  <c:v>6.0220000000000002</c:v>
                </c:pt>
                <c:pt idx="6731">
                  <c:v>5.4109999999999996</c:v>
                </c:pt>
                <c:pt idx="6732">
                  <c:v>4.3289999999999997</c:v>
                </c:pt>
                <c:pt idx="6733">
                  <c:v>5.5</c:v>
                </c:pt>
                <c:pt idx="6734">
                  <c:v>6.7010000000000005</c:v>
                </c:pt>
                <c:pt idx="6735">
                  <c:v>9.7900000000000009</c:v>
                </c:pt>
                <c:pt idx="6736">
                  <c:v>12.071</c:v>
                </c:pt>
                <c:pt idx="6737">
                  <c:v>23.765000000000001</c:v>
                </c:pt>
                <c:pt idx="6738">
                  <c:v>22.952999999999999</c:v>
                </c:pt>
                <c:pt idx="6739">
                  <c:v>12.198</c:v>
                </c:pt>
                <c:pt idx="6740">
                  <c:v>9.9930000000000003</c:v>
                </c:pt>
                <c:pt idx="6741">
                  <c:v>9.1909999999999989</c:v>
                </c:pt>
                <c:pt idx="6742">
                  <c:v>7.9120000000000008</c:v>
                </c:pt>
                <c:pt idx="6743">
                  <c:v>7.2329999999999997</c:v>
                </c:pt>
                <c:pt idx="6744">
                  <c:v>6.706999999999999</c:v>
                </c:pt>
                <c:pt idx="6745">
                  <c:v>6.399</c:v>
                </c:pt>
                <c:pt idx="6746">
                  <c:v>5.9670000000000005</c:v>
                </c:pt>
                <c:pt idx="6747">
                  <c:v>5.9689999999999994</c:v>
                </c:pt>
                <c:pt idx="6748">
                  <c:v>6.7430000000000003</c:v>
                </c:pt>
                <c:pt idx="6749">
                  <c:v>8.5969999999999995</c:v>
                </c:pt>
                <c:pt idx="6750">
                  <c:v>11.037000000000001</c:v>
                </c:pt>
                <c:pt idx="6751">
                  <c:v>10.623999999999999</c:v>
                </c:pt>
                <c:pt idx="6752">
                  <c:v>8.5</c:v>
                </c:pt>
                <c:pt idx="6753">
                  <c:v>8.0329999999999995</c:v>
                </c:pt>
                <c:pt idx="6754">
                  <c:v>8.0500000000000007</c:v>
                </c:pt>
                <c:pt idx="6755">
                  <c:v>7.6</c:v>
                </c:pt>
                <c:pt idx="6756">
                  <c:v>8.2530000000000001</c:v>
                </c:pt>
                <c:pt idx="6757">
                  <c:v>8.8390000000000004</c:v>
                </c:pt>
                <c:pt idx="6758">
                  <c:v>9.0079999999999991</c:v>
                </c:pt>
                <c:pt idx="6759">
                  <c:v>10.119</c:v>
                </c:pt>
                <c:pt idx="6760">
                  <c:v>12.634</c:v>
                </c:pt>
                <c:pt idx="6761">
                  <c:v>15.677000000000001</c:v>
                </c:pt>
                <c:pt idx="6762">
                  <c:v>16.82</c:v>
                </c:pt>
                <c:pt idx="6763">
                  <c:v>11.440999999999999</c:v>
                </c:pt>
                <c:pt idx="6764">
                  <c:v>9.49</c:v>
                </c:pt>
                <c:pt idx="6765">
                  <c:v>8.66</c:v>
                </c:pt>
                <c:pt idx="6766">
                  <c:v>6.76</c:v>
                </c:pt>
                <c:pt idx="6767">
                  <c:v>6.1929999999999996</c:v>
                </c:pt>
                <c:pt idx="6768">
                  <c:v>6</c:v>
                </c:pt>
                <c:pt idx="6769">
                  <c:v>5.7479999999999993</c:v>
                </c:pt>
                <c:pt idx="6770">
                  <c:v>5.4320000000000004</c:v>
                </c:pt>
                <c:pt idx="6771">
                  <c:v>5.7320000000000002</c:v>
                </c:pt>
                <c:pt idx="6772">
                  <c:v>6.3869999999999996</c:v>
                </c:pt>
                <c:pt idx="6773">
                  <c:v>8.67</c:v>
                </c:pt>
                <c:pt idx="6774">
                  <c:v>11.119</c:v>
                </c:pt>
                <c:pt idx="6775">
                  <c:v>11.098000000000001</c:v>
                </c:pt>
                <c:pt idx="6776">
                  <c:v>8.6999999999999993</c:v>
                </c:pt>
                <c:pt idx="6777">
                  <c:v>7.2090000000000005</c:v>
                </c:pt>
                <c:pt idx="6778">
                  <c:v>5.99</c:v>
                </c:pt>
                <c:pt idx="6779">
                  <c:v>5.9799999999999995</c:v>
                </c:pt>
                <c:pt idx="6780">
                  <c:v>5.9850000000000003</c:v>
                </c:pt>
                <c:pt idx="6781">
                  <c:v>6.7629999999999999</c:v>
                </c:pt>
                <c:pt idx="6782">
                  <c:v>7.7170000000000005</c:v>
                </c:pt>
                <c:pt idx="6783">
                  <c:v>9.5</c:v>
                </c:pt>
                <c:pt idx="6784">
                  <c:v>11.745000000000001</c:v>
                </c:pt>
                <c:pt idx="6785">
                  <c:v>12.253</c:v>
                </c:pt>
                <c:pt idx="6786">
                  <c:v>12.712</c:v>
                </c:pt>
                <c:pt idx="6787">
                  <c:v>11.105</c:v>
                </c:pt>
                <c:pt idx="6788">
                  <c:v>9.58</c:v>
                </c:pt>
                <c:pt idx="6789">
                  <c:v>9.51</c:v>
                </c:pt>
                <c:pt idx="6790">
                  <c:v>8.234</c:v>
                </c:pt>
                <c:pt idx="6791">
                  <c:v>6.1189999999999998</c:v>
                </c:pt>
                <c:pt idx="6792">
                  <c:v>4.6890000000000001</c:v>
                </c:pt>
                <c:pt idx="6793">
                  <c:v>3.7749999999999999</c:v>
                </c:pt>
                <c:pt idx="6794">
                  <c:v>3.2</c:v>
                </c:pt>
                <c:pt idx="6795">
                  <c:v>2.964</c:v>
                </c:pt>
                <c:pt idx="6796">
                  <c:v>3.96</c:v>
                </c:pt>
                <c:pt idx="6797">
                  <c:v>6.21</c:v>
                </c:pt>
                <c:pt idx="6798">
                  <c:v>8.49</c:v>
                </c:pt>
                <c:pt idx="6799">
                  <c:v>8.0459999999999994</c:v>
                </c:pt>
                <c:pt idx="6800">
                  <c:v>6.75</c:v>
                </c:pt>
                <c:pt idx="6801">
                  <c:v>5.2009999999999996</c:v>
                </c:pt>
                <c:pt idx="6802">
                  <c:v>3.8929999999999998</c:v>
                </c:pt>
                <c:pt idx="6803">
                  <c:v>2.1890000000000001</c:v>
                </c:pt>
                <c:pt idx="6804">
                  <c:v>1.5939999999999999</c:v>
                </c:pt>
                <c:pt idx="6805">
                  <c:v>2.0010000000000003</c:v>
                </c:pt>
                <c:pt idx="6806">
                  <c:v>3.8369999999999997</c:v>
                </c:pt>
                <c:pt idx="6807">
                  <c:v>5.85</c:v>
                </c:pt>
                <c:pt idx="6808">
                  <c:v>8.581999999999999</c:v>
                </c:pt>
                <c:pt idx="6809">
                  <c:v>9.6069999999999993</c:v>
                </c:pt>
                <c:pt idx="6810">
                  <c:v>11.931999999999999</c:v>
                </c:pt>
                <c:pt idx="6811">
                  <c:v>10.119</c:v>
                </c:pt>
                <c:pt idx="6812">
                  <c:v>9.0410000000000004</c:v>
                </c:pt>
                <c:pt idx="6813">
                  <c:v>8.3159999999999989</c:v>
                </c:pt>
                <c:pt idx="6814">
                  <c:v>6.9930000000000003</c:v>
                </c:pt>
                <c:pt idx="6815">
                  <c:v>7.9959999999999996</c:v>
                </c:pt>
                <c:pt idx="6816">
                  <c:v>7.3209999999999997</c:v>
                </c:pt>
                <c:pt idx="6817">
                  <c:v>7.17</c:v>
                </c:pt>
                <c:pt idx="6818">
                  <c:v>6.7909999999999995</c:v>
                </c:pt>
                <c:pt idx="6819">
                  <c:v>6.9560000000000004</c:v>
                </c:pt>
                <c:pt idx="6820">
                  <c:v>7.3390000000000004</c:v>
                </c:pt>
                <c:pt idx="6821">
                  <c:v>9.995000000000001</c:v>
                </c:pt>
                <c:pt idx="6822">
                  <c:v>14.041</c:v>
                </c:pt>
                <c:pt idx="6823">
                  <c:v>15.549000000000001</c:v>
                </c:pt>
                <c:pt idx="6824">
                  <c:v>11.001000000000001</c:v>
                </c:pt>
                <c:pt idx="6825">
                  <c:v>9</c:v>
                </c:pt>
                <c:pt idx="6826">
                  <c:v>7.2349999999999994</c:v>
                </c:pt>
                <c:pt idx="6827">
                  <c:v>6.165</c:v>
                </c:pt>
                <c:pt idx="6828">
                  <c:v>5.7170000000000005</c:v>
                </c:pt>
                <c:pt idx="6829">
                  <c:v>5.9560000000000004</c:v>
                </c:pt>
                <c:pt idx="6830">
                  <c:v>6.6959999999999997</c:v>
                </c:pt>
                <c:pt idx="6831">
                  <c:v>7.3349999999999991</c:v>
                </c:pt>
                <c:pt idx="6832">
                  <c:v>11.278</c:v>
                </c:pt>
                <c:pt idx="6833">
                  <c:v>16.786000000000001</c:v>
                </c:pt>
                <c:pt idx="6834">
                  <c:v>17.423999999999999</c:v>
                </c:pt>
                <c:pt idx="6835">
                  <c:v>12.131</c:v>
                </c:pt>
                <c:pt idx="6836">
                  <c:v>9.979000000000001</c:v>
                </c:pt>
                <c:pt idx="6837">
                  <c:v>9.8409999999999993</c:v>
                </c:pt>
                <c:pt idx="6838">
                  <c:v>8.7829999999999995</c:v>
                </c:pt>
                <c:pt idx="6839">
                  <c:v>9.0090000000000003</c:v>
                </c:pt>
                <c:pt idx="6840">
                  <c:v>7.9420000000000002</c:v>
                </c:pt>
                <c:pt idx="6841">
                  <c:v>7.5579999999999998</c:v>
                </c:pt>
                <c:pt idx="6842">
                  <c:v>7.5019999999999998</c:v>
                </c:pt>
                <c:pt idx="6843">
                  <c:v>7.1920000000000002</c:v>
                </c:pt>
                <c:pt idx="6844">
                  <c:v>6.7900000000000009</c:v>
                </c:pt>
                <c:pt idx="6845">
                  <c:v>7.1629999999999994</c:v>
                </c:pt>
                <c:pt idx="6846">
                  <c:v>6.8730000000000002</c:v>
                </c:pt>
                <c:pt idx="6847">
                  <c:v>6.891</c:v>
                </c:pt>
                <c:pt idx="6848">
                  <c:v>4.1820000000000004</c:v>
                </c:pt>
                <c:pt idx="6849">
                  <c:v>3.53</c:v>
                </c:pt>
                <c:pt idx="6850">
                  <c:v>3.4279999999999999</c:v>
                </c:pt>
                <c:pt idx="6851">
                  <c:v>2.4790000000000001</c:v>
                </c:pt>
                <c:pt idx="6852">
                  <c:v>1.4330000000000001</c:v>
                </c:pt>
                <c:pt idx="6853">
                  <c:v>2.3340000000000001</c:v>
                </c:pt>
                <c:pt idx="6854">
                  <c:v>4.6349999999999998</c:v>
                </c:pt>
                <c:pt idx="6855">
                  <c:v>6.3179999999999996</c:v>
                </c:pt>
                <c:pt idx="6856">
                  <c:v>7.6019999999999994</c:v>
                </c:pt>
                <c:pt idx="6857">
                  <c:v>8.0860000000000003</c:v>
                </c:pt>
                <c:pt idx="6858">
                  <c:v>7.7620000000000005</c:v>
                </c:pt>
                <c:pt idx="6859">
                  <c:v>6.0190000000000001</c:v>
                </c:pt>
                <c:pt idx="6860">
                  <c:v>4.5419999999999998</c:v>
                </c:pt>
                <c:pt idx="6861">
                  <c:v>3.4869999999999997</c:v>
                </c:pt>
                <c:pt idx="6862">
                  <c:v>2.5369999999999999</c:v>
                </c:pt>
                <c:pt idx="6863">
                  <c:v>0</c:v>
                </c:pt>
                <c:pt idx="6864">
                  <c:v>-1E-3</c:v>
                </c:pt>
                <c:pt idx="6865">
                  <c:v>-7.000000000000001E-3</c:v>
                </c:pt>
                <c:pt idx="6866">
                  <c:v>-3.6999999999999998E-2</c:v>
                </c:pt>
                <c:pt idx="6867">
                  <c:v>-5.1000000000000004E-2</c:v>
                </c:pt>
                <c:pt idx="6868">
                  <c:v>-8.9999999999999993E-3</c:v>
                </c:pt>
                <c:pt idx="6869">
                  <c:v>-0.03</c:v>
                </c:pt>
                <c:pt idx="6870">
                  <c:v>-4.0000000000000001E-3</c:v>
                </c:pt>
                <c:pt idx="6871">
                  <c:v>-7.000000000000001E-3</c:v>
                </c:pt>
                <c:pt idx="6872">
                  <c:v>-8.5999999999999993E-2</c:v>
                </c:pt>
                <c:pt idx="6873">
                  <c:v>-6.4000000000000001E-2</c:v>
                </c:pt>
                <c:pt idx="6874">
                  <c:v>-0.19700000000000001</c:v>
                </c:pt>
                <c:pt idx="6875">
                  <c:v>-0.749</c:v>
                </c:pt>
                <c:pt idx="6876">
                  <c:v>-1.516</c:v>
                </c:pt>
                <c:pt idx="6877">
                  <c:v>-1.569</c:v>
                </c:pt>
                <c:pt idx="6878">
                  <c:v>-0.501</c:v>
                </c:pt>
                <c:pt idx="6879">
                  <c:v>-0.19900000000000001</c:v>
                </c:pt>
                <c:pt idx="6880">
                  <c:v>6.0000000000000001E-3</c:v>
                </c:pt>
                <c:pt idx="6881">
                  <c:v>3.5829999999999997</c:v>
                </c:pt>
                <c:pt idx="6882">
                  <c:v>5.4049999999999994</c:v>
                </c:pt>
                <c:pt idx="6883">
                  <c:v>3.9509999999999996</c:v>
                </c:pt>
                <c:pt idx="6884">
                  <c:v>3.843</c:v>
                </c:pt>
                <c:pt idx="6885">
                  <c:v>4.0129999999999999</c:v>
                </c:pt>
                <c:pt idx="6886">
                  <c:v>3.681</c:v>
                </c:pt>
                <c:pt idx="6887">
                  <c:v>3.71</c:v>
                </c:pt>
                <c:pt idx="6888">
                  <c:v>3.5249999999999999</c:v>
                </c:pt>
                <c:pt idx="6889">
                  <c:v>3.5170000000000003</c:v>
                </c:pt>
                <c:pt idx="6890">
                  <c:v>3.4359999999999999</c:v>
                </c:pt>
                <c:pt idx="6891">
                  <c:v>3.9329999999999998</c:v>
                </c:pt>
                <c:pt idx="6892">
                  <c:v>6.2200000000000006</c:v>
                </c:pt>
                <c:pt idx="6893">
                  <c:v>9.8739999999999988</c:v>
                </c:pt>
                <c:pt idx="6894">
                  <c:v>13.288999999999998</c:v>
                </c:pt>
                <c:pt idx="6895">
                  <c:v>15.361000000000001</c:v>
                </c:pt>
                <c:pt idx="6896">
                  <c:v>11.794</c:v>
                </c:pt>
                <c:pt idx="6897">
                  <c:v>10.095000000000001</c:v>
                </c:pt>
                <c:pt idx="6898">
                  <c:v>9.5530000000000008</c:v>
                </c:pt>
                <c:pt idx="6899">
                  <c:v>8.8360000000000003</c:v>
                </c:pt>
                <c:pt idx="6900">
                  <c:v>8.26</c:v>
                </c:pt>
                <c:pt idx="6901">
                  <c:v>7.4159999999999995</c:v>
                </c:pt>
                <c:pt idx="6902">
                  <c:v>8.7080000000000002</c:v>
                </c:pt>
                <c:pt idx="6903">
                  <c:v>10.579000000000001</c:v>
                </c:pt>
                <c:pt idx="6904">
                  <c:v>15.959</c:v>
                </c:pt>
                <c:pt idx="6905">
                  <c:v>25.71</c:v>
                </c:pt>
                <c:pt idx="6906">
                  <c:v>26.974</c:v>
                </c:pt>
                <c:pt idx="6907">
                  <c:v>15.8</c:v>
                </c:pt>
                <c:pt idx="6908">
                  <c:v>11.412000000000001</c:v>
                </c:pt>
                <c:pt idx="6909">
                  <c:v>9.9659999999999993</c:v>
                </c:pt>
                <c:pt idx="6910">
                  <c:v>9.48</c:v>
                </c:pt>
                <c:pt idx="6911">
                  <c:v>9.1230000000000011</c:v>
                </c:pt>
                <c:pt idx="6912">
                  <c:v>8.6489999999999991</c:v>
                </c:pt>
                <c:pt idx="6913">
                  <c:v>8.8349999999999991</c:v>
                </c:pt>
                <c:pt idx="6914">
                  <c:v>8.4039999999999999</c:v>
                </c:pt>
                <c:pt idx="6915">
                  <c:v>8.08</c:v>
                </c:pt>
                <c:pt idx="6916">
                  <c:v>8.9510000000000005</c:v>
                </c:pt>
                <c:pt idx="6917">
                  <c:v>11.452999999999999</c:v>
                </c:pt>
                <c:pt idx="6918">
                  <c:v>18.538999999999998</c:v>
                </c:pt>
                <c:pt idx="6919">
                  <c:v>17.661000000000001</c:v>
                </c:pt>
                <c:pt idx="6920">
                  <c:v>11.054</c:v>
                </c:pt>
                <c:pt idx="6921">
                  <c:v>9.2750000000000004</c:v>
                </c:pt>
                <c:pt idx="6922">
                  <c:v>8.3049999999999997</c:v>
                </c:pt>
                <c:pt idx="6923">
                  <c:v>7.8469999999999995</c:v>
                </c:pt>
                <c:pt idx="6924">
                  <c:v>7.1749999999999998</c:v>
                </c:pt>
                <c:pt idx="6925">
                  <c:v>7.5900000000000007</c:v>
                </c:pt>
                <c:pt idx="6926">
                  <c:v>8.3360000000000003</c:v>
                </c:pt>
                <c:pt idx="6927">
                  <c:v>8.9030000000000005</c:v>
                </c:pt>
                <c:pt idx="6928">
                  <c:v>12.068999999999999</c:v>
                </c:pt>
                <c:pt idx="6929">
                  <c:v>13.678999999999998</c:v>
                </c:pt>
                <c:pt idx="6930">
                  <c:v>9.7309999999999999</c:v>
                </c:pt>
                <c:pt idx="6931">
                  <c:v>7.6260000000000003</c:v>
                </c:pt>
                <c:pt idx="6932">
                  <c:v>6.6650000000000009</c:v>
                </c:pt>
                <c:pt idx="6933">
                  <c:v>5.9649999999999999</c:v>
                </c:pt>
                <c:pt idx="6934">
                  <c:v>4.0780000000000003</c:v>
                </c:pt>
                <c:pt idx="6935">
                  <c:v>2.335</c:v>
                </c:pt>
                <c:pt idx="6936">
                  <c:v>1.28</c:v>
                </c:pt>
                <c:pt idx="6937">
                  <c:v>0.53</c:v>
                </c:pt>
                <c:pt idx="6938">
                  <c:v>0.36099999999999999</c:v>
                </c:pt>
                <c:pt idx="6939">
                  <c:v>0.316</c:v>
                </c:pt>
                <c:pt idx="6940">
                  <c:v>0.82</c:v>
                </c:pt>
                <c:pt idx="6941">
                  <c:v>4.2590000000000003</c:v>
                </c:pt>
                <c:pt idx="6942">
                  <c:v>6.729000000000001</c:v>
                </c:pt>
                <c:pt idx="6943">
                  <c:v>6.6519999999999992</c:v>
                </c:pt>
                <c:pt idx="6944">
                  <c:v>5.4290000000000003</c:v>
                </c:pt>
                <c:pt idx="6945">
                  <c:v>2.6680000000000001</c:v>
                </c:pt>
                <c:pt idx="6946">
                  <c:v>1.4159999999999999</c:v>
                </c:pt>
                <c:pt idx="6947">
                  <c:v>0.40899999999999997</c:v>
                </c:pt>
                <c:pt idx="6948">
                  <c:v>0.20400000000000001</c:v>
                </c:pt>
                <c:pt idx="6949">
                  <c:v>0.4</c:v>
                </c:pt>
                <c:pt idx="6950">
                  <c:v>1.4179999999999999</c:v>
                </c:pt>
                <c:pt idx="6951">
                  <c:v>5.492</c:v>
                </c:pt>
                <c:pt idx="6952">
                  <c:v>7.2949999999999999</c:v>
                </c:pt>
                <c:pt idx="6953">
                  <c:v>8.4469999999999992</c:v>
                </c:pt>
                <c:pt idx="6954">
                  <c:v>8.8379999999999992</c:v>
                </c:pt>
                <c:pt idx="6955">
                  <c:v>6.5310000000000006</c:v>
                </c:pt>
                <c:pt idx="6956">
                  <c:v>6.1859999999999999</c:v>
                </c:pt>
                <c:pt idx="6957">
                  <c:v>3.5140000000000002</c:v>
                </c:pt>
                <c:pt idx="6958">
                  <c:v>2.6539999999999999</c:v>
                </c:pt>
                <c:pt idx="6959">
                  <c:v>1.704</c:v>
                </c:pt>
                <c:pt idx="6960">
                  <c:v>1.2150000000000001</c:v>
                </c:pt>
                <c:pt idx="6961">
                  <c:v>1.048</c:v>
                </c:pt>
                <c:pt idx="6962">
                  <c:v>0.56100000000000005</c:v>
                </c:pt>
                <c:pt idx="6963">
                  <c:v>1.0009999999999999</c:v>
                </c:pt>
                <c:pt idx="6964">
                  <c:v>2.98</c:v>
                </c:pt>
                <c:pt idx="6965">
                  <c:v>7.0510000000000002</c:v>
                </c:pt>
                <c:pt idx="6966">
                  <c:v>10.138999999999999</c:v>
                </c:pt>
                <c:pt idx="6967">
                  <c:v>9.2530000000000001</c:v>
                </c:pt>
                <c:pt idx="6968">
                  <c:v>7.3760000000000003</c:v>
                </c:pt>
                <c:pt idx="6969">
                  <c:v>6.2219999999999995</c:v>
                </c:pt>
                <c:pt idx="6970">
                  <c:v>5.202</c:v>
                </c:pt>
                <c:pt idx="6971">
                  <c:v>4.6539999999999999</c:v>
                </c:pt>
                <c:pt idx="6972">
                  <c:v>4.7520000000000007</c:v>
                </c:pt>
                <c:pt idx="6973">
                  <c:v>6.0039999999999996</c:v>
                </c:pt>
                <c:pt idx="6974">
                  <c:v>6.3549999999999995</c:v>
                </c:pt>
                <c:pt idx="6975">
                  <c:v>9.2680000000000007</c:v>
                </c:pt>
                <c:pt idx="6976">
                  <c:v>12.36</c:v>
                </c:pt>
                <c:pt idx="6977">
                  <c:v>18.621000000000002</c:v>
                </c:pt>
                <c:pt idx="6978">
                  <c:v>17.219000000000001</c:v>
                </c:pt>
                <c:pt idx="6979">
                  <c:v>11.75</c:v>
                </c:pt>
                <c:pt idx="6980">
                  <c:v>9.7810000000000006</c:v>
                </c:pt>
                <c:pt idx="6981">
                  <c:v>8.9049999999999994</c:v>
                </c:pt>
                <c:pt idx="6982">
                  <c:v>8.2210000000000001</c:v>
                </c:pt>
                <c:pt idx="6983">
                  <c:v>8.0950000000000006</c:v>
                </c:pt>
                <c:pt idx="6984">
                  <c:v>8.1159999999999997</c:v>
                </c:pt>
                <c:pt idx="6985">
                  <c:v>8.2729999999999997</c:v>
                </c:pt>
                <c:pt idx="6986">
                  <c:v>7.8840000000000003</c:v>
                </c:pt>
                <c:pt idx="6987">
                  <c:v>8.1189999999999998</c:v>
                </c:pt>
                <c:pt idx="6988">
                  <c:v>8.4340000000000011</c:v>
                </c:pt>
                <c:pt idx="6989">
                  <c:v>9.8889999999999993</c:v>
                </c:pt>
                <c:pt idx="6990">
                  <c:v>14.978</c:v>
                </c:pt>
                <c:pt idx="6991">
                  <c:v>15.624000000000001</c:v>
                </c:pt>
                <c:pt idx="6992">
                  <c:v>11.1</c:v>
                </c:pt>
                <c:pt idx="6993">
                  <c:v>9.5760000000000005</c:v>
                </c:pt>
                <c:pt idx="6994">
                  <c:v>8.5299999999999994</c:v>
                </c:pt>
                <c:pt idx="6995">
                  <c:v>8.2959999999999994</c:v>
                </c:pt>
                <c:pt idx="6996">
                  <c:v>8.02</c:v>
                </c:pt>
                <c:pt idx="6997">
                  <c:v>8.1189999999999998</c:v>
                </c:pt>
                <c:pt idx="6998">
                  <c:v>8.4340000000000011</c:v>
                </c:pt>
                <c:pt idx="6999">
                  <c:v>10.329000000000001</c:v>
                </c:pt>
                <c:pt idx="7000">
                  <c:v>13.366999999999999</c:v>
                </c:pt>
                <c:pt idx="7001">
                  <c:v>18.128</c:v>
                </c:pt>
                <c:pt idx="7002">
                  <c:v>14.258000000000001</c:v>
                </c:pt>
                <c:pt idx="7003">
                  <c:v>10.324999999999999</c:v>
                </c:pt>
                <c:pt idx="7004">
                  <c:v>9.6829999999999998</c:v>
                </c:pt>
                <c:pt idx="7005">
                  <c:v>9.3260000000000005</c:v>
                </c:pt>
                <c:pt idx="7006">
                  <c:v>8.5540000000000003</c:v>
                </c:pt>
                <c:pt idx="7007">
                  <c:v>8.7059999999999995</c:v>
                </c:pt>
                <c:pt idx="7008">
                  <c:v>8.3030000000000008</c:v>
                </c:pt>
                <c:pt idx="7009">
                  <c:v>7.9909999999999997</c:v>
                </c:pt>
                <c:pt idx="7010">
                  <c:v>7.5260000000000007</c:v>
                </c:pt>
                <c:pt idx="7011">
                  <c:v>7.5870000000000006</c:v>
                </c:pt>
                <c:pt idx="7012">
                  <c:v>7.6769999999999996</c:v>
                </c:pt>
                <c:pt idx="7013">
                  <c:v>8</c:v>
                </c:pt>
                <c:pt idx="7014">
                  <c:v>9.1909999999999989</c:v>
                </c:pt>
                <c:pt idx="7015">
                  <c:v>8.9659999999999993</c:v>
                </c:pt>
                <c:pt idx="7016">
                  <c:v>8.4599999999999991</c:v>
                </c:pt>
                <c:pt idx="7017">
                  <c:v>7.88</c:v>
                </c:pt>
                <c:pt idx="7018">
                  <c:v>7.331999999999999</c:v>
                </c:pt>
                <c:pt idx="7019">
                  <c:v>6.6159999999999997</c:v>
                </c:pt>
                <c:pt idx="7020">
                  <c:v>6.0960000000000001</c:v>
                </c:pt>
                <c:pt idx="7021">
                  <c:v>6.3890000000000002</c:v>
                </c:pt>
                <c:pt idx="7022">
                  <c:v>7.9069999999999991</c:v>
                </c:pt>
                <c:pt idx="7023">
                  <c:v>9.8090000000000011</c:v>
                </c:pt>
                <c:pt idx="7024">
                  <c:v>10.914</c:v>
                </c:pt>
                <c:pt idx="7025">
                  <c:v>13.581999999999999</c:v>
                </c:pt>
                <c:pt idx="7026">
                  <c:v>11.893000000000001</c:v>
                </c:pt>
                <c:pt idx="7027">
                  <c:v>9.68</c:v>
                </c:pt>
                <c:pt idx="7028">
                  <c:v>9.0180000000000007</c:v>
                </c:pt>
                <c:pt idx="7029">
                  <c:v>8.3829999999999991</c:v>
                </c:pt>
                <c:pt idx="7030">
                  <c:v>7.3330000000000002</c:v>
                </c:pt>
                <c:pt idx="7031">
                  <c:v>5.5570000000000004</c:v>
                </c:pt>
                <c:pt idx="7032">
                  <c:v>5.49</c:v>
                </c:pt>
                <c:pt idx="7033">
                  <c:v>5.7229999999999999</c:v>
                </c:pt>
                <c:pt idx="7034">
                  <c:v>5.9820000000000002</c:v>
                </c:pt>
                <c:pt idx="7035">
                  <c:v>6.2919999999999998</c:v>
                </c:pt>
                <c:pt idx="7036">
                  <c:v>6.6909999999999998</c:v>
                </c:pt>
                <c:pt idx="7037">
                  <c:v>6.423</c:v>
                </c:pt>
                <c:pt idx="7038">
                  <c:v>7.5319999999999991</c:v>
                </c:pt>
                <c:pt idx="7039">
                  <c:v>6.8280000000000003</c:v>
                </c:pt>
                <c:pt idx="7040">
                  <c:v>4.5750000000000002</c:v>
                </c:pt>
                <c:pt idx="7041">
                  <c:v>0.63700000000000001</c:v>
                </c:pt>
                <c:pt idx="7042">
                  <c:v>8.0000000000000002E-3</c:v>
                </c:pt>
                <c:pt idx="7043">
                  <c:v>0</c:v>
                </c:pt>
                <c:pt idx="7044">
                  <c:v>-9.8000000000000004E-2</c:v>
                </c:pt>
                <c:pt idx="7045">
                  <c:v>-0.20099999999999998</c:v>
                </c:pt>
                <c:pt idx="7046">
                  <c:v>0</c:v>
                </c:pt>
                <c:pt idx="7047">
                  <c:v>0.51</c:v>
                </c:pt>
                <c:pt idx="7048">
                  <c:v>5.7690000000000001</c:v>
                </c:pt>
                <c:pt idx="7049">
                  <c:v>6.07</c:v>
                </c:pt>
                <c:pt idx="7050">
                  <c:v>4.508</c:v>
                </c:pt>
                <c:pt idx="7051">
                  <c:v>3.4350000000000001</c:v>
                </c:pt>
                <c:pt idx="7052">
                  <c:v>2.0949999999999998</c:v>
                </c:pt>
                <c:pt idx="7053">
                  <c:v>1.2150000000000001</c:v>
                </c:pt>
                <c:pt idx="7054">
                  <c:v>0.193</c:v>
                </c:pt>
                <c:pt idx="7055">
                  <c:v>-0.01</c:v>
                </c:pt>
                <c:pt idx="7056">
                  <c:v>-0.01</c:v>
                </c:pt>
                <c:pt idx="7057">
                  <c:v>-1.4000000000000002E-2</c:v>
                </c:pt>
                <c:pt idx="7058">
                  <c:v>-8.0000000000000002E-3</c:v>
                </c:pt>
                <c:pt idx="7059">
                  <c:v>-4.0000000000000001E-3</c:v>
                </c:pt>
                <c:pt idx="7060">
                  <c:v>0.34500000000000003</c:v>
                </c:pt>
                <c:pt idx="7061">
                  <c:v>6.6599999999999993</c:v>
                </c:pt>
                <c:pt idx="7062">
                  <c:v>10.498000000000001</c:v>
                </c:pt>
                <c:pt idx="7063">
                  <c:v>12.039</c:v>
                </c:pt>
                <c:pt idx="7064">
                  <c:v>10.39</c:v>
                </c:pt>
                <c:pt idx="7065">
                  <c:v>8.9039999999999999</c:v>
                </c:pt>
                <c:pt idx="7066">
                  <c:v>8.1029999999999998</c:v>
                </c:pt>
                <c:pt idx="7067">
                  <c:v>7.319</c:v>
                </c:pt>
                <c:pt idx="7068">
                  <c:v>8.1359999999999992</c:v>
                </c:pt>
                <c:pt idx="7069">
                  <c:v>8.1650000000000009</c:v>
                </c:pt>
                <c:pt idx="7070">
                  <c:v>9.859</c:v>
                </c:pt>
                <c:pt idx="7071">
                  <c:v>12.35</c:v>
                </c:pt>
                <c:pt idx="7072">
                  <c:v>13.154</c:v>
                </c:pt>
                <c:pt idx="7073">
                  <c:v>22.211000000000002</c:v>
                </c:pt>
                <c:pt idx="7074">
                  <c:v>19.087</c:v>
                </c:pt>
                <c:pt idx="7075">
                  <c:v>12.843999999999999</c:v>
                </c:pt>
                <c:pt idx="7076">
                  <c:v>10.199999999999999</c:v>
                </c:pt>
                <c:pt idx="7077">
                  <c:v>9.7799999999999994</c:v>
                </c:pt>
                <c:pt idx="7078">
                  <c:v>9.2970000000000006</c:v>
                </c:pt>
                <c:pt idx="7079">
                  <c:v>9.1669999999999998</c:v>
                </c:pt>
                <c:pt idx="7080">
                  <c:v>8.9430000000000014</c:v>
                </c:pt>
                <c:pt idx="7081">
                  <c:v>8.5689999999999991</c:v>
                </c:pt>
                <c:pt idx="7082">
                  <c:v>8.36</c:v>
                </c:pt>
                <c:pt idx="7083">
                  <c:v>8.3189999999999991</c:v>
                </c:pt>
                <c:pt idx="7084">
                  <c:v>8.995000000000001</c:v>
                </c:pt>
                <c:pt idx="7085">
                  <c:v>10.058</c:v>
                </c:pt>
                <c:pt idx="7086">
                  <c:v>15.609</c:v>
                </c:pt>
                <c:pt idx="7087">
                  <c:v>17.012</c:v>
                </c:pt>
                <c:pt idx="7088">
                  <c:v>11.343999999999999</c:v>
                </c:pt>
                <c:pt idx="7089">
                  <c:v>9.9220000000000006</c:v>
                </c:pt>
                <c:pt idx="7090">
                  <c:v>8.7750000000000004</c:v>
                </c:pt>
                <c:pt idx="7091">
                  <c:v>7.7110000000000003</c:v>
                </c:pt>
                <c:pt idx="7092">
                  <c:v>7.0879999999999992</c:v>
                </c:pt>
                <c:pt idx="7093">
                  <c:v>7.3529999999999998</c:v>
                </c:pt>
                <c:pt idx="7094">
                  <c:v>8.7080000000000002</c:v>
                </c:pt>
                <c:pt idx="7095">
                  <c:v>10.745000000000001</c:v>
                </c:pt>
                <c:pt idx="7096">
                  <c:v>10.997</c:v>
                </c:pt>
                <c:pt idx="7097">
                  <c:v>14.036000000000001</c:v>
                </c:pt>
                <c:pt idx="7098">
                  <c:v>15.775</c:v>
                </c:pt>
                <c:pt idx="7099">
                  <c:v>11.401999999999999</c:v>
                </c:pt>
                <c:pt idx="7100">
                  <c:v>9.9400000000000013</c:v>
                </c:pt>
                <c:pt idx="7101">
                  <c:v>9.5719999999999992</c:v>
                </c:pt>
                <c:pt idx="7102">
                  <c:v>8.8349999999999991</c:v>
                </c:pt>
                <c:pt idx="7103">
                  <c:v>8.0830000000000002</c:v>
                </c:pt>
                <c:pt idx="7104">
                  <c:v>8.3230000000000004</c:v>
                </c:pt>
                <c:pt idx="7105">
                  <c:v>8.202</c:v>
                </c:pt>
                <c:pt idx="7106">
                  <c:v>8.3209999999999997</c:v>
                </c:pt>
                <c:pt idx="7107">
                  <c:v>8.58</c:v>
                </c:pt>
                <c:pt idx="7108">
                  <c:v>9.36</c:v>
                </c:pt>
                <c:pt idx="7109">
                  <c:v>10.818999999999999</c:v>
                </c:pt>
                <c:pt idx="7110">
                  <c:v>17.279</c:v>
                </c:pt>
                <c:pt idx="7111">
                  <c:v>18.312999999999999</c:v>
                </c:pt>
                <c:pt idx="7112">
                  <c:v>12.841999999999999</c:v>
                </c:pt>
                <c:pt idx="7113">
                  <c:v>10.41</c:v>
                </c:pt>
                <c:pt idx="7114">
                  <c:v>9.3859999999999992</c:v>
                </c:pt>
                <c:pt idx="7115">
                  <c:v>8.5620000000000012</c:v>
                </c:pt>
                <c:pt idx="7116">
                  <c:v>8.0990000000000002</c:v>
                </c:pt>
                <c:pt idx="7117">
                  <c:v>7.8970000000000002</c:v>
                </c:pt>
                <c:pt idx="7118">
                  <c:v>8.8620000000000001</c:v>
                </c:pt>
                <c:pt idx="7119">
                  <c:v>10.190000000000001</c:v>
                </c:pt>
                <c:pt idx="7120">
                  <c:v>14.715</c:v>
                </c:pt>
                <c:pt idx="7121">
                  <c:v>21.818000000000001</c:v>
                </c:pt>
                <c:pt idx="7122">
                  <c:v>17.759999999999998</c:v>
                </c:pt>
                <c:pt idx="7123">
                  <c:v>11.170999999999999</c:v>
                </c:pt>
                <c:pt idx="7124">
                  <c:v>10.151</c:v>
                </c:pt>
                <c:pt idx="7125">
                  <c:v>10.333</c:v>
                </c:pt>
                <c:pt idx="7126">
                  <c:v>9.3159999999999989</c:v>
                </c:pt>
                <c:pt idx="7127">
                  <c:v>9.1750000000000007</c:v>
                </c:pt>
                <c:pt idx="7128">
                  <c:v>8.2420000000000009</c:v>
                </c:pt>
                <c:pt idx="7129">
                  <c:v>8.0670000000000002</c:v>
                </c:pt>
                <c:pt idx="7130">
                  <c:v>8.0289999999999999</c:v>
                </c:pt>
                <c:pt idx="7131">
                  <c:v>8.0449999999999999</c:v>
                </c:pt>
                <c:pt idx="7132">
                  <c:v>8.3819999999999997</c:v>
                </c:pt>
                <c:pt idx="7133">
                  <c:v>10.321</c:v>
                </c:pt>
                <c:pt idx="7134">
                  <c:v>14.828999999999999</c:v>
                </c:pt>
                <c:pt idx="7135">
                  <c:v>17.127000000000002</c:v>
                </c:pt>
                <c:pt idx="7136">
                  <c:v>11.73</c:v>
                </c:pt>
                <c:pt idx="7137">
                  <c:v>10.190999999999999</c:v>
                </c:pt>
                <c:pt idx="7138">
                  <c:v>9.3049999999999997</c:v>
                </c:pt>
                <c:pt idx="7139">
                  <c:v>8.395999999999999</c:v>
                </c:pt>
                <c:pt idx="7140">
                  <c:v>7.9150000000000009</c:v>
                </c:pt>
                <c:pt idx="7141">
                  <c:v>8.1509999999999998</c:v>
                </c:pt>
                <c:pt idx="7142">
                  <c:v>9.57</c:v>
                </c:pt>
                <c:pt idx="7143">
                  <c:v>11.617000000000001</c:v>
                </c:pt>
                <c:pt idx="7144">
                  <c:v>12.99</c:v>
                </c:pt>
                <c:pt idx="7145">
                  <c:v>14.153</c:v>
                </c:pt>
                <c:pt idx="7146">
                  <c:v>11.419</c:v>
                </c:pt>
                <c:pt idx="7147">
                  <c:v>9.6609999999999996</c:v>
                </c:pt>
                <c:pt idx="7148">
                  <c:v>9.3640000000000008</c:v>
                </c:pt>
                <c:pt idx="7149">
                  <c:v>8.99</c:v>
                </c:pt>
                <c:pt idx="7150">
                  <c:v>8.3610000000000007</c:v>
                </c:pt>
                <c:pt idx="7151">
                  <c:v>8.25</c:v>
                </c:pt>
                <c:pt idx="7152">
                  <c:v>8.206999999999999</c:v>
                </c:pt>
                <c:pt idx="7153">
                  <c:v>7.9689999999999994</c:v>
                </c:pt>
                <c:pt idx="7154">
                  <c:v>8.26</c:v>
                </c:pt>
                <c:pt idx="7155">
                  <c:v>8.4469999999999992</c:v>
                </c:pt>
                <c:pt idx="7156">
                  <c:v>9.4589999999999996</c:v>
                </c:pt>
                <c:pt idx="7157">
                  <c:v>10.894</c:v>
                </c:pt>
                <c:pt idx="7158">
                  <c:v>12.375</c:v>
                </c:pt>
                <c:pt idx="7159">
                  <c:v>15.059000000000001</c:v>
                </c:pt>
                <c:pt idx="7160">
                  <c:v>12.243</c:v>
                </c:pt>
                <c:pt idx="7161">
                  <c:v>10.815000000000001</c:v>
                </c:pt>
                <c:pt idx="7162">
                  <c:v>9.39</c:v>
                </c:pt>
                <c:pt idx="7163">
                  <c:v>8.1080000000000005</c:v>
                </c:pt>
                <c:pt idx="7164">
                  <c:v>7.8180000000000005</c:v>
                </c:pt>
                <c:pt idx="7165">
                  <c:v>8.2469999999999999</c:v>
                </c:pt>
                <c:pt idx="7166">
                  <c:v>9.9329999999999998</c:v>
                </c:pt>
                <c:pt idx="7167">
                  <c:v>11.803000000000001</c:v>
                </c:pt>
                <c:pt idx="7168">
                  <c:v>15.872999999999999</c:v>
                </c:pt>
                <c:pt idx="7169">
                  <c:v>22.731999999999999</c:v>
                </c:pt>
                <c:pt idx="7170">
                  <c:v>18.484999999999999</c:v>
                </c:pt>
                <c:pt idx="7171">
                  <c:v>12.385999999999999</c:v>
                </c:pt>
                <c:pt idx="7172">
                  <c:v>11.629000000000001</c:v>
                </c:pt>
                <c:pt idx="7173">
                  <c:v>11.395999999999999</c:v>
                </c:pt>
                <c:pt idx="7174">
                  <c:v>10.74</c:v>
                </c:pt>
                <c:pt idx="7175">
                  <c:v>11.529</c:v>
                </c:pt>
                <c:pt idx="7176">
                  <c:v>10.964</c:v>
                </c:pt>
                <c:pt idx="7177">
                  <c:v>10.695</c:v>
                </c:pt>
                <c:pt idx="7178">
                  <c:v>10.779</c:v>
                </c:pt>
                <c:pt idx="7179">
                  <c:v>10.57</c:v>
                </c:pt>
                <c:pt idx="7180">
                  <c:v>10.681999999999999</c:v>
                </c:pt>
                <c:pt idx="7181">
                  <c:v>11.393000000000001</c:v>
                </c:pt>
                <c:pt idx="7182">
                  <c:v>12.571</c:v>
                </c:pt>
                <c:pt idx="7183">
                  <c:v>12.6</c:v>
                </c:pt>
                <c:pt idx="7184">
                  <c:v>11.757</c:v>
                </c:pt>
                <c:pt idx="7185">
                  <c:v>10.138999999999999</c:v>
                </c:pt>
                <c:pt idx="7186">
                  <c:v>8.1479999999999997</c:v>
                </c:pt>
                <c:pt idx="7187">
                  <c:v>6.8349999999999991</c:v>
                </c:pt>
                <c:pt idx="7188">
                  <c:v>6.33</c:v>
                </c:pt>
                <c:pt idx="7189">
                  <c:v>6.4550000000000001</c:v>
                </c:pt>
                <c:pt idx="7190">
                  <c:v>8.1440000000000001</c:v>
                </c:pt>
                <c:pt idx="7191">
                  <c:v>10.059999999999999</c:v>
                </c:pt>
                <c:pt idx="7192">
                  <c:v>12.573</c:v>
                </c:pt>
                <c:pt idx="7193">
                  <c:v>15.09</c:v>
                </c:pt>
                <c:pt idx="7194">
                  <c:v>11.873999999999999</c:v>
                </c:pt>
                <c:pt idx="7195">
                  <c:v>9.6479999999999997</c:v>
                </c:pt>
                <c:pt idx="7196">
                  <c:v>8.8760000000000012</c:v>
                </c:pt>
                <c:pt idx="7197">
                  <c:v>8.75</c:v>
                </c:pt>
                <c:pt idx="7198">
                  <c:v>7.6629999999999994</c:v>
                </c:pt>
                <c:pt idx="7199">
                  <c:v>9.2219999999999995</c:v>
                </c:pt>
                <c:pt idx="7200">
                  <c:v>8.4</c:v>
                </c:pt>
                <c:pt idx="7201">
                  <c:v>8.2230000000000008</c:v>
                </c:pt>
                <c:pt idx="7202">
                  <c:v>8.043000000000001</c:v>
                </c:pt>
                <c:pt idx="7203">
                  <c:v>7.9409999999999998</c:v>
                </c:pt>
                <c:pt idx="7204">
                  <c:v>7.8790000000000004</c:v>
                </c:pt>
                <c:pt idx="7205">
                  <c:v>8.5139999999999993</c:v>
                </c:pt>
                <c:pt idx="7206">
                  <c:v>8.9209999999999994</c:v>
                </c:pt>
                <c:pt idx="7207">
                  <c:v>8.8049999999999997</c:v>
                </c:pt>
                <c:pt idx="7208">
                  <c:v>8.4340000000000011</c:v>
                </c:pt>
                <c:pt idx="7209">
                  <c:v>6.6480000000000006</c:v>
                </c:pt>
                <c:pt idx="7210">
                  <c:v>5.4719999999999995</c:v>
                </c:pt>
                <c:pt idx="7211">
                  <c:v>4.25</c:v>
                </c:pt>
                <c:pt idx="7212">
                  <c:v>3.9990000000000001</c:v>
                </c:pt>
                <c:pt idx="7213">
                  <c:v>4</c:v>
                </c:pt>
                <c:pt idx="7214">
                  <c:v>6.4329999999999998</c:v>
                </c:pt>
                <c:pt idx="7215">
                  <c:v>11.153</c:v>
                </c:pt>
                <c:pt idx="7216">
                  <c:v>12.367000000000001</c:v>
                </c:pt>
                <c:pt idx="7217">
                  <c:v>14.830000000000002</c:v>
                </c:pt>
                <c:pt idx="7218">
                  <c:v>14.571000000000002</c:v>
                </c:pt>
                <c:pt idx="7219">
                  <c:v>13.047000000000001</c:v>
                </c:pt>
                <c:pt idx="7220">
                  <c:v>11.815000000000001</c:v>
                </c:pt>
                <c:pt idx="7221">
                  <c:v>11.201000000000001</c:v>
                </c:pt>
                <c:pt idx="7222">
                  <c:v>11.368</c:v>
                </c:pt>
                <c:pt idx="7223">
                  <c:v>10.298999999999999</c:v>
                </c:pt>
                <c:pt idx="7224">
                  <c:v>9.5599999999999987</c:v>
                </c:pt>
                <c:pt idx="7225">
                  <c:v>9.4370000000000012</c:v>
                </c:pt>
                <c:pt idx="7226">
                  <c:v>8.8739999999999988</c:v>
                </c:pt>
                <c:pt idx="7227">
                  <c:v>8.4090000000000007</c:v>
                </c:pt>
                <c:pt idx="7228">
                  <c:v>8.6260000000000012</c:v>
                </c:pt>
                <c:pt idx="7229">
                  <c:v>9.9930000000000003</c:v>
                </c:pt>
                <c:pt idx="7230">
                  <c:v>10.992000000000001</c:v>
                </c:pt>
                <c:pt idx="7231">
                  <c:v>13.000999999999999</c:v>
                </c:pt>
                <c:pt idx="7232">
                  <c:v>12.738</c:v>
                </c:pt>
                <c:pt idx="7233">
                  <c:v>11.618</c:v>
                </c:pt>
                <c:pt idx="7234">
                  <c:v>9.7609999999999992</c:v>
                </c:pt>
                <c:pt idx="7235">
                  <c:v>9.8309999999999995</c:v>
                </c:pt>
                <c:pt idx="7236">
                  <c:v>9.4930000000000003</c:v>
                </c:pt>
                <c:pt idx="7237">
                  <c:v>10.132999999999999</c:v>
                </c:pt>
                <c:pt idx="7238">
                  <c:v>11.393000000000001</c:v>
                </c:pt>
                <c:pt idx="7239">
                  <c:v>12.135999999999999</c:v>
                </c:pt>
                <c:pt idx="7240">
                  <c:v>12.42</c:v>
                </c:pt>
                <c:pt idx="7241">
                  <c:v>14.111000000000001</c:v>
                </c:pt>
                <c:pt idx="7242">
                  <c:v>14.88</c:v>
                </c:pt>
                <c:pt idx="7243">
                  <c:v>14.612</c:v>
                </c:pt>
                <c:pt idx="7244">
                  <c:v>12.419</c:v>
                </c:pt>
                <c:pt idx="7245">
                  <c:v>11.559000000000001</c:v>
                </c:pt>
                <c:pt idx="7246">
                  <c:v>10.995999999999999</c:v>
                </c:pt>
                <c:pt idx="7247">
                  <c:v>10.241</c:v>
                </c:pt>
                <c:pt idx="7248">
                  <c:v>10.134</c:v>
                </c:pt>
                <c:pt idx="7249">
                  <c:v>10.004000000000001</c:v>
                </c:pt>
                <c:pt idx="7250">
                  <c:v>9.8829999999999991</c:v>
                </c:pt>
                <c:pt idx="7251">
                  <c:v>9.8170000000000002</c:v>
                </c:pt>
                <c:pt idx="7252">
                  <c:v>10.001999999999999</c:v>
                </c:pt>
                <c:pt idx="7253">
                  <c:v>11.309999999999999</c:v>
                </c:pt>
                <c:pt idx="7254">
                  <c:v>12.738</c:v>
                </c:pt>
                <c:pt idx="7255">
                  <c:v>15.773</c:v>
                </c:pt>
                <c:pt idx="7256">
                  <c:v>15.132</c:v>
                </c:pt>
                <c:pt idx="7257">
                  <c:v>12.968999999999999</c:v>
                </c:pt>
                <c:pt idx="7258">
                  <c:v>12.07</c:v>
                </c:pt>
                <c:pt idx="7259">
                  <c:v>11.297000000000001</c:v>
                </c:pt>
                <c:pt idx="7260">
                  <c:v>10.545</c:v>
                </c:pt>
                <c:pt idx="7261">
                  <c:v>11.773</c:v>
                </c:pt>
                <c:pt idx="7262">
                  <c:v>13.593999999999999</c:v>
                </c:pt>
                <c:pt idx="7263">
                  <c:v>17.225999999999999</c:v>
                </c:pt>
                <c:pt idx="7264">
                  <c:v>21.271999999999998</c:v>
                </c:pt>
                <c:pt idx="7265">
                  <c:v>28.580000000000002</c:v>
                </c:pt>
                <c:pt idx="7266">
                  <c:v>25.744</c:v>
                </c:pt>
                <c:pt idx="7267">
                  <c:v>20.381999999999998</c:v>
                </c:pt>
                <c:pt idx="7268">
                  <c:v>14.059999999999999</c:v>
                </c:pt>
                <c:pt idx="7269">
                  <c:v>12.404999999999999</c:v>
                </c:pt>
                <c:pt idx="7270">
                  <c:v>11.808</c:v>
                </c:pt>
                <c:pt idx="7271">
                  <c:v>10.309000000000001</c:v>
                </c:pt>
                <c:pt idx="7272">
                  <c:v>10.071</c:v>
                </c:pt>
                <c:pt idx="7273">
                  <c:v>10.052</c:v>
                </c:pt>
                <c:pt idx="7274">
                  <c:v>9.8159999999999989</c:v>
                </c:pt>
                <c:pt idx="7275">
                  <c:v>9.8049999999999997</c:v>
                </c:pt>
                <c:pt idx="7276">
                  <c:v>10.056000000000001</c:v>
                </c:pt>
                <c:pt idx="7277">
                  <c:v>10.632</c:v>
                </c:pt>
                <c:pt idx="7278">
                  <c:v>12.354000000000001</c:v>
                </c:pt>
                <c:pt idx="7279">
                  <c:v>13.968</c:v>
                </c:pt>
                <c:pt idx="7280">
                  <c:v>13.891</c:v>
                </c:pt>
                <c:pt idx="7281">
                  <c:v>12.434000000000001</c:v>
                </c:pt>
                <c:pt idx="7282">
                  <c:v>11.5</c:v>
                </c:pt>
                <c:pt idx="7283">
                  <c:v>10.968</c:v>
                </c:pt>
                <c:pt idx="7284">
                  <c:v>10.253</c:v>
                </c:pt>
                <c:pt idx="7285">
                  <c:v>10.695</c:v>
                </c:pt>
                <c:pt idx="7286">
                  <c:v>11.131</c:v>
                </c:pt>
                <c:pt idx="7287">
                  <c:v>12.616</c:v>
                </c:pt>
                <c:pt idx="7288">
                  <c:v>16</c:v>
                </c:pt>
                <c:pt idx="7289">
                  <c:v>19.387999999999998</c:v>
                </c:pt>
                <c:pt idx="7290">
                  <c:v>19.288999999999998</c:v>
                </c:pt>
                <c:pt idx="7291">
                  <c:v>15.943999999999999</c:v>
                </c:pt>
                <c:pt idx="7292">
                  <c:v>13.356</c:v>
                </c:pt>
                <c:pt idx="7293">
                  <c:v>12.266999999999999</c:v>
                </c:pt>
                <c:pt idx="7294">
                  <c:v>11.534000000000001</c:v>
                </c:pt>
                <c:pt idx="7295">
                  <c:v>11.237</c:v>
                </c:pt>
                <c:pt idx="7296">
                  <c:v>10.516</c:v>
                </c:pt>
                <c:pt idx="7297">
                  <c:v>9.8510000000000009</c:v>
                </c:pt>
                <c:pt idx="7298">
                  <c:v>9.6579999999999995</c:v>
                </c:pt>
                <c:pt idx="7299">
                  <c:v>9.4809999999999999</c:v>
                </c:pt>
                <c:pt idx="7300">
                  <c:v>9.8030000000000008</c:v>
                </c:pt>
                <c:pt idx="7301">
                  <c:v>10.234</c:v>
                </c:pt>
                <c:pt idx="7302">
                  <c:v>12.115</c:v>
                </c:pt>
                <c:pt idx="7303">
                  <c:v>13.553000000000001</c:v>
                </c:pt>
                <c:pt idx="7304">
                  <c:v>13.347</c:v>
                </c:pt>
                <c:pt idx="7305">
                  <c:v>12.327999999999999</c:v>
                </c:pt>
                <c:pt idx="7306">
                  <c:v>10.513999999999999</c:v>
                </c:pt>
                <c:pt idx="7307">
                  <c:v>9.8049999999999997</c:v>
                </c:pt>
                <c:pt idx="7308">
                  <c:v>8.891</c:v>
                </c:pt>
                <c:pt idx="7309">
                  <c:v>9.254999999999999</c:v>
                </c:pt>
                <c:pt idx="7310">
                  <c:v>9.9379999999999988</c:v>
                </c:pt>
                <c:pt idx="7311">
                  <c:v>11.15</c:v>
                </c:pt>
                <c:pt idx="7312">
                  <c:v>12.317</c:v>
                </c:pt>
                <c:pt idx="7313">
                  <c:v>12.9</c:v>
                </c:pt>
                <c:pt idx="7314">
                  <c:v>12.840999999999999</c:v>
                </c:pt>
                <c:pt idx="7315">
                  <c:v>11.784000000000001</c:v>
                </c:pt>
                <c:pt idx="7316">
                  <c:v>10.58</c:v>
                </c:pt>
                <c:pt idx="7317">
                  <c:v>8.5340000000000007</c:v>
                </c:pt>
                <c:pt idx="7318">
                  <c:v>8.0440000000000005</c:v>
                </c:pt>
                <c:pt idx="7319">
                  <c:v>6.4560000000000004</c:v>
                </c:pt>
                <c:pt idx="7320">
                  <c:v>6.3340000000000005</c:v>
                </c:pt>
                <c:pt idx="7321">
                  <c:v>6.2949999999999999</c:v>
                </c:pt>
                <c:pt idx="7322">
                  <c:v>5.71</c:v>
                </c:pt>
                <c:pt idx="7323">
                  <c:v>5.4539999999999997</c:v>
                </c:pt>
                <c:pt idx="7324">
                  <c:v>5.6989999999999998</c:v>
                </c:pt>
                <c:pt idx="7325">
                  <c:v>6.3209999999999997</c:v>
                </c:pt>
                <c:pt idx="7326">
                  <c:v>6.9680000000000009</c:v>
                </c:pt>
                <c:pt idx="7327">
                  <c:v>7.0349999999999993</c:v>
                </c:pt>
                <c:pt idx="7328">
                  <c:v>6.418000000000001</c:v>
                </c:pt>
                <c:pt idx="7329">
                  <c:v>6.12</c:v>
                </c:pt>
                <c:pt idx="7330">
                  <c:v>5.5009999999999994</c:v>
                </c:pt>
                <c:pt idx="7331">
                  <c:v>3.2039999999999997</c:v>
                </c:pt>
                <c:pt idx="7332">
                  <c:v>2.9489999999999998</c:v>
                </c:pt>
                <c:pt idx="7333">
                  <c:v>3.4899999999999998</c:v>
                </c:pt>
                <c:pt idx="7334">
                  <c:v>6.383</c:v>
                </c:pt>
                <c:pt idx="7335">
                  <c:v>8.9329999999999998</c:v>
                </c:pt>
                <c:pt idx="7336">
                  <c:v>11.598000000000001</c:v>
                </c:pt>
                <c:pt idx="7337">
                  <c:v>11.987</c:v>
                </c:pt>
                <c:pt idx="7338">
                  <c:v>11.797000000000001</c:v>
                </c:pt>
                <c:pt idx="7339">
                  <c:v>11.759</c:v>
                </c:pt>
                <c:pt idx="7340">
                  <c:v>11.32</c:v>
                </c:pt>
                <c:pt idx="7341">
                  <c:v>10.464</c:v>
                </c:pt>
                <c:pt idx="7342">
                  <c:v>9.8409999999999993</c:v>
                </c:pt>
                <c:pt idx="7343">
                  <c:v>8.5640000000000001</c:v>
                </c:pt>
                <c:pt idx="7344">
                  <c:v>9.5749999999999993</c:v>
                </c:pt>
                <c:pt idx="7345">
                  <c:v>9.1310000000000002</c:v>
                </c:pt>
                <c:pt idx="7346">
                  <c:v>8.8760000000000012</c:v>
                </c:pt>
                <c:pt idx="7347">
                  <c:v>8.6</c:v>
                </c:pt>
                <c:pt idx="7348">
                  <c:v>8.6849999999999987</c:v>
                </c:pt>
                <c:pt idx="7349">
                  <c:v>9.2129999999999992</c:v>
                </c:pt>
                <c:pt idx="7350">
                  <c:v>9.6969999999999992</c:v>
                </c:pt>
                <c:pt idx="7351">
                  <c:v>10.010999999999999</c:v>
                </c:pt>
                <c:pt idx="7352">
                  <c:v>10.116</c:v>
                </c:pt>
                <c:pt idx="7353">
                  <c:v>10.964</c:v>
                </c:pt>
                <c:pt idx="7354">
                  <c:v>9.1189999999999998</c:v>
                </c:pt>
                <c:pt idx="7355">
                  <c:v>9.4439999999999991</c:v>
                </c:pt>
                <c:pt idx="7356">
                  <c:v>8.8680000000000003</c:v>
                </c:pt>
                <c:pt idx="7357">
                  <c:v>9.1509999999999998</c:v>
                </c:pt>
                <c:pt idx="7358">
                  <c:v>10.342000000000001</c:v>
                </c:pt>
                <c:pt idx="7359">
                  <c:v>12.23</c:v>
                </c:pt>
                <c:pt idx="7360">
                  <c:v>13.761000000000001</c:v>
                </c:pt>
                <c:pt idx="7361">
                  <c:v>15.856</c:v>
                </c:pt>
                <c:pt idx="7362">
                  <c:v>14.991999999999999</c:v>
                </c:pt>
                <c:pt idx="7363">
                  <c:v>13.496</c:v>
                </c:pt>
                <c:pt idx="7364">
                  <c:v>12.279</c:v>
                </c:pt>
                <c:pt idx="7365">
                  <c:v>11.126000000000001</c:v>
                </c:pt>
                <c:pt idx="7366">
                  <c:v>10.628</c:v>
                </c:pt>
                <c:pt idx="7367">
                  <c:v>10.061</c:v>
                </c:pt>
                <c:pt idx="7368">
                  <c:v>10.119</c:v>
                </c:pt>
                <c:pt idx="7369">
                  <c:v>9.6630000000000003</c:v>
                </c:pt>
                <c:pt idx="7370">
                  <c:v>8.9049999999999994</c:v>
                </c:pt>
                <c:pt idx="7371">
                  <c:v>8.5090000000000003</c:v>
                </c:pt>
                <c:pt idx="7372">
                  <c:v>8.7430000000000003</c:v>
                </c:pt>
                <c:pt idx="7373">
                  <c:v>8.85</c:v>
                </c:pt>
                <c:pt idx="7374">
                  <c:v>9.5560000000000009</c:v>
                </c:pt>
                <c:pt idx="7375">
                  <c:v>9.8109999999999999</c:v>
                </c:pt>
                <c:pt idx="7376">
                  <c:v>8.8469999999999995</c:v>
                </c:pt>
                <c:pt idx="7377">
                  <c:v>8.3970000000000002</c:v>
                </c:pt>
                <c:pt idx="7378">
                  <c:v>7.0709999999999997</c:v>
                </c:pt>
                <c:pt idx="7379">
                  <c:v>6.0780000000000003</c:v>
                </c:pt>
                <c:pt idx="7380">
                  <c:v>5.2629999999999999</c:v>
                </c:pt>
                <c:pt idx="7381">
                  <c:v>6.1079999999999997</c:v>
                </c:pt>
                <c:pt idx="7382">
                  <c:v>8.4370000000000012</c:v>
                </c:pt>
                <c:pt idx="7383">
                  <c:v>10.095000000000001</c:v>
                </c:pt>
                <c:pt idx="7384">
                  <c:v>11.516</c:v>
                </c:pt>
                <c:pt idx="7385">
                  <c:v>12.791</c:v>
                </c:pt>
                <c:pt idx="7386">
                  <c:v>12.609</c:v>
                </c:pt>
                <c:pt idx="7387">
                  <c:v>12.071999999999999</c:v>
                </c:pt>
                <c:pt idx="7388">
                  <c:v>11.08</c:v>
                </c:pt>
                <c:pt idx="7389">
                  <c:v>10.199999999999999</c:v>
                </c:pt>
                <c:pt idx="7390">
                  <c:v>10.068999999999999</c:v>
                </c:pt>
                <c:pt idx="7391">
                  <c:v>9.4529999999999994</c:v>
                </c:pt>
                <c:pt idx="7392">
                  <c:v>9.2040000000000006</c:v>
                </c:pt>
                <c:pt idx="7393">
                  <c:v>8.9959999999999987</c:v>
                </c:pt>
                <c:pt idx="7394">
                  <c:v>9.0069999999999997</c:v>
                </c:pt>
                <c:pt idx="7395">
                  <c:v>8.9860000000000007</c:v>
                </c:pt>
                <c:pt idx="7396">
                  <c:v>9.08</c:v>
                </c:pt>
                <c:pt idx="7397">
                  <c:v>9.8520000000000003</c:v>
                </c:pt>
                <c:pt idx="7398">
                  <c:v>12.489000000000001</c:v>
                </c:pt>
                <c:pt idx="7399">
                  <c:v>14.491</c:v>
                </c:pt>
                <c:pt idx="7400">
                  <c:v>13.918000000000001</c:v>
                </c:pt>
                <c:pt idx="7401">
                  <c:v>12.062999999999999</c:v>
                </c:pt>
                <c:pt idx="7402">
                  <c:v>10</c:v>
                </c:pt>
                <c:pt idx="7403">
                  <c:v>9.7119999999999997</c:v>
                </c:pt>
                <c:pt idx="7404">
                  <c:v>9.516</c:v>
                </c:pt>
                <c:pt idx="7405">
                  <c:v>9.8469999999999995</c:v>
                </c:pt>
                <c:pt idx="7406">
                  <c:v>10.317</c:v>
                </c:pt>
                <c:pt idx="7407">
                  <c:v>13.040000000000001</c:v>
                </c:pt>
                <c:pt idx="7408">
                  <c:v>18.146999999999998</c:v>
                </c:pt>
                <c:pt idx="7409">
                  <c:v>29.020999999999997</c:v>
                </c:pt>
                <c:pt idx="7410">
                  <c:v>24.103999999999999</c:v>
                </c:pt>
                <c:pt idx="7411">
                  <c:v>16.209</c:v>
                </c:pt>
                <c:pt idx="7412">
                  <c:v>12.3</c:v>
                </c:pt>
                <c:pt idx="7413">
                  <c:v>11.227</c:v>
                </c:pt>
                <c:pt idx="7414">
                  <c:v>10.798</c:v>
                </c:pt>
                <c:pt idx="7415">
                  <c:v>9.76</c:v>
                </c:pt>
                <c:pt idx="7416">
                  <c:v>10.177</c:v>
                </c:pt>
                <c:pt idx="7417">
                  <c:v>9.4</c:v>
                </c:pt>
                <c:pt idx="7418">
                  <c:v>9.120000000000001</c:v>
                </c:pt>
                <c:pt idx="7419">
                  <c:v>9.3000000000000007</c:v>
                </c:pt>
                <c:pt idx="7420">
                  <c:v>9.5389999999999997</c:v>
                </c:pt>
                <c:pt idx="7421">
                  <c:v>10.488</c:v>
                </c:pt>
                <c:pt idx="7422">
                  <c:v>12.795</c:v>
                </c:pt>
                <c:pt idx="7423">
                  <c:v>14.931999999999999</c:v>
                </c:pt>
                <c:pt idx="7424">
                  <c:v>13.915000000000001</c:v>
                </c:pt>
                <c:pt idx="7425">
                  <c:v>11.823</c:v>
                </c:pt>
                <c:pt idx="7426">
                  <c:v>10.587</c:v>
                </c:pt>
                <c:pt idx="7427">
                  <c:v>9.5280000000000005</c:v>
                </c:pt>
                <c:pt idx="7428">
                  <c:v>9.4920000000000009</c:v>
                </c:pt>
                <c:pt idx="7429">
                  <c:v>9.9250000000000007</c:v>
                </c:pt>
                <c:pt idx="7430">
                  <c:v>11.035</c:v>
                </c:pt>
                <c:pt idx="7431">
                  <c:v>15.599</c:v>
                </c:pt>
                <c:pt idx="7432">
                  <c:v>33.183</c:v>
                </c:pt>
                <c:pt idx="7433">
                  <c:v>50.530999999999999</c:v>
                </c:pt>
                <c:pt idx="7434">
                  <c:v>46.874000000000002</c:v>
                </c:pt>
                <c:pt idx="7435">
                  <c:v>34.17</c:v>
                </c:pt>
                <c:pt idx="7436">
                  <c:v>17.213999999999999</c:v>
                </c:pt>
                <c:pt idx="7437">
                  <c:v>13.077000000000002</c:v>
                </c:pt>
                <c:pt idx="7438">
                  <c:v>11.776999999999999</c:v>
                </c:pt>
                <c:pt idx="7439">
                  <c:v>11.003</c:v>
                </c:pt>
                <c:pt idx="7440">
                  <c:v>10.638999999999999</c:v>
                </c:pt>
                <c:pt idx="7441">
                  <c:v>9.9049999999999994</c:v>
                </c:pt>
                <c:pt idx="7442">
                  <c:v>9.5470000000000006</c:v>
                </c:pt>
                <c:pt idx="7443">
                  <c:v>9.7040000000000006</c:v>
                </c:pt>
                <c:pt idx="7444">
                  <c:v>10.051</c:v>
                </c:pt>
                <c:pt idx="7445">
                  <c:v>11.025</c:v>
                </c:pt>
                <c:pt idx="7446">
                  <c:v>16.34</c:v>
                </c:pt>
                <c:pt idx="7447">
                  <c:v>29.999000000000002</c:v>
                </c:pt>
                <c:pt idx="7448">
                  <c:v>24.053999999999998</c:v>
                </c:pt>
                <c:pt idx="7449">
                  <c:v>14.494</c:v>
                </c:pt>
                <c:pt idx="7450">
                  <c:v>13.346</c:v>
                </c:pt>
                <c:pt idx="7451">
                  <c:v>12.32</c:v>
                </c:pt>
                <c:pt idx="7452">
                  <c:v>12.32</c:v>
                </c:pt>
                <c:pt idx="7453">
                  <c:v>12.555</c:v>
                </c:pt>
                <c:pt idx="7454">
                  <c:v>14.175999999999998</c:v>
                </c:pt>
                <c:pt idx="7455">
                  <c:v>27.008999999999997</c:v>
                </c:pt>
                <c:pt idx="7456">
                  <c:v>52.424999999999997</c:v>
                </c:pt>
                <c:pt idx="7457">
                  <c:v>82.010999999999996</c:v>
                </c:pt>
                <c:pt idx="7458">
                  <c:v>80.50800000000001</c:v>
                </c:pt>
                <c:pt idx="7459">
                  <c:v>45</c:v>
                </c:pt>
                <c:pt idx="7460">
                  <c:v>20.734999999999999</c:v>
                </c:pt>
                <c:pt idx="7461">
                  <c:v>13.347999999999999</c:v>
                </c:pt>
                <c:pt idx="7462">
                  <c:v>11.934999999999999</c:v>
                </c:pt>
                <c:pt idx="7463">
                  <c:v>11.173</c:v>
                </c:pt>
                <c:pt idx="7464">
                  <c:v>10.954000000000001</c:v>
                </c:pt>
                <c:pt idx="7465">
                  <c:v>10.298</c:v>
                </c:pt>
                <c:pt idx="7466">
                  <c:v>9.9740000000000002</c:v>
                </c:pt>
                <c:pt idx="7467">
                  <c:v>9.9849999999999994</c:v>
                </c:pt>
                <c:pt idx="7468">
                  <c:v>10.273</c:v>
                </c:pt>
                <c:pt idx="7469">
                  <c:v>11.689</c:v>
                </c:pt>
                <c:pt idx="7470">
                  <c:v>15.741</c:v>
                </c:pt>
                <c:pt idx="7471">
                  <c:v>21.956</c:v>
                </c:pt>
                <c:pt idx="7472">
                  <c:v>19.199000000000002</c:v>
                </c:pt>
                <c:pt idx="7473">
                  <c:v>15.291999999999998</c:v>
                </c:pt>
                <c:pt idx="7474">
                  <c:v>14.89</c:v>
                </c:pt>
                <c:pt idx="7475">
                  <c:v>13.481</c:v>
                </c:pt>
                <c:pt idx="7476">
                  <c:v>13.506</c:v>
                </c:pt>
                <c:pt idx="7477">
                  <c:v>13.291</c:v>
                </c:pt>
                <c:pt idx="7478">
                  <c:v>13.994</c:v>
                </c:pt>
                <c:pt idx="7479">
                  <c:v>18.942</c:v>
                </c:pt>
                <c:pt idx="7480">
                  <c:v>26.116000000000003</c:v>
                </c:pt>
                <c:pt idx="7481">
                  <c:v>40.826000000000001</c:v>
                </c:pt>
                <c:pt idx="7482">
                  <c:v>29.677999999999997</c:v>
                </c:pt>
                <c:pt idx="7483">
                  <c:v>17.511000000000003</c:v>
                </c:pt>
                <c:pt idx="7484">
                  <c:v>12.940999999999999</c:v>
                </c:pt>
                <c:pt idx="7485">
                  <c:v>11.391999999999999</c:v>
                </c:pt>
                <c:pt idx="7486">
                  <c:v>11.177</c:v>
                </c:pt>
                <c:pt idx="7487">
                  <c:v>9.9870000000000001</c:v>
                </c:pt>
                <c:pt idx="7488">
                  <c:v>9.956999999999999</c:v>
                </c:pt>
                <c:pt idx="7489">
                  <c:v>9.9730000000000008</c:v>
                </c:pt>
                <c:pt idx="7490">
                  <c:v>9.7970000000000006</c:v>
                </c:pt>
                <c:pt idx="7491">
                  <c:v>9.7690000000000001</c:v>
                </c:pt>
                <c:pt idx="7492">
                  <c:v>9.745000000000001</c:v>
                </c:pt>
                <c:pt idx="7493">
                  <c:v>9.8209999999999997</c:v>
                </c:pt>
                <c:pt idx="7494">
                  <c:v>10.718999999999999</c:v>
                </c:pt>
                <c:pt idx="7495">
                  <c:v>12.754999999999999</c:v>
                </c:pt>
                <c:pt idx="7496">
                  <c:v>13.291</c:v>
                </c:pt>
                <c:pt idx="7497">
                  <c:v>12.651999999999999</c:v>
                </c:pt>
                <c:pt idx="7498">
                  <c:v>11.734</c:v>
                </c:pt>
                <c:pt idx="7499">
                  <c:v>11.093999999999999</c:v>
                </c:pt>
                <c:pt idx="7500">
                  <c:v>10.559000000000001</c:v>
                </c:pt>
                <c:pt idx="7501">
                  <c:v>10.681000000000001</c:v>
                </c:pt>
                <c:pt idx="7502">
                  <c:v>11.225</c:v>
                </c:pt>
                <c:pt idx="7503">
                  <c:v>12.359</c:v>
                </c:pt>
                <c:pt idx="7504">
                  <c:v>12.91</c:v>
                </c:pt>
                <c:pt idx="7505">
                  <c:v>12.856</c:v>
                </c:pt>
                <c:pt idx="7506">
                  <c:v>13.290000000000001</c:v>
                </c:pt>
                <c:pt idx="7507">
                  <c:v>12.718999999999999</c:v>
                </c:pt>
                <c:pt idx="7508">
                  <c:v>11.574</c:v>
                </c:pt>
                <c:pt idx="7509">
                  <c:v>10.948</c:v>
                </c:pt>
                <c:pt idx="7510">
                  <c:v>11.3</c:v>
                </c:pt>
                <c:pt idx="7511">
                  <c:v>10.406000000000001</c:v>
                </c:pt>
                <c:pt idx="7512">
                  <c:v>10.51</c:v>
                </c:pt>
                <c:pt idx="7513">
                  <c:v>9.9959999999999987</c:v>
                </c:pt>
                <c:pt idx="7514">
                  <c:v>9.8000000000000007</c:v>
                </c:pt>
                <c:pt idx="7515">
                  <c:v>9.668000000000001</c:v>
                </c:pt>
                <c:pt idx="7516">
                  <c:v>9.8409999999999993</c:v>
                </c:pt>
                <c:pt idx="7517">
                  <c:v>10.068999999999999</c:v>
                </c:pt>
                <c:pt idx="7518">
                  <c:v>10.431000000000001</c:v>
                </c:pt>
                <c:pt idx="7519">
                  <c:v>10.987</c:v>
                </c:pt>
                <c:pt idx="7520">
                  <c:v>11.41</c:v>
                </c:pt>
                <c:pt idx="7521">
                  <c:v>11.459999999999999</c:v>
                </c:pt>
                <c:pt idx="7522">
                  <c:v>10.997</c:v>
                </c:pt>
                <c:pt idx="7523">
                  <c:v>10.64</c:v>
                </c:pt>
                <c:pt idx="7524">
                  <c:v>10.687999999999999</c:v>
                </c:pt>
                <c:pt idx="7525">
                  <c:v>10.8</c:v>
                </c:pt>
                <c:pt idx="7526">
                  <c:v>11.018000000000001</c:v>
                </c:pt>
                <c:pt idx="7527">
                  <c:v>12.145999999999999</c:v>
                </c:pt>
                <c:pt idx="7528">
                  <c:v>13.722999999999999</c:v>
                </c:pt>
                <c:pt idx="7529">
                  <c:v>14.693000000000001</c:v>
                </c:pt>
                <c:pt idx="7530">
                  <c:v>14.780000000000001</c:v>
                </c:pt>
                <c:pt idx="7531">
                  <c:v>13.99</c:v>
                </c:pt>
                <c:pt idx="7532">
                  <c:v>12.831999999999999</c:v>
                </c:pt>
                <c:pt idx="7533">
                  <c:v>11.795999999999999</c:v>
                </c:pt>
                <c:pt idx="7534">
                  <c:v>11.452999999999999</c:v>
                </c:pt>
                <c:pt idx="7535">
                  <c:v>11.01</c:v>
                </c:pt>
                <c:pt idx="7536">
                  <c:v>10.498999999999999</c:v>
                </c:pt>
                <c:pt idx="7537">
                  <c:v>10.228</c:v>
                </c:pt>
                <c:pt idx="7538">
                  <c:v>10.201000000000001</c:v>
                </c:pt>
                <c:pt idx="7539">
                  <c:v>10.086</c:v>
                </c:pt>
                <c:pt idx="7540">
                  <c:v>10.087999999999999</c:v>
                </c:pt>
                <c:pt idx="7541">
                  <c:v>10.198</c:v>
                </c:pt>
                <c:pt idx="7542">
                  <c:v>10.032</c:v>
                </c:pt>
                <c:pt idx="7543">
                  <c:v>10.245000000000001</c:v>
                </c:pt>
                <c:pt idx="7544">
                  <c:v>10.538</c:v>
                </c:pt>
                <c:pt idx="7545">
                  <c:v>11.099</c:v>
                </c:pt>
                <c:pt idx="7546">
                  <c:v>11.262</c:v>
                </c:pt>
                <c:pt idx="7547">
                  <c:v>11.013</c:v>
                </c:pt>
                <c:pt idx="7548">
                  <c:v>11.092000000000001</c:v>
                </c:pt>
                <c:pt idx="7549">
                  <c:v>10.86</c:v>
                </c:pt>
                <c:pt idx="7550">
                  <c:v>11.236000000000001</c:v>
                </c:pt>
                <c:pt idx="7551">
                  <c:v>12.622</c:v>
                </c:pt>
                <c:pt idx="7552">
                  <c:v>13.402000000000001</c:v>
                </c:pt>
                <c:pt idx="7553">
                  <c:v>14.872</c:v>
                </c:pt>
                <c:pt idx="7554">
                  <c:v>14.600999999999999</c:v>
                </c:pt>
                <c:pt idx="7555">
                  <c:v>13.861000000000001</c:v>
                </c:pt>
                <c:pt idx="7556">
                  <c:v>12.531000000000001</c:v>
                </c:pt>
                <c:pt idx="7557">
                  <c:v>11.528</c:v>
                </c:pt>
                <c:pt idx="7558">
                  <c:v>11.11</c:v>
                </c:pt>
                <c:pt idx="7559">
                  <c:v>10.802</c:v>
                </c:pt>
                <c:pt idx="7560">
                  <c:v>10.965</c:v>
                </c:pt>
                <c:pt idx="7561">
                  <c:v>10.368</c:v>
                </c:pt>
                <c:pt idx="7562">
                  <c:v>10</c:v>
                </c:pt>
                <c:pt idx="7563">
                  <c:v>9.7859999999999996</c:v>
                </c:pt>
                <c:pt idx="7564">
                  <c:v>9.75</c:v>
                </c:pt>
                <c:pt idx="7565">
                  <c:v>10.388999999999999</c:v>
                </c:pt>
                <c:pt idx="7566">
                  <c:v>11.568999999999999</c:v>
                </c:pt>
                <c:pt idx="7567">
                  <c:v>12.834999999999999</c:v>
                </c:pt>
                <c:pt idx="7568">
                  <c:v>13.506</c:v>
                </c:pt>
                <c:pt idx="7569">
                  <c:v>13.294</c:v>
                </c:pt>
                <c:pt idx="7570">
                  <c:v>12.85</c:v>
                </c:pt>
                <c:pt idx="7571">
                  <c:v>12.420999999999999</c:v>
                </c:pt>
                <c:pt idx="7572">
                  <c:v>11.984</c:v>
                </c:pt>
                <c:pt idx="7573">
                  <c:v>12.902000000000001</c:v>
                </c:pt>
                <c:pt idx="7574">
                  <c:v>13.044</c:v>
                </c:pt>
                <c:pt idx="7575">
                  <c:v>13.905000000000001</c:v>
                </c:pt>
                <c:pt idx="7576">
                  <c:v>14.093999999999999</c:v>
                </c:pt>
                <c:pt idx="7577">
                  <c:v>15.318000000000001</c:v>
                </c:pt>
                <c:pt idx="7578">
                  <c:v>14.709</c:v>
                </c:pt>
                <c:pt idx="7579">
                  <c:v>13.37</c:v>
                </c:pt>
                <c:pt idx="7580">
                  <c:v>12.193999999999999</c:v>
                </c:pt>
                <c:pt idx="7581">
                  <c:v>11.288</c:v>
                </c:pt>
                <c:pt idx="7582">
                  <c:v>11.156000000000001</c:v>
                </c:pt>
                <c:pt idx="7583">
                  <c:v>10.540000000000001</c:v>
                </c:pt>
                <c:pt idx="7584">
                  <c:v>11.031000000000001</c:v>
                </c:pt>
                <c:pt idx="7585">
                  <c:v>10.464</c:v>
                </c:pt>
                <c:pt idx="7586">
                  <c:v>10.269</c:v>
                </c:pt>
                <c:pt idx="7587">
                  <c:v>10.398999999999999</c:v>
                </c:pt>
                <c:pt idx="7588">
                  <c:v>10.75</c:v>
                </c:pt>
                <c:pt idx="7589">
                  <c:v>11.801</c:v>
                </c:pt>
                <c:pt idx="7590">
                  <c:v>14.766999999999999</c:v>
                </c:pt>
                <c:pt idx="7591">
                  <c:v>18.552</c:v>
                </c:pt>
                <c:pt idx="7592">
                  <c:v>20.163999999999998</c:v>
                </c:pt>
                <c:pt idx="7593">
                  <c:v>22.333000000000002</c:v>
                </c:pt>
                <c:pt idx="7594">
                  <c:v>19.024000000000001</c:v>
                </c:pt>
                <c:pt idx="7595">
                  <c:v>17.108000000000001</c:v>
                </c:pt>
                <c:pt idx="7596">
                  <c:v>16.158999999999999</c:v>
                </c:pt>
                <c:pt idx="7597">
                  <c:v>15.647</c:v>
                </c:pt>
                <c:pt idx="7598">
                  <c:v>17.437000000000001</c:v>
                </c:pt>
                <c:pt idx="7599">
                  <c:v>21.878</c:v>
                </c:pt>
                <c:pt idx="7600">
                  <c:v>27.273000000000003</c:v>
                </c:pt>
                <c:pt idx="7601">
                  <c:v>31.788999999999998</c:v>
                </c:pt>
                <c:pt idx="7602">
                  <c:v>22.533000000000001</c:v>
                </c:pt>
                <c:pt idx="7603">
                  <c:v>17.134999999999998</c:v>
                </c:pt>
                <c:pt idx="7604">
                  <c:v>14.912000000000001</c:v>
                </c:pt>
                <c:pt idx="7605">
                  <c:v>13.190000000000001</c:v>
                </c:pt>
                <c:pt idx="7606">
                  <c:v>12.520999999999999</c:v>
                </c:pt>
                <c:pt idx="7607">
                  <c:v>11.559000000000001</c:v>
                </c:pt>
                <c:pt idx="7608">
                  <c:v>11.715</c:v>
                </c:pt>
                <c:pt idx="7609">
                  <c:v>11.170999999999999</c:v>
                </c:pt>
                <c:pt idx="7610">
                  <c:v>10.785</c:v>
                </c:pt>
                <c:pt idx="7611">
                  <c:v>10.745000000000001</c:v>
                </c:pt>
                <c:pt idx="7612">
                  <c:v>11.062999999999999</c:v>
                </c:pt>
                <c:pt idx="7613">
                  <c:v>11.9</c:v>
                </c:pt>
                <c:pt idx="7614">
                  <c:v>13.11</c:v>
                </c:pt>
                <c:pt idx="7615">
                  <c:v>16.478000000000002</c:v>
                </c:pt>
                <c:pt idx="7616">
                  <c:v>22.544999999999998</c:v>
                </c:pt>
                <c:pt idx="7617">
                  <c:v>22.743000000000002</c:v>
                </c:pt>
                <c:pt idx="7618">
                  <c:v>20.080000000000002</c:v>
                </c:pt>
                <c:pt idx="7619">
                  <c:v>17.77</c:v>
                </c:pt>
                <c:pt idx="7620">
                  <c:v>16.099</c:v>
                </c:pt>
                <c:pt idx="7621">
                  <c:v>16.207000000000001</c:v>
                </c:pt>
                <c:pt idx="7622">
                  <c:v>15.99</c:v>
                </c:pt>
                <c:pt idx="7623">
                  <c:v>16.559999999999999</c:v>
                </c:pt>
                <c:pt idx="7624">
                  <c:v>17.827999999999999</c:v>
                </c:pt>
                <c:pt idx="7625">
                  <c:v>17.843</c:v>
                </c:pt>
                <c:pt idx="7626">
                  <c:v>17.39</c:v>
                </c:pt>
                <c:pt idx="7627">
                  <c:v>16.178999999999998</c:v>
                </c:pt>
                <c:pt idx="7628">
                  <c:v>12.522</c:v>
                </c:pt>
                <c:pt idx="7629">
                  <c:v>11.486000000000001</c:v>
                </c:pt>
                <c:pt idx="7630">
                  <c:v>11.351000000000001</c:v>
                </c:pt>
                <c:pt idx="7631">
                  <c:v>10.662000000000001</c:v>
                </c:pt>
                <c:pt idx="7632">
                  <c:v>10.17</c:v>
                </c:pt>
                <c:pt idx="7633">
                  <c:v>9.9830000000000005</c:v>
                </c:pt>
                <c:pt idx="7634">
                  <c:v>9.6010000000000009</c:v>
                </c:pt>
                <c:pt idx="7635">
                  <c:v>9.2249999999999996</c:v>
                </c:pt>
                <c:pt idx="7636">
                  <c:v>9.141</c:v>
                </c:pt>
                <c:pt idx="7637">
                  <c:v>9.2240000000000002</c:v>
                </c:pt>
                <c:pt idx="7638">
                  <c:v>10.343999999999999</c:v>
                </c:pt>
                <c:pt idx="7639">
                  <c:v>11.561</c:v>
                </c:pt>
                <c:pt idx="7640">
                  <c:v>12.714</c:v>
                </c:pt>
                <c:pt idx="7641">
                  <c:v>12.391999999999999</c:v>
                </c:pt>
                <c:pt idx="7642">
                  <c:v>12.565000000000001</c:v>
                </c:pt>
                <c:pt idx="7643">
                  <c:v>12.484</c:v>
                </c:pt>
                <c:pt idx="7644">
                  <c:v>12.168000000000001</c:v>
                </c:pt>
                <c:pt idx="7645">
                  <c:v>12.74</c:v>
                </c:pt>
                <c:pt idx="7646">
                  <c:v>13.401</c:v>
                </c:pt>
                <c:pt idx="7647">
                  <c:v>14.218</c:v>
                </c:pt>
                <c:pt idx="7648">
                  <c:v>14.741</c:v>
                </c:pt>
                <c:pt idx="7649">
                  <c:v>15.590999999999999</c:v>
                </c:pt>
                <c:pt idx="7650">
                  <c:v>15.409000000000001</c:v>
                </c:pt>
                <c:pt idx="7651">
                  <c:v>14.828999999999999</c:v>
                </c:pt>
                <c:pt idx="7652">
                  <c:v>13.858000000000001</c:v>
                </c:pt>
                <c:pt idx="7653">
                  <c:v>12.943999999999999</c:v>
                </c:pt>
                <c:pt idx="7654">
                  <c:v>12.289</c:v>
                </c:pt>
                <c:pt idx="7655">
                  <c:v>11.248000000000001</c:v>
                </c:pt>
                <c:pt idx="7656">
                  <c:v>11.044</c:v>
                </c:pt>
                <c:pt idx="7657">
                  <c:v>10.670999999999999</c:v>
                </c:pt>
                <c:pt idx="7658">
                  <c:v>10.701000000000001</c:v>
                </c:pt>
                <c:pt idx="7659">
                  <c:v>10.362</c:v>
                </c:pt>
                <c:pt idx="7660">
                  <c:v>10.442</c:v>
                </c:pt>
                <c:pt idx="7661">
                  <c:v>10.86</c:v>
                </c:pt>
                <c:pt idx="7662">
                  <c:v>12.925999999999998</c:v>
                </c:pt>
                <c:pt idx="7663">
                  <c:v>14.416</c:v>
                </c:pt>
                <c:pt idx="7664">
                  <c:v>15.777000000000001</c:v>
                </c:pt>
                <c:pt idx="7665">
                  <c:v>15.086000000000002</c:v>
                </c:pt>
                <c:pt idx="7666">
                  <c:v>13.884</c:v>
                </c:pt>
                <c:pt idx="7667">
                  <c:v>13.508000000000001</c:v>
                </c:pt>
                <c:pt idx="7668">
                  <c:v>12.173999999999999</c:v>
                </c:pt>
                <c:pt idx="7669">
                  <c:v>12.18</c:v>
                </c:pt>
                <c:pt idx="7670">
                  <c:v>13.188999999999998</c:v>
                </c:pt>
                <c:pt idx="7671">
                  <c:v>14.175000000000001</c:v>
                </c:pt>
                <c:pt idx="7672">
                  <c:v>13.395</c:v>
                </c:pt>
                <c:pt idx="7673">
                  <c:v>13.625999999999999</c:v>
                </c:pt>
                <c:pt idx="7674">
                  <c:v>13.477</c:v>
                </c:pt>
                <c:pt idx="7675">
                  <c:v>12.838999999999999</c:v>
                </c:pt>
                <c:pt idx="7676">
                  <c:v>11.573</c:v>
                </c:pt>
                <c:pt idx="7677">
                  <c:v>11.074</c:v>
                </c:pt>
                <c:pt idx="7678">
                  <c:v>10.818999999999999</c:v>
                </c:pt>
                <c:pt idx="7679">
                  <c:v>9.8099999999999987</c:v>
                </c:pt>
                <c:pt idx="7680">
                  <c:v>10.192</c:v>
                </c:pt>
                <c:pt idx="7681">
                  <c:v>9.543000000000001</c:v>
                </c:pt>
                <c:pt idx="7682">
                  <c:v>8.9870000000000001</c:v>
                </c:pt>
                <c:pt idx="7683">
                  <c:v>8.657</c:v>
                </c:pt>
                <c:pt idx="7684">
                  <c:v>8.8810000000000002</c:v>
                </c:pt>
                <c:pt idx="7685">
                  <c:v>8.6950000000000003</c:v>
                </c:pt>
                <c:pt idx="7686">
                  <c:v>7.3819999999999997</c:v>
                </c:pt>
                <c:pt idx="7687">
                  <c:v>9.01</c:v>
                </c:pt>
                <c:pt idx="7688">
                  <c:v>10.475</c:v>
                </c:pt>
                <c:pt idx="7689">
                  <c:v>10.977</c:v>
                </c:pt>
                <c:pt idx="7690">
                  <c:v>10.76</c:v>
                </c:pt>
                <c:pt idx="7691">
                  <c:v>9.9030000000000005</c:v>
                </c:pt>
                <c:pt idx="7692">
                  <c:v>9.6980000000000004</c:v>
                </c:pt>
                <c:pt idx="7693">
                  <c:v>9.6969999999999992</c:v>
                </c:pt>
                <c:pt idx="7694">
                  <c:v>9.3719999999999999</c:v>
                </c:pt>
                <c:pt idx="7695">
                  <c:v>10.022</c:v>
                </c:pt>
                <c:pt idx="7696">
                  <c:v>10.898999999999999</c:v>
                </c:pt>
                <c:pt idx="7697">
                  <c:v>11.893000000000001</c:v>
                </c:pt>
                <c:pt idx="7698">
                  <c:v>11.495000000000001</c:v>
                </c:pt>
                <c:pt idx="7699">
                  <c:v>10.418000000000001</c:v>
                </c:pt>
                <c:pt idx="7700">
                  <c:v>8.2669999999999995</c:v>
                </c:pt>
                <c:pt idx="7701">
                  <c:v>7.2819999999999991</c:v>
                </c:pt>
                <c:pt idx="7702">
                  <c:v>7.383</c:v>
                </c:pt>
                <c:pt idx="7703">
                  <c:v>6.5670000000000002</c:v>
                </c:pt>
                <c:pt idx="7704">
                  <c:v>8.01</c:v>
                </c:pt>
                <c:pt idx="7705">
                  <c:v>6.9279999999999999</c:v>
                </c:pt>
                <c:pt idx="7706">
                  <c:v>7.2480000000000002</c:v>
                </c:pt>
                <c:pt idx="7707">
                  <c:v>5.8719999999999999</c:v>
                </c:pt>
                <c:pt idx="7708">
                  <c:v>4.2</c:v>
                </c:pt>
                <c:pt idx="7709">
                  <c:v>3.4810000000000003</c:v>
                </c:pt>
                <c:pt idx="7710">
                  <c:v>4.2359999999999998</c:v>
                </c:pt>
                <c:pt idx="7711">
                  <c:v>6.069</c:v>
                </c:pt>
                <c:pt idx="7712">
                  <c:v>6.4799999999999995</c:v>
                </c:pt>
                <c:pt idx="7713">
                  <c:v>6.5400000000000009</c:v>
                </c:pt>
                <c:pt idx="7714">
                  <c:v>6.83</c:v>
                </c:pt>
                <c:pt idx="7715">
                  <c:v>6.479000000000001</c:v>
                </c:pt>
                <c:pt idx="7716">
                  <c:v>5.49</c:v>
                </c:pt>
                <c:pt idx="7717">
                  <c:v>4.6859999999999999</c:v>
                </c:pt>
                <c:pt idx="7718">
                  <c:v>6.125</c:v>
                </c:pt>
                <c:pt idx="7719">
                  <c:v>6.4799999999999995</c:v>
                </c:pt>
                <c:pt idx="7720">
                  <c:v>7.01</c:v>
                </c:pt>
                <c:pt idx="7721">
                  <c:v>10.284000000000001</c:v>
                </c:pt>
                <c:pt idx="7722">
                  <c:v>8.07</c:v>
                </c:pt>
                <c:pt idx="7723">
                  <c:v>6.5400000000000009</c:v>
                </c:pt>
                <c:pt idx="7724">
                  <c:v>5.7409999999999997</c:v>
                </c:pt>
                <c:pt idx="7725">
                  <c:v>6.479000000000001</c:v>
                </c:pt>
                <c:pt idx="7726">
                  <c:v>6.8760000000000003</c:v>
                </c:pt>
                <c:pt idx="7727">
                  <c:v>6.202</c:v>
                </c:pt>
                <c:pt idx="7728">
                  <c:v>6.5419999999999998</c:v>
                </c:pt>
                <c:pt idx="7729">
                  <c:v>6.4390000000000001</c:v>
                </c:pt>
                <c:pt idx="7730">
                  <c:v>5.9859999999999998</c:v>
                </c:pt>
                <c:pt idx="7731">
                  <c:v>4.2389999999999999</c:v>
                </c:pt>
                <c:pt idx="7732">
                  <c:v>5.8170000000000002</c:v>
                </c:pt>
                <c:pt idx="7733">
                  <c:v>7.423</c:v>
                </c:pt>
                <c:pt idx="7734">
                  <c:v>9.5549999999999997</c:v>
                </c:pt>
                <c:pt idx="7735">
                  <c:v>12.166</c:v>
                </c:pt>
                <c:pt idx="7736">
                  <c:v>12.190999999999999</c:v>
                </c:pt>
                <c:pt idx="7737">
                  <c:v>11.956</c:v>
                </c:pt>
                <c:pt idx="7738">
                  <c:v>11.151</c:v>
                </c:pt>
                <c:pt idx="7739">
                  <c:v>9.298</c:v>
                </c:pt>
                <c:pt idx="7740">
                  <c:v>7.95</c:v>
                </c:pt>
                <c:pt idx="7741">
                  <c:v>9.4130000000000003</c:v>
                </c:pt>
                <c:pt idx="7742">
                  <c:v>10.952</c:v>
                </c:pt>
                <c:pt idx="7743">
                  <c:v>11.998000000000001</c:v>
                </c:pt>
                <c:pt idx="7744">
                  <c:v>13.247999999999999</c:v>
                </c:pt>
                <c:pt idx="7745">
                  <c:v>15.99</c:v>
                </c:pt>
                <c:pt idx="7746">
                  <c:v>16.181999999999999</c:v>
                </c:pt>
                <c:pt idx="7747">
                  <c:v>15.296000000000001</c:v>
                </c:pt>
                <c:pt idx="7748">
                  <c:v>12.894</c:v>
                </c:pt>
                <c:pt idx="7749">
                  <c:v>11.762</c:v>
                </c:pt>
                <c:pt idx="7750">
                  <c:v>11.699</c:v>
                </c:pt>
                <c:pt idx="7751">
                  <c:v>10.870000000000001</c:v>
                </c:pt>
                <c:pt idx="7752">
                  <c:v>10.706</c:v>
                </c:pt>
                <c:pt idx="7753">
                  <c:v>10.14</c:v>
                </c:pt>
                <c:pt idx="7754">
                  <c:v>9.5579999999999998</c:v>
                </c:pt>
                <c:pt idx="7755">
                  <c:v>9.173</c:v>
                </c:pt>
                <c:pt idx="7756">
                  <c:v>9.5280000000000005</c:v>
                </c:pt>
                <c:pt idx="7757">
                  <c:v>9.8730000000000011</c:v>
                </c:pt>
                <c:pt idx="7758">
                  <c:v>11.626999999999999</c:v>
                </c:pt>
                <c:pt idx="7759">
                  <c:v>13.159000000000001</c:v>
                </c:pt>
                <c:pt idx="7760">
                  <c:v>15.506</c:v>
                </c:pt>
                <c:pt idx="7761">
                  <c:v>15.757</c:v>
                </c:pt>
                <c:pt idx="7762">
                  <c:v>15.625999999999999</c:v>
                </c:pt>
                <c:pt idx="7763">
                  <c:v>15.281000000000001</c:v>
                </c:pt>
                <c:pt idx="7764">
                  <c:v>14.818999999999999</c:v>
                </c:pt>
                <c:pt idx="7765">
                  <c:v>14.413999999999998</c:v>
                </c:pt>
                <c:pt idx="7766">
                  <c:v>14.015000000000001</c:v>
                </c:pt>
                <c:pt idx="7767">
                  <c:v>12.878</c:v>
                </c:pt>
                <c:pt idx="7768">
                  <c:v>13.288999999999998</c:v>
                </c:pt>
                <c:pt idx="7769">
                  <c:v>14.019</c:v>
                </c:pt>
                <c:pt idx="7770">
                  <c:v>13.465</c:v>
                </c:pt>
                <c:pt idx="7771">
                  <c:v>12.593</c:v>
                </c:pt>
                <c:pt idx="7772">
                  <c:v>11.709999999999999</c:v>
                </c:pt>
                <c:pt idx="7773">
                  <c:v>10.937000000000001</c:v>
                </c:pt>
                <c:pt idx="7774">
                  <c:v>10.525</c:v>
                </c:pt>
                <c:pt idx="7775">
                  <c:v>8.984</c:v>
                </c:pt>
                <c:pt idx="7776">
                  <c:v>10.013999999999999</c:v>
                </c:pt>
                <c:pt idx="7777">
                  <c:v>9.1999999999999993</c:v>
                </c:pt>
                <c:pt idx="7778">
                  <c:v>8.66</c:v>
                </c:pt>
                <c:pt idx="7779">
                  <c:v>8.1519999999999992</c:v>
                </c:pt>
                <c:pt idx="7780">
                  <c:v>8.1959999999999997</c:v>
                </c:pt>
                <c:pt idx="7781">
                  <c:v>9.3290000000000006</c:v>
                </c:pt>
                <c:pt idx="7782">
                  <c:v>10.754999999999999</c:v>
                </c:pt>
                <c:pt idx="7783">
                  <c:v>13.562000000000001</c:v>
                </c:pt>
                <c:pt idx="7784">
                  <c:v>14.287000000000001</c:v>
                </c:pt>
                <c:pt idx="7785">
                  <c:v>14.009</c:v>
                </c:pt>
                <c:pt idx="7786">
                  <c:v>12.035</c:v>
                </c:pt>
                <c:pt idx="7787">
                  <c:v>10.776999999999999</c:v>
                </c:pt>
                <c:pt idx="7788">
                  <c:v>9.7260000000000009</c:v>
                </c:pt>
                <c:pt idx="7789">
                  <c:v>9.7360000000000007</c:v>
                </c:pt>
                <c:pt idx="7790">
                  <c:v>10.664</c:v>
                </c:pt>
                <c:pt idx="7791">
                  <c:v>13.084</c:v>
                </c:pt>
                <c:pt idx="7792">
                  <c:v>13.509</c:v>
                </c:pt>
                <c:pt idx="7793">
                  <c:v>14.2</c:v>
                </c:pt>
                <c:pt idx="7794">
                  <c:v>14.258000000000001</c:v>
                </c:pt>
                <c:pt idx="7795">
                  <c:v>14.026</c:v>
                </c:pt>
                <c:pt idx="7796">
                  <c:v>13.597999999999999</c:v>
                </c:pt>
                <c:pt idx="7797">
                  <c:v>12.305</c:v>
                </c:pt>
                <c:pt idx="7798">
                  <c:v>11.641999999999999</c:v>
                </c:pt>
                <c:pt idx="7799">
                  <c:v>10.35</c:v>
                </c:pt>
                <c:pt idx="7800">
                  <c:v>9.395999999999999</c:v>
                </c:pt>
                <c:pt idx="7801">
                  <c:v>9.0400000000000009</c:v>
                </c:pt>
                <c:pt idx="7802">
                  <c:v>8.68</c:v>
                </c:pt>
                <c:pt idx="7803">
                  <c:v>8.4150000000000009</c:v>
                </c:pt>
                <c:pt idx="7804">
                  <c:v>8.423</c:v>
                </c:pt>
                <c:pt idx="7805">
                  <c:v>9.2480000000000011</c:v>
                </c:pt>
                <c:pt idx="7806">
                  <c:v>10.717000000000001</c:v>
                </c:pt>
                <c:pt idx="7807">
                  <c:v>12.144</c:v>
                </c:pt>
                <c:pt idx="7808">
                  <c:v>13.299000000000001</c:v>
                </c:pt>
                <c:pt idx="7809">
                  <c:v>13.497999999999999</c:v>
                </c:pt>
                <c:pt idx="7810">
                  <c:v>12.733000000000001</c:v>
                </c:pt>
                <c:pt idx="7811">
                  <c:v>11.547000000000001</c:v>
                </c:pt>
                <c:pt idx="7812">
                  <c:v>11.356999999999999</c:v>
                </c:pt>
                <c:pt idx="7813">
                  <c:v>12.083</c:v>
                </c:pt>
                <c:pt idx="7814">
                  <c:v>14.162000000000001</c:v>
                </c:pt>
                <c:pt idx="7815">
                  <c:v>15.484999999999999</c:v>
                </c:pt>
                <c:pt idx="7816">
                  <c:v>17.497</c:v>
                </c:pt>
                <c:pt idx="7817">
                  <c:v>18.225999999999999</c:v>
                </c:pt>
                <c:pt idx="7818">
                  <c:v>16.134</c:v>
                </c:pt>
                <c:pt idx="7819">
                  <c:v>15.405000000000001</c:v>
                </c:pt>
                <c:pt idx="7820">
                  <c:v>13.133000000000001</c:v>
                </c:pt>
                <c:pt idx="7821">
                  <c:v>12.305</c:v>
                </c:pt>
                <c:pt idx="7822">
                  <c:v>12.290000000000001</c:v>
                </c:pt>
                <c:pt idx="7823">
                  <c:v>10.745999999999999</c:v>
                </c:pt>
                <c:pt idx="7824">
                  <c:v>11.612</c:v>
                </c:pt>
                <c:pt idx="7825">
                  <c:v>10.620999999999999</c:v>
                </c:pt>
                <c:pt idx="7826">
                  <c:v>9.7850000000000001</c:v>
                </c:pt>
                <c:pt idx="7827">
                  <c:v>9.1370000000000005</c:v>
                </c:pt>
                <c:pt idx="7828">
                  <c:v>8.8650000000000002</c:v>
                </c:pt>
                <c:pt idx="7829">
                  <c:v>9.2159999999999993</c:v>
                </c:pt>
                <c:pt idx="7830">
                  <c:v>11.706</c:v>
                </c:pt>
                <c:pt idx="7831">
                  <c:v>13.530000000000001</c:v>
                </c:pt>
                <c:pt idx="7832">
                  <c:v>14.408000000000001</c:v>
                </c:pt>
                <c:pt idx="7833">
                  <c:v>14.158000000000001</c:v>
                </c:pt>
                <c:pt idx="7834">
                  <c:v>13.574999999999999</c:v>
                </c:pt>
                <c:pt idx="7835">
                  <c:v>11.684000000000001</c:v>
                </c:pt>
                <c:pt idx="7836">
                  <c:v>10.513999999999999</c:v>
                </c:pt>
                <c:pt idx="7837">
                  <c:v>9.5229999999999997</c:v>
                </c:pt>
                <c:pt idx="7838">
                  <c:v>9.6180000000000003</c:v>
                </c:pt>
                <c:pt idx="7839">
                  <c:v>10.623999999999999</c:v>
                </c:pt>
                <c:pt idx="7840">
                  <c:v>11.120999999999999</c:v>
                </c:pt>
                <c:pt idx="7841">
                  <c:v>12.843999999999999</c:v>
                </c:pt>
                <c:pt idx="7842">
                  <c:v>13.428000000000001</c:v>
                </c:pt>
                <c:pt idx="7843">
                  <c:v>12.88</c:v>
                </c:pt>
                <c:pt idx="7844">
                  <c:v>10.620999999999999</c:v>
                </c:pt>
                <c:pt idx="7845">
                  <c:v>10.635</c:v>
                </c:pt>
                <c:pt idx="7846">
                  <c:v>9.3249999999999993</c:v>
                </c:pt>
                <c:pt idx="7847">
                  <c:v>7.7</c:v>
                </c:pt>
                <c:pt idx="7848">
                  <c:v>8</c:v>
                </c:pt>
                <c:pt idx="7849">
                  <c:v>7.6870000000000003</c:v>
                </c:pt>
                <c:pt idx="7850">
                  <c:v>7.7879999999999994</c:v>
                </c:pt>
                <c:pt idx="7851">
                  <c:v>7.9040000000000008</c:v>
                </c:pt>
                <c:pt idx="7852">
                  <c:v>7.9349999999999996</c:v>
                </c:pt>
                <c:pt idx="7853">
                  <c:v>8.2540000000000013</c:v>
                </c:pt>
                <c:pt idx="7854">
                  <c:v>8.2050000000000001</c:v>
                </c:pt>
                <c:pt idx="7855">
                  <c:v>8.9269999999999996</c:v>
                </c:pt>
                <c:pt idx="7856">
                  <c:v>9.7480000000000011</c:v>
                </c:pt>
                <c:pt idx="7857">
                  <c:v>8.5620000000000012</c:v>
                </c:pt>
                <c:pt idx="7858">
                  <c:v>7.854000000000001</c:v>
                </c:pt>
                <c:pt idx="7859">
                  <c:v>7.35</c:v>
                </c:pt>
                <c:pt idx="7860">
                  <c:v>7.12</c:v>
                </c:pt>
                <c:pt idx="7861">
                  <c:v>7.5849999999999991</c:v>
                </c:pt>
                <c:pt idx="7862">
                  <c:v>8.5680000000000014</c:v>
                </c:pt>
                <c:pt idx="7863">
                  <c:v>10.455</c:v>
                </c:pt>
                <c:pt idx="7864">
                  <c:v>8.7309999999999999</c:v>
                </c:pt>
                <c:pt idx="7865">
                  <c:v>9.5560000000000009</c:v>
                </c:pt>
                <c:pt idx="7866">
                  <c:v>8.6080000000000005</c:v>
                </c:pt>
                <c:pt idx="7867">
                  <c:v>7.1</c:v>
                </c:pt>
                <c:pt idx="7868">
                  <c:v>5.9550000000000001</c:v>
                </c:pt>
                <c:pt idx="7869">
                  <c:v>4.8029999999999999</c:v>
                </c:pt>
                <c:pt idx="7870">
                  <c:v>3.91</c:v>
                </c:pt>
                <c:pt idx="7871">
                  <c:v>1.8460000000000001</c:v>
                </c:pt>
                <c:pt idx="7872">
                  <c:v>0.10100000000000001</c:v>
                </c:pt>
                <c:pt idx="7873">
                  <c:v>0</c:v>
                </c:pt>
                <c:pt idx="7874">
                  <c:v>0</c:v>
                </c:pt>
                <c:pt idx="7875">
                  <c:v>-1E-3</c:v>
                </c:pt>
                <c:pt idx="7876">
                  <c:v>-2E-3</c:v>
                </c:pt>
                <c:pt idx="7877">
                  <c:v>-3.0000000000000001E-3</c:v>
                </c:pt>
                <c:pt idx="7878">
                  <c:v>-5.0000000000000001E-3</c:v>
                </c:pt>
                <c:pt idx="7879">
                  <c:v>-3.0000000000000001E-3</c:v>
                </c:pt>
                <c:pt idx="7880">
                  <c:v>0.13700000000000001</c:v>
                </c:pt>
                <c:pt idx="7881">
                  <c:v>0.375</c:v>
                </c:pt>
                <c:pt idx="7882">
                  <c:v>0.20699999999999999</c:v>
                </c:pt>
                <c:pt idx="7883">
                  <c:v>0.253</c:v>
                </c:pt>
                <c:pt idx="7884">
                  <c:v>0.10100000000000001</c:v>
                </c:pt>
                <c:pt idx="7885">
                  <c:v>0.10100000000000001</c:v>
                </c:pt>
                <c:pt idx="7886">
                  <c:v>0.311</c:v>
                </c:pt>
                <c:pt idx="7887">
                  <c:v>0.66100000000000003</c:v>
                </c:pt>
                <c:pt idx="7888">
                  <c:v>1.399</c:v>
                </c:pt>
                <c:pt idx="7889">
                  <c:v>1.552</c:v>
                </c:pt>
                <c:pt idx="7890">
                  <c:v>1.6179999999999999</c:v>
                </c:pt>
                <c:pt idx="7891">
                  <c:v>1.202</c:v>
                </c:pt>
                <c:pt idx="7892">
                  <c:v>0.74</c:v>
                </c:pt>
                <c:pt idx="7893">
                  <c:v>0.45</c:v>
                </c:pt>
                <c:pt idx="7894">
                  <c:v>0.32700000000000001</c:v>
                </c:pt>
                <c:pt idx="7895">
                  <c:v>1E-3</c:v>
                </c:pt>
                <c:pt idx="7896">
                  <c:v>-0.125</c:v>
                </c:pt>
                <c:pt idx="7897">
                  <c:v>-0.159</c:v>
                </c:pt>
                <c:pt idx="7898">
                  <c:v>-0.14199999999999999</c:v>
                </c:pt>
                <c:pt idx="7899">
                  <c:v>-0.186</c:v>
                </c:pt>
                <c:pt idx="7900">
                  <c:v>-0.14199999999999999</c:v>
                </c:pt>
                <c:pt idx="7901">
                  <c:v>-2.8000000000000004E-2</c:v>
                </c:pt>
                <c:pt idx="7902">
                  <c:v>8.9999999999999993E-3</c:v>
                </c:pt>
                <c:pt idx="7903">
                  <c:v>5.4380000000000006</c:v>
                </c:pt>
                <c:pt idx="7904">
                  <c:v>7.7010000000000005</c:v>
                </c:pt>
                <c:pt idx="7905">
                  <c:v>6.6569999999999991</c:v>
                </c:pt>
                <c:pt idx="7906">
                  <c:v>4.2549999999999999</c:v>
                </c:pt>
                <c:pt idx="7907">
                  <c:v>4.1369999999999996</c:v>
                </c:pt>
                <c:pt idx="7908">
                  <c:v>4</c:v>
                </c:pt>
                <c:pt idx="7909">
                  <c:v>5.7159999999999993</c:v>
                </c:pt>
                <c:pt idx="7910">
                  <c:v>6.7969999999999997</c:v>
                </c:pt>
                <c:pt idx="7911">
                  <c:v>9.4989999999999988</c:v>
                </c:pt>
                <c:pt idx="7912">
                  <c:v>9.2579999999999991</c:v>
                </c:pt>
                <c:pt idx="7913">
                  <c:v>11.608000000000001</c:v>
                </c:pt>
                <c:pt idx="7914">
                  <c:v>12.8</c:v>
                </c:pt>
                <c:pt idx="7915">
                  <c:v>11.8</c:v>
                </c:pt>
                <c:pt idx="7916">
                  <c:v>9.4730000000000008</c:v>
                </c:pt>
                <c:pt idx="7917">
                  <c:v>8.1260000000000012</c:v>
                </c:pt>
                <c:pt idx="7918">
                  <c:v>8.6260000000000012</c:v>
                </c:pt>
                <c:pt idx="7919">
                  <c:v>6.9169999999999998</c:v>
                </c:pt>
                <c:pt idx="7920">
                  <c:v>8.9529999999999994</c:v>
                </c:pt>
                <c:pt idx="7921">
                  <c:v>7.7989999999999995</c:v>
                </c:pt>
                <c:pt idx="7922">
                  <c:v>7.766</c:v>
                </c:pt>
                <c:pt idx="7923">
                  <c:v>7.0549999999999997</c:v>
                </c:pt>
                <c:pt idx="7924">
                  <c:v>7.2720000000000002</c:v>
                </c:pt>
                <c:pt idx="7925">
                  <c:v>8.2260000000000009</c:v>
                </c:pt>
                <c:pt idx="7926">
                  <c:v>10.145</c:v>
                </c:pt>
                <c:pt idx="7927">
                  <c:v>13.09</c:v>
                </c:pt>
                <c:pt idx="7928">
                  <c:v>13.784000000000001</c:v>
                </c:pt>
                <c:pt idx="7929">
                  <c:v>12.709</c:v>
                </c:pt>
                <c:pt idx="7930">
                  <c:v>11.209</c:v>
                </c:pt>
                <c:pt idx="7931">
                  <c:v>10</c:v>
                </c:pt>
                <c:pt idx="7932">
                  <c:v>9.09</c:v>
                </c:pt>
                <c:pt idx="7933">
                  <c:v>10.206999999999999</c:v>
                </c:pt>
                <c:pt idx="7934">
                  <c:v>11.61</c:v>
                </c:pt>
                <c:pt idx="7935">
                  <c:v>12.395</c:v>
                </c:pt>
                <c:pt idx="7936">
                  <c:v>14.309999999999999</c:v>
                </c:pt>
                <c:pt idx="7937">
                  <c:v>15.552000000000001</c:v>
                </c:pt>
                <c:pt idx="7938">
                  <c:v>16.091000000000001</c:v>
                </c:pt>
                <c:pt idx="7939">
                  <c:v>15.327999999999999</c:v>
                </c:pt>
                <c:pt idx="7940">
                  <c:v>12.638</c:v>
                </c:pt>
                <c:pt idx="7941">
                  <c:v>11.823</c:v>
                </c:pt>
                <c:pt idx="7942">
                  <c:v>12.212999999999999</c:v>
                </c:pt>
                <c:pt idx="7943">
                  <c:v>11.334</c:v>
                </c:pt>
                <c:pt idx="7944">
                  <c:v>10.474</c:v>
                </c:pt>
                <c:pt idx="7945">
                  <c:v>10.628</c:v>
                </c:pt>
                <c:pt idx="7946">
                  <c:v>11</c:v>
                </c:pt>
                <c:pt idx="7947">
                  <c:v>11.145999999999999</c:v>
                </c:pt>
                <c:pt idx="7948">
                  <c:v>11.465999999999999</c:v>
                </c:pt>
                <c:pt idx="7949">
                  <c:v>12.391999999999999</c:v>
                </c:pt>
                <c:pt idx="7950">
                  <c:v>14.05</c:v>
                </c:pt>
                <c:pt idx="7951">
                  <c:v>16</c:v>
                </c:pt>
                <c:pt idx="7952">
                  <c:v>18.484000000000002</c:v>
                </c:pt>
                <c:pt idx="7953">
                  <c:v>16.445</c:v>
                </c:pt>
                <c:pt idx="7954">
                  <c:v>15.309999999999999</c:v>
                </c:pt>
                <c:pt idx="7955">
                  <c:v>15</c:v>
                </c:pt>
                <c:pt idx="7956">
                  <c:v>14.565999999999999</c:v>
                </c:pt>
                <c:pt idx="7957">
                  <c:v>14.049000000000001</c:v>
                </c:pt>
                <c:pt idx="7958">
                  <c:v>13.009</c:v>
                </c:pt>
                <c:pt idx="7959">
                  <c:v>13.169999999999998</c:v>
                </c:pt>
                <c:pt idx="7960">
                  <c:v>11.756</c:v>
                </c:pt>
                <c:pt idx="7961">
                  <c:v>11.023999999999999</c:v>
                </c:pt>
                <c:pt idx="7962">
                  <c:v>11.229000000000001</c:v>
                </c:pt>
                <c:pt idx="7963">
                  <c:v>10.184000000000001</c:v>
                </c:pt>
                <c:pt idx="7964">
                  <c:v>7.8140000000000001</c:v>
                </c:pt>
                <c:pt idx="7965">
                  <c:v>7.1859999999999999</c:v>
                </c:pt>
                <c:pt idx="7966">
                  <c:v>6.7050000000000001</c:v>
                </c:pt>
                <c:pt idx="7967">
                  <c:v>4.8780000000000001</c:v>
                </c:pt>
                <c:pt idx="7968">
                  <c:v>4.9210000000000003</c:v>
                </c:pt>
                <c:pt idx="7969">
                  <c:v>4.1210000000000004</c:v>
                </c:pt>
                <c:pt idx="7970">
                  <c:v>3.2950000000000004</c:v>
                </c:pt>
                <c:pt idx="7971">
                  <c:v>3.2079999999999997</c:v>
                </c:pt>
                <c:pt idx="7972">
                  <c:v>3.169</c:v>
                </c:pt>
                <c:pt idx="7973">
                  <c:v>5.2290000000000001</c:v>
                </c:pt>
                <c:pt idx="7974">
                  <c:v>6.4980000000000002</c:v>
                </c:pt>
                <c:pt idx="7975">
                  <c:v>8.8129999999999988</c:v>
                </c:pt>
                <c:pt idx="7976">
                  <c:v>10.741</c:v>
                </c:pt>
                <c:pt idx="7977">
                  <c:v>10.741</c:v>
                </c:pt>
                <c:pt idx="7978">
                  <c:v>9.2099999999999991</c:v>
                </c:pt>
                <c:pt idx="7979">
                  <c:v>9.870000000000001</c:v>
                </c:pt>
                <c:pt idx="7980">
                  <c:v>9.6159999999999997</c:v>
                </c:pt>
                <c:pt idx="7981">
                  <c:v>9.668000000000001</c:v>
                </c:pt>
                <c:pt idx="7982">
                  <c:v>9.7859999999999996</c:v>
                </c:pt>
                <c:pt idx="7983">
                  <c:v>11.159000000000001</c:v>
                </c:pt>
                <c:pt idx="7984">
                  <c:v>13.262</c:v>
                </c:pt>
                <c:pt idx="7985">
                  <c:v>14.933000000000002</c:v>
                </c:pt>
                <c:pt idx="7986">
                  <c:v>15.822999999999999</c:v>
                </c:pt>
                <c:pt idx="7987">
                  <c:v>15.391</c:v>
                </c:pt>
                <c:pt idx="7988">
                  <c:v>14.397</c:v>
                </c:pt>
                <c:pt idx="7989">
                  <c:v>13.249000000000001</c:v>
                </c:pt>
                <c:pt idx="7990">
                  <c:v>12.215999999999999</c:v>
                </c:pt>
                <c:pt idx="7991">
                  <c:v>11.26</c:v>
                </c:pt>
                <c:pt idx="7992">
                  <c:v>11.03</c:v>
                </c:pt>
                <c:pt idx="7993">
                  <c:v>10.701000000000001</c:v>
                </c:pt>
                <c:pt idx="7994">
                  <c:v>10.347</c:v>
                </c:pt>
                <c:pt idx="7995">
                  <c:v>10.28</c:v>
                </c:pt>
                <c:pt idx="7996">
                  <c:v>10.53</c:v>
                </c:pt>
                <c:pt idx="7997">
                  <c:v>11.528</c:v>
                </c:pt>
                <c:pt idx="7998">
                  <c:v>14.51</c:v>
                </c:pt>
                <c:pt idx="7999">
                  <c:v>16.928000000000001</c:v>
                </c:pt>
                <c:pt idx="8000">
                  <c:v>18.134999999999998</c:v>
                </c:pt>
                <c:pt idx="8001">
                  <c:v>16.249000000000002</c:v>
                </c:pt>
                <c:pt idx="8002">
                  <c:v>14.300999999999998</c:v>
                </c:pt>
                <c:pt idx="8003">
                  <c:v>13.64</c:v>
                </c:pt>
                <c:pt idx="8004">
                  <c:v>12.659000000000001</c:v>
                </c:pt>
                <c:pt idx="8005">
                  <c:v>11.95</c:v>
                </c:pt>
                <c:pt idx="8006">
                  <c:v>12.958000000000002</c:v>
                </c:pt>
                <c:pt idx="8007">
                  <c:v>14.102</c:v>
                </c:pt>
                <c:pt idx="8008">
                  <c:v>15.200999999999999</c:v>
                </c:pt>
                <c:pt idx="8009">
                  <c:v>15.044</c:v>
                </c:pt>
                <c:pt idx="8010">
                  <c:v>14.202999999999999</c:v>
                </c:pt>
                <c:pt idx="8011">
                  <c:v>13.081</c:v>
                </c:pt>
                <c:pt idx="8012">
                  <c:v>11.99</c:v>
                </c:pt>
                <c:pt idx="8013">
                  <c:v>11.51</c:v>
                </c:pt>
                <c:pt idx="8014">
                  <c:v>11.373000000000001</c:v>
                </c:pt>
                <c:pt idx="8015">
                  <c:v>10.345000000000001</c:v>
                </c:pt>
                <c:pt idx="8016">
                  <c:v>9.8829999999999991</c:v>
                </c:pt>
                <c:pt idx="8017">
                  <c:v>9.1999999999999993</c:v>
                </c:pt>
                <c:pt idx="8018">
                  <c:v>8.9689999999999994</c:v>
                </c:pt>
                <c:pt idx="8019">
                  <c:v>8.6900000000000013</c:v>
                </c:pt>
                <c:pt idx="8020">
                  <c:v>8.8180000000000014</c:v>
                </c:pt>
                <c:pt idx="8021">
                  <c:v>9.0180000000000007</c:v>
                </c:pt>
                <c:pt idx="8022">
                  <c:v>8.89</c:v>
                </c:pt>
                <c:pt idx="8023">
                  <c:v>10.306000000000001</c:v>
                </c:pt>
                <c:pt idx="8024">
                  <c:v>10.739000000000001</c:v>
                </c:pt>
                <c:pt idx="8025">
                  <c:v>9.1170000000000009</c:v>
                </c:pt>
                <c:pt idx="8026">
                  <c:v>8.52</c:v>
                </c:pt>
                <c:pt idx="8027">
                  <c:v>8.6120000000000001</c:v>
                </c:pt>
                <c:pt idx="8028">
                  <c:v>8.77</c:v>
                </c:pt>
                <c:pt idx="8029">
                  <c:v>9.0030000000000001</c:v>
                </c:pt>
                <c:pt idx="8030">
                  <c:v>9.3349999999999991</c:v>
                </c:pt>
                <c:pt idx="8031">
                  <c:v>12.434000000000001</c:v>
                </c:pt>
                <c:pt idx="8032">
                  <c:v>13.288999999999998</c:v>
                </c:pt>
                <c:pt idx="8033">
                  <c:v>13.693999999999999</c:v>
                </c:pt>
                <c:pt idx="8034">
                  <c:v>13.59</c:v>
                </c:pt>
                <c:pt idx="8035">
                  <c:v>13.196000000000002</c:v>
                </c:pt>
                <c:pt idx="8036">
                  <c:v>12.451000000000001</c:v>
                </c:pt>
                <c:pt idx="8037">
                  <c:v>11.507999999999999</c:v>
                </c:pt>
                <c:pt idx="8038">
                  <c:v>11.478</c:v>
                </c:pt>
                <c:pt idx="8039">
                  <c:v>10.667</c:v>
                </c:pt>
                <c:pt idx="8040">
                  <c:v>9.9659999999999993</c:v>
                </c:pt>
                <c:pt idx="8041">
                  <c:v>9.0010000000000012</c:v>
                </c:pt>
                <c:pt idx="8042">
                  <c:v>8.8140000000000001</c:v>
                </c:pt>
                <c:pt idx="8043">
                  <c:v>8.57</c:v>
                </c:pt>
                <c:pt idx="8044">
                  <c:v>8.48</c:v>
                </c:pt>
                <c:pt idx="8045">
                  <c:v>8.5310000000000006</c:v>
                </c:pt>
                <c:pt idx="8046">
                  <c:v>8.4430000000000014</c:v>
                </c:pt>
                <c:pt idx="8047">
                  <c:v>8.9969999999999999</c:v>
                </c:pt>
                <c:pt idx="8048">
                  <c:v>9.9640000000000004</c:v>
                </c:pt>
                <c:pt idx="8049">
                  <c:v>9.4599999999999991</c:v>
                </c:pt>
                <c:pt idx="8050">
                  <c:v>8.93</c:v>
                </c:pt>
                <c:pt idx="8051">
                  <c:v>8.2379999999999995</c:v>
                </c:pt>
                <c:pt idx="8052">
                  <c:v>8.5250000000000004</c:v>
                </c:pt>
                <c:pt idx="8053">
                  <c:v>8.3079999999999998</c:v>
                </c:pt>
                <c:pt idx="8054">
                  <c:v>9.0609999999999999</c:v>
                </c:pt>
                <c:pt idx="8055">
                  <c:v>10.862</c:v>
                </c:pt>
                <c:pt idx="8056">
                  <c:v>12.153</c:v>
                </c:pt>
                <c:pt idx="8057">
                  <c:v>11.776999999999999</c:v>
                </c:pt>
                <c:pt idx="8058">
                  <c:v>12.151</c:v>
                </c:pt>
                <c:pt idx="8059">
                  <c:v>11.023</c:v>
                </c:pt>
                <c:pt idx="8060">
                  <c:v>9.1349999999999998</c:v>
                </c:pt>
                <c:pt idx="8061">
                  <c:v>8.4359999999999999</c:v>
                </c:pt>
                <c:pt idx="8062">
                  <c:v>9.6980000000000004</c:v>
                </c:pt>
                <c:pt idx="8063">
                  <c:v>8.5</c:v>
                </c:pt>
                <c:pt idx="8064">
                  <c:v>7.4769999999999994</c:v>
                </c:pt>
                <c:pt idx="8065">
                  <c:v>6.5780000000000003</c:v>
                </c:pt>
                <c:pt idx="8066">
                  <c:v>6.117</c:v>
                </c:pt>
                <c:pt idx="8067">
                  <c:v>4.6440000000000001</c:v>
                </c:pt>
                <c:pt idx="8068">
                  <c:v>5.0209999999999999</c:v>
                </c:pt>
                <c:pt idx="8069">
                  <c:v>6.9530000000000003</c:v>
                </c:pt>
                <c:pt idx="8070">
                  <c:v>9.2080000000000002</c:v>
                </c:pt>
                <c:pt idx="8071">
                  <c:v>12.525</c:v>
                </c:pt>
                <c:pt idx="8072">
                  <c:v>12.52</c:v>
                </c:pt>
                <c:pt idx="8073">
                  <c:v>12.363</c:v>
                </c:pt>
                <c:pt idx="8074">
                  <c:v>12.126999999999999</c:v>
                </c:pt>
                <c:pt idx="8075">
                  <c:v>11.58</c:v>
                </c:pt>
                <c:pt idx="8076">
                  <c:v>11.509</c:v>
                </c:pt>
                <c:pt idx="8077">
                  <c:v>12.76</c:v>
                </c:pt>
                <c:pt idx="8078">
                  <c:v>13.674000000000001</c:v>
                </c:pt>
                <c:pt idx="8079">
                  <c:v>14.404</c:v>
                </c:pt>
                <c:pt idx="8080">
                  <c:v>14.475</c:v>
                </c:pt>
                <c:pt idx="8081">
                  <c:v>14.768000000000001</c:v>
                </c:pt>
                <c:pt idx="8082">
                  <c:v>14.790000000000001</c:v>
                </c:pt>
                <c:pt idx="8083">
                  <c:v>13.8</c:v>
                </c:pt>
                <c:pt idx="8084">
                  <c:v>12.001000000000001</c:v>
                </c:pt>
                <c:pt idx="8085">
                  <c:v>11.268000000000001</c:v>
                </c:pt>
                <c:pt idx="8086">
                  <c:v>11.172000000000001</c:v>
                </c:pt>
                <c:pt idx="8087">
                  <c:v>10.221</c:v>
                </c:pt>
                <c:pt idx="8088">
                  <c:v>11.073</c:v>
                </c:pt>
                <c:pt idx="8089">
                  <c:v>10.305</c:v>
                </c:pt>
                <c:pt idx="8090">
                  <c:v>9.6280000000000001</c:v>
                </c:pt>
                <c:pt idx="8091">
                  <c:v>9.3219999999999992</c:v>
                </c:pt>
                <c:pt idx="8092">
                  <c:v>10.048</c:v>
                </c:pt>
                <c:pt idx="8093">
                  <c:v>10.809000000000001</c:v>
                </c:pt>
                <c:pt idx="8094">
                  <c:v>12.176</c:v>
                </c:pt>
                <c:pt idx="8095">
                  <c:v>14.238999999999999</c:v>
                </c:pt>
                <c:pt idx="8096">
                  <c:v>15.462</c:v>
                </c:pt>
                <c:pt idx="8097">
                  <c:v>15.009</c:v>
                </c:pt>
                <c:pt idx="8098">
                  <c:v>14.137</c:v>
                </c:pt>
                <c:pt idx="8099">
                  <c:v>13.922999999999998</c:v>
                </c:pt>
                <c:pt idx="8100">
                  <c:v>13.562000000000001</c:v>
                </c:pt>
                <c:pt idx="8101">
                  <c:v>14.241</c:v>
                </c:pt>
                <c:pt idx="8102">
                  <c:v>15.002000000000001</c:v>
                </c:pt>
                <c:pt idx="8103">
                  <c:v>16.893999999999998</c:v>
                </c:pt>
                <c:pt idx="8104">
                  <c:v>20.518000000000001</c:v>
                </c:pt>
                <c:pt idx="8105">
                  <c:v>21</c:v>
                </c:pt>
                <c:pt idx="8106">
                  <c:v>19.788</c:v>
                </c:pt>
                <c:pt idx="8107">
                  <c:v>18.983000000000001</c:v>
                </c:pt>
                <c:pt idx="8108">
                  <c:v>17.003999999999998</c:v>
                </c:pt>
                <c:pt idx="8109">
                  <c:v>15.361000000000001</c:v>
                </c:pt>
                <c:pt idx="8110">
                  <c:v>14.208000000000002</c:v>
                </c:pt>
                <c:pt idx="8111">
                  <c:v>13.081</c:v>
                </c:pt>
                <c:pt idx="8112">
                  <c:v>12.099</c:v>
                </c:pt>
                <c:pt idx="8113">
                  <c:v>11.666</c:v>
                </c:pt>
                <c:pt idx="8114">
                  <c:v>11.279</c:v>
                </c:pt>
                <c:pt idx="8115">
                  <c:v>11.019</c:v>
                </c:pt>
                <c:pt idx="8116">
                  <c:v>11.226000000000001</c:v>
                </c:pt>
                <c:pt idx="8117">
                  <c:v>12.090999999999999</c:v>
                </c:pt>
                <c:pt idx="8118">
                  <c:v>14.52</c:v>
                </c:pt>
                <c:pt idx="8119">
                  <c:v>20.975999999999999</c:v>
                </c:pt>
                <c:pt idx="8120">
                  <c:v>27.666000000000004</c:v>
                </c:pt>
                <c:pt idx="8121">
                  <c:v>25.076000000000001</c:v>
                </c:pt>
                <c:pt idx="8122">
                  <c:v>21.221</c:v>
                </c:pt>
                <c:pt idx="8123">
                  <c:v>19.895</c:v>
                </c:pt>
                <c:pt idx="8124">
                  <c:v>19.225000000000001</c:v>
                </c:pt>
                <c:pt idx="8125">
                  <c:v>19.981999999999999</c:v>
                </c:pt>
                <c:pt idx="8126">
                  <c:v>21.844000000000001</c:v>
                </c:pt>
                <c:pt idx="8127">
                  <c:v>24.286999999999999</c:v>
                </c:pt>
                <c:pt idx="8128">
                  <c:v>26.735000000000003</c:v>
                </c:pt>
                <c:pt idx="8129">
                  <c:v>28.776</c:v>
                </c:pt>
                <c:pt idx="8130">
                  <c:v>23.021999999999998</c:v>
                </c:pt>
                <c:pt idx="8131">
                  <c:v>19.759</c:v>
                </c:pt>
                <c:pt idx="8132">
                  <c:v>16.568000000000001</c:v>
                </c:pt>
                <c:pt idx="8133">
                  <c:v>14.834</c:v>
                </c:pt>
                <c:pt idx="8134">
                  <c:v>12.833000000000002</c:v>
                </c:pt>
                <c:pt idx="8135">
                  <c:v>11.327</c:v>
                </c:pt>
                <c:pt idx="8136">
                  <c:v>11.477</c:v>
                </c:pt>
                <c:pt idx="8137">
                  <c:v>10.574</c:v>
                </c:pt>
                <c:pt idx="8138">
                  <c:v>10.327</c:v>
                </c:pt>
                <c:pt idx="8139">
                  <c:v>10.45</c:v>
                </c:pt>
                <c:pt idx="8140">
                  <c:v>10.327</c:v>
                </c:pt>
                <c:pt idx="8141">
                  <c:v>10.412000000000001</c:v>
                </c:pt>
                <c:pt idx="8142">
                  <c:v>13.587999999999999</c:v>
                </c:pt>
                <c:pt idx="8143">
                  <c:v>14.353999999999999</c:v>
                </c:pt>
                <c:pt idx="8144">
                  <c:v>14.129</c:v>
                </c:pt>
                <c:pt idx="8145">
                  <c:v>13.178000000000001</c:v>
                </c:pt>
                <c:pt idx="8146">
                  <c:v>12.492000000000001</c:v>
                </c:pt>
                <c:pt idx="8147">
                  <c:v>10.731</c:v>
                </c:pt>
                <c:pt idx="8148">
                  <c:v>10.266999999999999</c:v>
                </c:pt>
                <c:pt idx="8149">
                  <c:v>10.293000000000001</c:v>
                </c:pt>
                <c:pt idx="8150">
                  <c:v>10.289</c:v>
                </c:pt>
                <c:pt idx="8151">
                  <c:v>10.087</c:v>
                </c:pt>
                <c:pt idx="8152">
                  <c:v>10.15</c:v>
                </c:pt>
                <c:pt idx="8153">
                  <c:v>11.831</c:v>
                </c:pt>
                <c:pt idx="8154">
                  <c:v>11.215999999999999</c:v>
                </c:pt>
                <c:pt idx="8155">
                  <c:v>10.536</c:v>
                </c:pt>
                <c:pt idx="8156">
                  <c:v>8.7129999999999992</c:v>
                </c:pt>
                <c:pt idx="8157">
                  <c:v>7.7299999999999995</c:v>
                </c:pt>
                <c:pt idx="8158">
                  <c:v>7.4169999999999998</c:v>
                </c:pt>
                <c:pt idx="8159">
                  <c:v>4.3140000000000001</c:v>
                </c:pt>
                <c:pt idx="8160">
                  <c:v>0</c:v>
                </c:pt>
                <c:pt idx="8161">
                  <c:v>0</c:v>
                </c:pt>
                <c:pt idx="8162">
                  <c:v>0</c:v>
                </c:pt>
                <c:pt idx="8163">
                  <c:v>0</c:v>
                </c:pt>
                <c:pt idx="8164">
                  <c:v>0</c:v>
                </c:pt>
                <c:pt idx="8165">
                  <c:v>0</c:v>
                </c:pt>
                <c:pt idx="8166">
                  <c:v>0</c:v>
                </c:pt>
                <c:pt idx="8167">
                  <c:v>0</c:v>
                </c:pt>
                <c:pt idx="8168">
                  <c:v>0</c:v>
                </c:pt>
                <c:pt idx="8169">
                  <c:v>0</c:v>
                </c:pt>
                <c:pt idx="8170">
                  <c:v>0</c:v>
                </c:pt>
                <c:pt idx="8171">
                  <c:v>0</c:v>
                </c:pt>
                <c:pt idx="8172">
                  <c:v>0</c:v>
                </c:pt>
                <c:pt idx="8173">
                  <c:v>0</c:v>
                </c:pt>
                <c:pt idx="8174">
                  <c:v>0</c:v>
                </c:pt>
                <c:pt idx="8175">
                  <c:v>0</c:v>
                </c:pt>
                <c:pt idx="8176">
                  <c:v>0</c:v>
                </c:pt>
                <c:pt idx="8177">
                  <c:v>0</c:v>
                </c:pt>
                <c:pt idx="8178">
                  <c:v>0</c:v>
                </c:pt>
                <c:pt idx="8179">
                  <c:v>0</c:v>
                </c:pt>
                <c:pt idx="8180">
                  <c:v>0</c:v>
                </c:pt>
                <c:pt idx="8181">
                  <c:v>0</c:v>
                </c:pt>
                <c:pt idx="8182">
                  <c:v>0</c:v>
                </c:pt>
                <c:pt idx="8183">
                  <c:v>0</c:v>
                </c:pt>
                <c:pt idx="8184">
                  <c:v>0</c:v>
                </c:pt>
                <c:pt idx="8185">
                  <c:v>0</c:v>
                </c:pt>
                <c:pt idx="8186">
                  <c:v>0</c:v>
                </c:pt>
                <c:pt idx="8187">
                  <c:v>0</c:v>
                </c:pt>
                <c:pt idx="8188">
                  <c:v>0</c:v>
                </c:pt>
                <c:pt idx="8189">
                  <c:v>0</c:v>
                </c:pt>
                <c:pt idx="8190">
                  <c:v>0</c:v>
                </c:pt>
                <c:pt idx="8191">
                  <c:v>0</c:v>
                </c:pt>
                <c:pt idx="8192">
                  <c:v>0</c:v>
                </c:pt>
                <c:pt idx="8193">
                  <c:v>0</c:v>
                </c:pt>
                <c:pt idx="8194">
                  <c:v>0</c:v>
                </c:pt>
                <c:pt idx="8195">
                  <c:v>0</c:v>
                </c:pt>
                <c:pt idx="8196">
                  <c:v>0</c:v>
                </c:pt>
                <c:pt idx="8197">
                  <c:v>0</c:v>
                </c:pt>
                <c:pt idx="8198">
                  <c:v>0</c:v>
                </c:pt>
                <c:pt idx="8199">
                  <c:v>0</c:v>
                </c:pt>
                <c:pt idx="8200">
                  <c:v>0</c:v>
                </c:pt>
                <c:pt idx="8201">
                  <c:v>0</c:v>
                </c:pt>
                <c:pt idx="8202">
                  <c:v>0</c:v>
                </c:pt>
                <c:pt idx="8203">
                  <c:v>0</c:v>
                </c:pt>
                <c:pt idx="8204">
                  <c:v>0</c:v>
                </c:pt>
                <c:pt idx="8205">
                  <c:v>0</c:v>
                </c:pt>
                <c:pt idx="8206">
                  <c:v>0</c:v>
                </c:pt>
                <c:pt idx="8207">
                  <c:v>0</c:v>
                </c:pt>
                <c:pt idx="8208">
                  <c:v>0</c:v>
                </c:pt>
                <c:pt idx="8209">
                  <c:v>0</c:v>
                </c:pt>
                <c:pt idx="8210">
                  <c:v>0</c:v>
                </c:pt>
                <c:pt idx="8211">
                  <c:v>0</c:v>
                </c:pt>
                <c:pt idx="8212">
                  <c:v>0</c:v>
                </c:pt>
                <c:pt idx="8213">
                  <c:v>0</c:v>
                </c:pt>
                <c:pt idx="8214">
                  <c:v>0</c:v>
                </c:pt>
                <c:pt idx="8215">
                  <c:v>0</c:v>
                </c:pt>
                <c:pt idx="8216">
                  <c:v>0</c:v>
                </c:pt>
                <c:pt idx="8217">
                  <c:v>0</c:v>
                </c:pt>
                <c:pt idx="8218">
                  <c:v>0</c:v>
                </c:pt>
                <c:pt idx="8219">
                  <c:v>0</c:v>
                </c:pt>
                <c:pt idx="8220">
                  <c:v>0</c:v>
                </c:pt>
                <c:pt idx="8221">
                  <c:v>0</c:v>
                </c:pt>
                <c:pt idx="8222">
                  <c:v>0</c:v>
                </c:pt>
                <c:pt idx="8223">
                  <c:v>0</c:v>
                </c:pt>
                <c:pt idx="8224">
                  <c:v>0</c:v>
                </c:pt>
                <c:pt idx="8225">
                  <c:v>0</c:v>
                </c:pt>
                <c:pt idx="8226">
                  <c:v>0</c:v>
                </c:pt>
                <c:pt idx="8227">
                  <c:v>0</c:v>
                </c:pt>
                <c:pt idx="8228">
                  <c:v>0</c:v>
                </c:pt>
                <c:pt idx="8229">
                  <c:v>0</c:v>
                </c:pt>
                <c:pt idx="8230">
                  <c:v>0</c:v>
                </c:pt>
                <c:pt idx="8231">
                  <c:v>0</c:v>
                </c:pt>
                <c:pt idx="8232">
                  <c:v>0</c:v>
                </c:pt>
                <c:pt idx="8233">
                  <c:v>0</c:v>
                </c:pt>
                <c:pt idx="8234">
                  <c:v>0</c:v>
                </c:pt>
                <c:pt idx="8235">
                  <c:v>0</c:v>
                </c:pt>
                <c:pt idx="8236">
                  <c:v>0</c:v>
                </c:pt>
                <c:pt idx="8237">
                  <c:v>0</c:v>
                </c:pt>
                <c:pt idx="8238">
                  <c:v>0</c:v>
                </c:pt>
                <c:pt idx="8239">
                  <c:v>0</c:v>
                </c:pt>
                <c:pt idx="8240">
                  <c:v>0</c:v>
                </c:pt>
                <c:pt idx="8241">
                  <c:v>0</c:v>
                </c:pt>
                <c:pt idx="8242">
                  <c:v>0</c:v>
                </c:pt>
                <c:pt idx="8243">
                  <c:v>0</c:v>
                </c:pt>
                <c:pt idx="8244">
                  <c:v>0</c:v>
                </c:pt>
                <c:pt idx="8245">
                  <c:v>0</c:v>
                </c:pt>
                <c:pt idx="8246">
                  <c:v>0</c:v>
                </c:pt>
                <c:pt idx="8247">
                  <c:v>0</c:v>
                </c:pt>
                <c:pt idx="8248">
                  <c:v>0</c:v>
                </c:pt>
                <c:pt idx="8249">
                  <c:v>0</c:v>
                </c:pt>
                <c:pt idx="8250">
                  <c:v>0</c:v>
                </c:pt>
                <c:pt idx="8251">
                  <c:v>0</c:v>
                </c:pt>
                <c:pt idx="8252">
                  <c:v>0</c:v>
                </c:pt>
                <c:pt idx="8253">
                  <c:v>0</c:v>
                </c:pt>
                <c:pt idx="8254">
                  <c:v>0</c:v>
                </c:pt>
                <c:pt idx="8255">
                  <c:v>0</c:v>
                </c:pt>
                <c:pt idx="8256">
                  <c:v>0</c:v>
                </c:pt>
                <c:pt idx="8257">
                  <c:v>0</c:v>
                </c:pt>
                <c:pt idx="8258">
                  <c:v>0</c:v>
                </c:pt>
                <c:pt idx="8259">
                  <c:v>0</c:v>
                </c:pt>
                <c:pt idx="8260">
                  <c:v>0</c:v>
                </c:pt>
                <c:pt idx="8261">
                  <c:v>0</c:v>
                </c:pt>
                <c:pt idx="8262">
                  <c:v>0</c:v>
                </c:pt>
                <c:pt idx="8263">
                  <c:v>0</c:v>
                </c:pt>
                <c:pt idx="8264">
                  <c:v>0</c:v>
                </c:pt>
                <c:pt idx="8265">
                  <c:v>0</c:v>
                </c:pt>
                <c:pt idx="8266">
                  <c:v>0</c:v>
                </c:pt>
                <c:pt idx="8267">
                  <c:v>0</c:v>
                </c:pt>
                <c:pt idx="8268">
                  <c:v>0</c:v>
                </c:pt>
                <c:pt idx="8269">
                  <c:v>0</c:v>
                </c:pt>
                <c:pt idx="8270">
                  <c:v>0</c:v>
                </c:pt>
                <c:pt idx="8271">
                  <c:v>0</c:v>
                </c:pt>
                <c:pt idx="8272">
                  <c:v>0</c:v>
                </c:pt>
                <c:pt idx="8273">
                  <c:v>0</c:v>
                </c:pt>
                <c:pt idx="8274">
                  <c:v>0</c:v>
                </c:pt>
                <c:pt idx="8275">
                  <c:v>0</c:v>
                </c:pt>
                <c:pt idx="8276">
                  <c:v>0</c:v>
                </c:pt>
                <c:pt idx="8277">
                  <c:v>0</c:v>
                </c:pt>
                <c:pt idx="8278">
                  <c:v>0</c:v>
                </c:pt>
                <c:pt idx="8279">
                  <c:v>0</c:v>
                </c:pt>
                <c:pt idx="8280">
                  <c:v>0</c:v>
                </c:pt>
                <c:pt idx="8281">
                  <c:v>0</c:v>
                </c:pt>
                <c:pt idx="8282">
                  <c:v>0</c:v>
                </c:pt>
                <c:pt idx="8283">
                  <c:v>0</c:v>
                </c:pt>
                <c:pt idx="8284">
                  <c:v>0</c:v>
                </c:pt>
                <c:pt idx="8285">
                  <c:v>0</c:v>
                </c:pt>
                <c:pt idx="8286">
                  <c:v>0</c:v>
                </c:pt>
                <c:pt idx="8287">
                  <c:v>0</c:v>
                </c:pt>
                <c:pt idx="8288">
                  <c:v>0</c:v>
                </c:pt>
                <c:pt idx="8289">
                  <c:v>0</c:v>
                </c:pt>
                <c:pt idx="8290">
                  <c:v>0</c:v>
                </c:pt>
                <c:pt idx="8291">
                  <c:v>0</c:v>
                </c:pt>
                <c:pt idx="8292">
                  <c:v>0</c:v>
                </c:pt>
                <c:pt idx="8293">
                  <c:v>0</c:v>
                </c:pt>
                <c:pt idx="8294">
                  <c:v>0</c:v>
                </c:pt>
                <c:pt idx="8295">
                  <c:v>0</c:v>
                </c:pt>
                <c:pt idx="8296">
                  <c:v>0</c:v>
                </c:pt>
                <c:pt idx="8297">
                  <c:v>0</c:v>
                </c:pt>
                <c:pt idx="8298">
                  <c:v>0</c:v>
                </c:pt>
                <c:pt idx="8299">
                  <c:v>0</c:v>
                </c:pt>
                <c:pt idx="8300">
                  <c:v>0</c:v>
                </c:pt>
                <c:pt idx="8301">
                  <c:v>0</c:v>
                </c:pt>
                <c:pt idx="8302">
                  <c:v>0</c:v>
                </c:pt>
                <c:pt idx="8303">
                  <c:v>0</c:v>
                </c:pt>
                <c:pt idx="8304">
                  <c:v>0</c:v>
                </c:pt>
                <c:pt idx="8305">
                  <c:v>0</c:v>
                </c:pt>
                <c:pt idx="8306">
                  <c:v>0</c:v>
                </c:pt>
                <c:pt idx="8307">
                  <c:v>0</c:v>
                </c:pt>
                <c:pt idx="8308">
                  <c:v>0</c:v>
                </c:pt>
                <c:pt idx="8309">
                  <c:v>0</c:v>
                </c:pt>
                <c:pt idx="8310">
                  <c:v>0</c:v>
                </c:pt>
                <c:pt idx="8311">
                  <c:v>0</c:v>
                </c:pt>
                <c:pt idx="8312">
                  <c:v>0</c:v>
                </c:pt>
                <c:pt idx="8313">
                  <c:v>0</c:v>
                </c:pt>
                <c:pt idx="8314">
                  <c:v>0</c:v>
                </c:pt>
                <c:pt idx="8315">
                  <c:v>0</c:v>
                </c:pt>
                <c:pt idx="8316">
                  <c:v>0</c:v>
                </c:pt>
                <c:pt idx="8317">
                  <c:v>0</c:v>
                </c:pt>
                <c:pt idx="8318">
                  <c:v>0</c:v>
                </c:pt>
                <c:pt idx="8319">
                  <c:v>0</c:v>
                </c:pt>
                <c:pt idx="8320">
                  <c:v>0</c:v>
                </c:pt>
                <c:pt idx="8321">
                  <c:v>0</c:v>
                </c:pt>
                <c:pt idx="8322">
                  <c:v>0</c:v>
                </c:pt>
                <c:pt idx="8323">
                  <c:v>0</c:v>
                </c:pt>
                <c:pt idx="8324">
                  <c:v>0</c:v>
                </c:pt>
                <c:pt idx="8325">
                  <c:v>0</c:v>
                </c:pt>
                <c:pt idx="8326">
                  <c:v>0</c:v>
                </c:pt>
                <c:pt idx="8327">
                  <c:v>0</c:v>
                </c:pt>
                <c:pt idx="8328">
                  <c:v>0</c:v>
                </c:pt>
                <c:pt idx="8329">
                  <c:v>0</c:v>
                </c:pt>
                <c:pt idx="8330">
                  <c:v>0</c:v>
                </c:pt>
                <c:pt idx="8331">
                  <c:v>0</c:v>
                </c:pt>
                <c:pt idx="8332">
                  <c:v>0</c:v>
                </c:pt>
                <c:pt idx="8333">
                  <c:v>0</c:v>
                </c:pt>
                <c:pt idx="8334">
                  <c:v>0</c:v>
                </c:pt>
                <c:pt idx="8335">
                  <c:v>0</c:v>
                </c:pt>
                <c:pt idx="8336">
                  <c:v>0</c:v>
                </c:pt>
                <c:pt idx="8337">
                  <c:v>0</c:v>
                </c:pt>
                <c:pt idx="8338">
                  <c:v>0</c:v>
                </c:pt>
                <c:pt idx="8339">
                  <c:v>0</c:v>
                </c:pt>
                <c:pt idx="8340">
                  <c:v>0</c:v>
                </c:pt>
                <c:pt idx="8341">
                  <c:v>0</c:v>
                </c:pt>
                <c:pt idx="8342">
                  <c:v>0</c:v>
                </c:pt>
                <c:pt idx="8343">
                  <c:v>0</c:v>
                </c:pt>
                <c:pt idx="8344">
                  <c:v>0</c:v>
                </c:pt>
                <c:pt idx="8345">
                  <c:v>0</c:v>
                </c:pt>
                <c:pt idx="8346">
                  <c:v>0</c:v>
                </c:pt>
                <c:pt idx="8347">
                  <c:v>0</c:v>
                </c:pt>
                <c:pt idx="8348">
                  <c:v>0</c:v>
                </c:pt>
                <c:pt idx="8349">
                  <c:v>0</c:v>
                </c:pt>
                <c:pt idx="8350">
                  <c:v>0</c:v>
                </c:pt>
                <c:pt idx="8351">
                  <c:v>0</c:v>
                </c:pt>
                <c:pt idx="8352">
                  <c:v>0</c:v>
                </c:pt>
                <c:pt idx="8353">
                  <c:v>0</c:v>
                </c:pt>
                <c:pt idx="8354">
                  <c:v>0</c:v>
                </c:pt>
                <c:pt idx="8355">
                  <c:v>0</c:v>
                </c:pt>
                <c:pt idx="8356">
                  <c:v>0</c:v>
                </c:pt>
                <c:pt idx="8357">
                  <c:v>0</c:v>
                </c:pt>
                <c:pt idx="8358">
                  <c:v>0</c:v>
                </c:pt>
                <c:pt idx="8359">
                  <c:v>0</c:v>
                </c:pt>
                <c:pt idx="8360">
                  <c:v>0</c:v>
                </c:pt>
                <c:pt idx="8361">
                  <c:v>0</c:v>
                </c:pt>
                <c:pt idx="8362">
                  <c:v>0</c:v>
                </c:pt>
                <c:pt idx="8363">
                  <c:v>0</c:v>
                </c:pt>
                <c:pt idx="8364">
                  <c:v>0</c:v>
                </c:pt>
                <c:pt idx="8365">
                  <c:v>0</c:v>
                </c:pt>
                <c:pt idx="8366">
                  <c:v>0</c:v>
                </c:pt>
                <c:pt idx="8367">
                  <c:v>0</c:v>
                </c:pt>
                <c:pt idx="8368">
                  <c:v>0</c:v>
                </c:pt>
                <c:pt idx="8369">
                  <c:v>0</c:v>
                </c:pt>
                <c:pt idx="8370">
                  <c:v>0</c:v>
                </c:pt>
                <c:pt idx="8371">
                  <c:v>0</c:v>
                </c:pt>
                <c:pt idx="8372">
                  <c:v>0</c:v>
                </c:pt>
                <c:pt idx="8373">
                  <c:v>0</c:v>
                </c:pt>
                <c:pt idx="8374">
                  <c:v>0</c:v>
                </c:pt>
                <c:pt idx="8375">
                  <c:v>0</c:v>
                </c:pt>
                <c:pt idx="8376">
                  <c:v>0</c:v>
                </c:pt>
                <c:pt idx="8377">
                  <c:v>0</c:v>
                </c:pt>
                <c:pt idx="8378">
                  <c:v>0</c:v>
                </c:pt>
                <c:pt idx="8379">
                  <c:v>0</c:v>
                </c:pt>
                <c:pt idx="8380">
                  <c:v>0</c:v>
                </c:pt>
                <c:pt idx="8381">
                  <c:v>0</c:v>
                </c:pt>
                <c:pt idx="8382">
                  <c:v>0</c:v>
                </c:pt>
                <c:pt idx="8383">
                  <c:v>0</c:v>
                </c:pt>
                <c:pt idx="8384">
                  <c:v>0</c:v>
                </c:pt>
                <c:pt idx="8385">
                  <c:v>0</c:v>
                </c:pt>
                <c:pt idx="8386">
                  <c:v>0</c:v>
                </c:pt>
                <c:pt idx="8387">
                  <c:v>0</c:v>
                </c:pt>
                <c:pt idx="8388">
                  <c:v>0</c:v>
                </c:pt>
                <c:pt idx="8389">
                  <c:v>0</c:v>
                </c:pt>
                <c:pt idx="8390">
                  <c:v>0</c:v>
                </c:pt>
                <c:pt idx="8391">
                  <c:v>0</c:v>
                </c:pt>
                <c:pt idx="8392">
                  <c:v>0</c:v>
                </c:pt>
                <c:pt idx="8393">
                  <c:v>0</c:v>
                </c:pt>
                <c:pt idx="8394">
                  <c:v>0</c:v>
                </c:pt>
                <c:pt idx="8395">
                  <c:v>0</c:v>
                </c:pt>
                <c:pt idx="8396">
                  <c:v>0</c:v>
                </c:pt>
                <c:pt idx="8397">
                  <c:v>0</c:v>
                </c:pt>
                <c:pt idx="8398">
                  <c:v>0</c:v>
                </c:pt>
                <c:pt idx="8399">
                  <c:v>0</c:v>
                </c:pt>
                <c:pt idx="8400">
                  <c:v>0</c:v>
                </c:pt>
                <c:pt idx="8401">
                  <c:v>0</c:v>
                </c:pt>
                <c:pt idx="8402">
                  <c:v>0</c:v>
                </c:pt>
                <c:pt idx="8403">
                  <c:v>0</c:v>
                </c:pt>
                <c:pt idx="8404">
                  <c:v>0</c:v>
                </c:pt>
                <c:pt idx="8405">
                  <c:v>0</c:v>
                </c:pt>
                <c:pt idx="8406">
                  <c:v>0</c:v>
                </c:pt>
                <c:pt idx="8407">
                  <c:v>0</c:v>
                </c:pt>
                <c:pt idx="8408">
                  <c:v>0</c:v>
                </c:pt>
                <c:pt idx="8409">
                  <c:v>0</c:v>
                </c:pt>
                <c:pt idx="8410">
                  <c:v>0</c:v>
                </c:pt>
                <c:pt idx="8411">
                  <c:v>0</c:v>
                </c:pt>
                <c:pt idx="8412">
                  <c:v>0</c:v>
                </c:pt>
                <c:pt idx="8413">
                  <c:v>0</c:v>
                </c:pt>
                <c:pt idx="8414">
                  <c:v>0</c:v>
                </c:pt>
                <c:pt idx="8415">
                  <c:v>0</c:v>
                </c:pt>
                <c:pt idx="8416">
                  <c:v>0</c:v>
                </c:pt>
                <c:pt idx="8417">
                  <c:v>0</c:v>
                </c:pt>
                <c:pt idx="8418">
                  <c:v>0</c:v>
                </c:pt>
                <c:pt idx="8419">
                  <c:v>0</c:v>
                </c:pt>
                <c:pt idx="8420">
                  <c:v>0</c:v>
                </c:pt>
                <c:pt idx="8421">
                  <c:v>0</c:v>
                </c:pt>
                <c:pt idx="8422">
                  <c:v>0</c:v>
                </c:pt>
                <c:pt idx="8423">
                  <c:v>0</c:v>
                </c:pt>
                <c:pt idx="8424">
                  <c:v>0</c:v>
                </c:pt>
                <c:pt idx="8425">
                  <c:v>0</c:v>
                </c:pt>
                <c:pt idx="8426">
                  <c:v>0</c:v>
                </c:pt>
                <c:pt idx="8427">
                  <c:v>0</c:v>
                </c:pt>
                <c:pt idx="8428">
                  <c:v>0</c:v>
                </c:pt>
                <c:pt idx="8429">
                  <c:v>0</c:v>
                </c:pt>
                <c:pt idx="8430">
                  <c:v>0</c:v>
                </c:pt>
                <c:pt idx="8431">
                  <c:v>0</c:v>
                </c:pt>
                <c:pt idx="8432">
                  <c:v>0</c:v>
                </c:pt>
                <c:pt idx="8433">
                  <c:v>0</c:v>
                </c:pt>
                <c:pt idx="8434">
                  <c:v>0</c:v>
                </c:pt>
                <c:pt idx="8435">
                  <c:v>0</c:v>
                </c:pt>
                <c:pt idx="8436">
                  <c:v>0</c:v>
                </c:pt>
                <c:pt idx="8437">
                  <c:v>0</c:v>
                </c:pt>
                <c:pt idx="8438">
                  <c:v>0</c:v>
                </c:pt>
                <c:pt idx="8439">
                  <c:v>0</c:v>
                </c:pt>
                <c:pt idx="8440">
                  <c:v>0</c:v>
                </c:pt>
                <c:pt idx="8441">
                  <c:v>0</c:v>
                </c:pt>
                <c:pt idx="8442">
                  <c:v>0</c:v>
                </c:pt>
                <c:pt idx="8443">
                  <c:v>0</c:v>
                </c:pt>
                <c:pt idx="8444">
                  <c:v>0</c:v>
                </c:pt>
                <c:pt idx="8445">
                  <c:v>0</c:v>
                </c:pt>
                <c:pt idx="8446">
                  <c:v>0</c:v>
                </c:pt>
                <c:pt idx="8447">
                  <c:v>0</c:v>
                </c:pt>
                <c:pt idx="8448">
                  <c:v>0</c:v>
                </c:pt>
                <c:pt idx="8449">
                  <c:v>0</c:v>
                </c:pt>
                <c:pt idx="8450">
                  <c:v>0</c:v>
                </c:pt>
                <c:pt idx="8451">
                  <c:v>0</c:v>
                </c:pt>
                <c:pt idx="8452">
                  <c:v>0</c:v>
                </c:pt>
                <c:pt idx="8453">
                  <c:v>0</c:v>
                </c:pt>
                <c:pt idx="8454">
                  <c:v>0</c:v>
                </c:pt>
                <c:pt idx="8455">
                  <c:v>0</c:v>
                </c:pt>
                <c:pt idx="8456">
                  <c:v>0</c:v>
                </c:pt>
                <c:pt idx="8457">
                  <c:v>0</c:v>
                </c:pt>
                <c:pt idx="8458">
                  <c:v>0</c:v>
                </c:pt>
                <c:pt idx="8459">
                  <c:v>0</c:v>
                </c:pt>
                <c:pt idx="8460">
                  <c:v>0</c:v>
                </c:pt>
                <c:pt idx="8461">
                  <c:v>0</c:v>
                </c:pt>
                <c:pt idx="8462">
                  <c:v>0</c:v>
                </c:pt>
                <c:pt idx="8463">
                  <c:v>0</c:v>
                </c:pt>
                <c:pt idx="8464">
                  <c:v>0</c:v>
                </c:pt>
                <c:pt idx="8465">
                  <c:v>0</c:v>
                </c:pt>
                <c:pt idx="8466">
                  <c:v>0</c:v>
                </c:pt>
                <c:pt idx="8467">
                  <c:v>0</c:v>
                </c:pt>
                <c:pt idx="8468">
                  <c:v>0</c:v>
                </c:pt>
                <c:pt idx="8469">
                  <c:v>0</c:v>
                </c:pt>
                <c:pt idx="8470">
                  <c:v>0</c:v>
                </c:pt>
                <c:pt idx="8471">
                  <c:v>0</c:v>
                </c:pt>
                <c:pt idx="8472">
                  <c:v>0</c:v>
                </c:pt>
                <c:pt idx="8473">
                  <c:v>0</c:v>
                </c:pt>
                <c:pt idx="8474">
                  <c:v>0</c:v>
                </c:pt>
                <c:pt idx="8475">
                  <c:v>0</c:v>
                </c:pt>
                <c:pt idx="8476">
                  <c:v>0</c:v>
                </c:pt>
                <c:pt idx="8477">
                  <c:v>0</c:v>
                </c:pt>
                <c:pt idx="8478">
                  <c:v>0</c:v>
                </c:pt>
                <c:pt idx="8479">
                  <c:v>0</c:v>
                </c:pt>
                <c:pt idx="8480">
                  <c:v>0</c:v>
                </c:pt>
                <c:pt idx="8481">
                  <c:v>0</c:v>
                </c:pt>
                <c:pt idx="8482">
                  <c:v>0</c:v>
                </c:pt>
                <c:pt idx="8483">
                  <c:v>0</c:v>
                </c:pt>
                <c:pt idx="8484">
                  <c:v>0</c:v>
                </c:pt>
                <c:pt idx="8485">
                  <c:v>0</c:v>
                </c:pt>
                <c:pt idx="8486">
                  <c:v>0</c:v>
                </c:pt>
                <c:pt idx="8487">
                  <c:v>0</c:v>
                </c:pt>
                <c:pt idx="8488">
                  <c:v>0</c:v>
                </c:pt>
                <c:pt idx="8489">
                  <c:v>0</c:v>
                </c:pt>
                <c:pt idx="8490">
                  <c:v>0</c:v>
                </c:pt>
                <c:pt idx="8491">
                  <c:v>0</c:v>
                </c:pt>
                <c:pt idx="8492">
                  <c:v>0</c:v>
                </c:pt>
                <c:pt idx="8493">
                  <c:v>0</c:v>
                </c:pt>
                <c:pt idx="8494">
                  <c:v>0</c:v>
                </c:pt>
                <c:pt idx="8495">
                  <c:v>0</c:v>
                </c:pt>
                <c:pt idx="8496">
                  <c:v>0</c:v>
                </c:pt>
                <c:pt idx="8497">
                  <c:v>0</c:v>
                </c:pt>
                <c:pt idx="8498">
                  <c:v>0</c:v>
                </c:pt>
                <c:pt idx="8499">
                  <c:v>0</c:v>
                </c:pt>
                <c:pt idx="8500">
                  <c:v>0</c:v>
                </c:pt>
                <c:pt idx="8501">
                  <c:v>0</c:v>
                </c:pt>
                <c:pt idx="8502">
                  <c:v>0</c:v>
                </c:pt>
                <c:pt idx="8503">
                  <c:v>0</c:v>
                </c:pt>
                <c:pt idx="8504">
                  <c:v>0</c:v>
                </c:pt>
                <c:pt idx="8505">
                  <c:v>0</c:v>
                </c:pt>
                <c:pt idx="8506">
                  <c:v>0</c:v>
                </c:pt>
                <c:pt idx="8507">
                  <c:v>0</c:v>
                </c:pt>
                <c:pt idx="8508">
                  <c:v>0</c:v>
                </c:pt>
                <c:pt idx="8509">
                  <c:v>0</c:v>
                </c:pt>
                <c:pt idx="8510">
                  <c:v>0</c:v>
                </c:pt>
                <c:pt idx="8511">
                  <c:v>0</c:v>
                </c:pt>
                <c:pt idx="8512">
                  <c:v>0</c:v>
                </c:pt>
                <c:pt idx="8513">
                  <c:v>0</c:v>
                </c:pt>
                <c:pt idx="8514">
                  <c:v>0</c:v>
                </c:pt>
                <c:pt idx="8515">
                  <c:v>0</c:v>
                </c:pt>
                <c:pt idx="8516">
                  <c:v>0</c:v>
                </c:pt>
                <c:pt idx="8517">
                  <c:v>0</c:v>
                </c:pt>
                <c:pt idx="8518">
                  <c:v>0</c:v>
                </c:pt>
                <c:pt idx="8519">
                  <c:v>0</c:v>
                </c:pt>
                <c:pt idx="8520">
                  <c:v>0</c:v>
                </c:pt>
                <c:pt idx="8521">
                  <c:v>0</c:v>
                </c:pt>
                <c:pt idx="8522">
                  <c:v>0</c:v>
                </c:pt>
                <c:pt idx="8523">
                  <c:v>0</c:v>
                </c:pt>
                <c:pt idx="8524">
                  <c:v>0</c:v>
                </c:pt>
                <c:pt idx="8525">
                  <c:v>0</c:v>
                </c:pt>
                <c:pt idx="8526">
                  <c:v>0</c:v>
                </c:pt>
                <c:pt idx="8527">
                  <c:v>0</c:v>
                </c:pt>
                <c:pt idx="8528">
                  <c:v>0</c:v>
                </c:pt>
                <c:pt idx="8529">
                  <c:v>0</c:v>
                </c:pt>
                <c:pt idx="8530">
                  <c:v>0</c:v>
                </c:pt>
                <c:pt idx="8531">
                  <c:v>0</c:v>
                </c:pt>
                <c:pt idx="8532">
                  <c:v>0</c:v>
                </c:pt>
                <c:pt idx="8533">
                  <c:v>0</c:v>
                </c:pt>
                <c:pt idx="8534">
                  <c:v>0</c:v>
                </c:pt>
                <c:pt idx="8535">
                  <c:v>0</c:v>
                </c:pt>
                <c:pt idx="8536">
                  <c:v>0</c:v>
                </c:pt>
                <c:pt idx="8537">
                  <c:v>0</c:v>
                </c:pt>
                <c:pt idx="8538">
                  <c:v>0</c:v>
                </c:pt>
                <c:pt idx="8539">
                  <c:v>0</c:v>
                </c:pt>
                <c:pt idx="8540">
                  <c:v>0</c:v>
                </c:pt>
                <c:pt idx="8541">
                  <c:v>0</c:v>
                </c:pt>
                <c:pt idx="8542">
                  <c:v>0</c:v>
                </c:pt>
                <c:pt idx="8543">
                  <c:v>0</c:v>
                </c:pt>
                <c:pt idx="8544">
                  <c:v>0</c:v>
                </c:pt>
                <c:pt idx="8545">
                  <c:v>0</c:v>
                </c:pt>
                <c:pt idx="8546">
                  <c:v>0</c:v>
                </c:pt>
                <c:pt idx="8547">
                  <c:v>0</c:v>
                </c:pt>
                <c:pt idx="8548">
                  <c:v>0</c:v>
                </c:pt>
                <c:pt idx="8549">
                  <c:v>0</c:v>
                </c:pt>
                <c:pt idx="8550">
                  <c:v>0</c:v>
                </c:pt>
                <c:pt idx="8551">
                  <c:v>0</c:v>
                </c:pt>
                <c:pt idx="8552">
                  <c:v>0</c:v>
                </c:pt>
                <c:pt idx="8553">
                  <c:v>0</c:v>
                </c:pt>
                <c:pt idx="8554">
                  <c:v>0</c:v>
                </c:pt>
                <c:pt idx="8555">
                  <c:v>0</c:v>
                </c:pt>
                <c:pt idx="8556">
                  <c:v>0</c:v>
                </c:pt>
                <c:pt idx="8557">
                  <c:v>0</c:v>
                </c:pt>
                <c:pt idx="8558">
                  <c:v>0</c:v>
                </c:pt>
                <c:pt idx="8559">
                  <c:v>0</c:v>
                </c:pt>
                <c:pt idx="8560">
                  <c:v>0</c:v>
                </c:pt>
                <c:pt idx="8561">
                  <c:v>0</c:v>
                </c:pt>
                <c:pt idx="8562">
                  <c:v>0</c:v>
                </c:pt>
                <c:pt idx="8563">
                  <c:v>0</c:v>
                </c:pt>
                <c:pt idx="8564">
                  <c:v>0</c:v>
                </c:pt>
                <c:pt idx="8565">
                  <c:v>0</c:v>
                </c:pt>
                <c:pt idx="8566">
                  <c:v>0</c:v>
                </c:pt>
                <c:pt idx="8567">
                  <c:v>0</c:v>
                </c:pt>
                <c:pt idx="8568">
                  <c:v>0</c:v>
                </c:pt>
                <c:pt idx="8569">
                  <c:v>0</c:v>
                </c:pt>
                <c:pt idx="8570">
                  <c:v>0</c:v>
                </c:pt>
                <c:pt idx="8571">
                  <c:v>0</c:v>
                </c:pt>
                <c:pt idx="8572">
                  <c:v>0</c:v>
                </c:pt>
                <c:pt idx="8573">
                  <c:v>0</c:v>
                </c:pt>
                <c:pt idx="8574">
                  <c:v>0</c:v>
                </c:pt>
                <c:pt idx="8575">
                  <c:v>0</c:v>
                </c:pt>
                <c:pt idx="8576">
                  <c:v>0</c:v>
                </c:pt>
                <c:pt idx="8577">
                  <c:v>0</c:v>
                </c:pt>
                <c:pt idx="8578">
                  <c:v>0</c:v>
                </c:pt>
                <c:pt idx="8579">
                  <c:v>0</c:v>
                </c:pt>
                <c:pt idx="8580">
                  <c:v>0</c:v>
                </c:pt>
                <c:pt idx="8581">
                  <c:v>0</c:v>
                </c:pt>
                <c:pt idx="8582">
                  <c:v>0</c:v>
                </c:pt>
                <c:pt idx="8583">
                  <c:v>0</c:v>
                </c:pt>
                <c:pt idx="8584">
                  <c:v>0</c:v>
                </c:pt>
                <c:pt idx="8585">
                  <c:v>0</c:v>
                </c:pt>
                <c:pt idx="8586">
                  <c:v>0</c:v>
                </c:pt>
                <c:pt idx="8587">
                  <c:v>0</c:v>
                </c:pt>
                <c:pt idx="8588">
                  <c:v>0</c:v>
                </c:pt>
                <c:pt idx="8589">
                  <c:v>0</c:v>
                </c:pt>
                <c:pt idx="8590">
                  <c:v>0</c:v>
                </c:pt>
                <c:pt idx="8591">
                  <c:v>0</c:v>
                </c:pt>
                <c:pt idx="8592">
                  <c:v>0</c:v>
                </c:pt>
                <c:pt idx="8593">
                  <c:v>0</c:v>
                </c:pt>
                <c:pt idx="8594">
                  <c:v>0</c:v>
                </c:pt>
                <c:pt idx="8595">
                  <c:v>0</c:v>
                </c:pt>
                <c:pt idx="8596">
                  <c:v>0</c:v>
                </c:pt>
                <c:pt idx="8597">
                  <c:v>0</c:v>
                </c:pt>
                <c:pt idx="8598">
                  <c:v>0</c:v>
                </c:pt>
                <c:pt idx="8599">
                  <c:v>0</c:v>
                </c:pt>
                <c:pt idx="8600">
                  <c:v>0</c:v>
                </c:pt>
                <c:pt idx="8601">
                  <c:v>0</c:v>
                </c:pt>
                <c:pt idx="8602">
                  <c:v>0</c:v>
                </c:pt>
                <c:pt idx="8603">
                  <c:v>0</c:v>
                </c:pt>
                <c:pt idx="8604">
                  <c:v>0</c:v>
                </c:pt>
                <c:pt idx="8605">
                  <c:v>0</c:v>
                </c:pt>
                <c:pt idx="8606">
                  <c:v>0</c:v>
                </c:pt>
                <c:pt idx="8607">
                  <c:v>0</c:v>
                </c:pt>
                <c:pt idx="8608">
                  <c:v>0</c:v>
                </c:pt>
                <c:pt idx="8609">
                  <c:v>0</c:v>
                </c:pt>
                <c:pt idx="8610">
                  <c:v>0</c:v>
                </c:pt>
                <c:pt idx="8611">
                  <c:v>0</c:v>
                </c:pt>
                <c:pt idx="8612">
                  <c:v>0</c:v>
                </c:pt>
                <c:pt idx="8613">
                  <c:v>0</c:v>
                </c:pt>
                <c:pt idx="8614">
                  <c:v>0</c:v>
                </c:pt>
                <c:pt idx="8615">
                  <c:v>0</c:v>
                </c:pt>
                <c:pt idx="8616">
                  <c:v>0</c:v>
                </c:pt>
                <c:pt idx="8617">
                  <c:v>0</c:v>
                </c:pt>
                <c:pt idx="8618">
                  <c:v>0</c:v>
                </c:pt>
                <c:pt idx="8619">
                  <c:v>0</c:v>
                </c:pt>
                <c:pt idx="8620">
                  <c:v>0</c:v>
                </c:pt>
                <c:pt idx="8621">
                  <c:v>0</c:v>
                </c:pt>
                <c:pt idx="8622">
                  <c:v>0</c:v>
                </c:pt>
                <c:pt idx="8623">
                  <c:v>0</c:v>
                </c:pt>
                <c:pt idx="8624">
                  <c:v>0</c:v>
                </c:pt>
                <c:pt idx="8625">
                  <c:v>0</c:v>
                </c:pt>
                <c:pt idx="8626">
                  <c:v>0</c:v>
                </c:pt>
                <c:pt idx="8627">
                  <c:v>0</c:v>
                </c:pt>
                <c:pt idx="8628">
                  <c:v>0</c:v>
                </c:pt>
                <c:pt idx="8629">
                  <c:v>0</c:v>
                </c:pt>
                <c:pt idx="8630">
                  <c:v>0</c:v>
                </c:pt>
                <c:pt idx="8631">
                  <c:v>0</c:v>
                </c:pt>
                <c:pt idx="8632">
                  <c:v>0</c:v>
                </c:pt>
                <c:pt idx="8633">
                  <c:v>0</c:v>
                </c:pt>
                <c:pt idx="8634">
                  <c:v>0</c:v>
                </c:pt>
                <c:pt idx="8635">
                  <c:v>0</c:v>
                </c:pt>
                <c:pt idx="8636">
                  <c:v>0</c:v>
                </c:pt>
                <c:pt idx="8637">
                  <c:v>0</c:v>
                </c:pt>
                <c:pt idx="8638">
                  <c:v>0</c:v>
                </c:pt>
                <c:pt idx="8639">
                  <c:v>0</c:v>
                </c:pt>
                <c:pt idx="8640">
                  <c:v>0</c:v>
                </c:pt>
                <c:pt idx="8641">
                  <c:v>0</c:v>
                </c:pt>
                <c:pt idx="8642">
                  <c:v>0</c:v>
                </c:pt>
                <c:pt idx="8643">
                  <c:v>0</c:v>
                </c:pt>
                <c:pt idx="8644">
                  <c:v>0</c:v>
                </c:pt>
                <c:pt idx="8645">
                  <c:v>0</c:v>
                </c:pt>
                <c:pt idx="8646">
                  <c:v>0</c:v>
                </c:pt>
                <c:pt idx="8647">
                  <c:v>0</c:v>
                </c:pt>
                <c:pt idx="8648">
                  <c:v>0</c:v>
                </c:pt>
                <c:pt idx="8649">
                  <c:v>0</c:v>
                </c:pt>
                <c:pt idx="8650">
                  <c:v>0</c:v>
                </c:pt>
                <c:pt idx="8651">
                  <c:v>0</c:v>
                </c:pt>
                <c:pt idx="8652">
                  <c:v>0</c:v>
                </c:pt>
                <c:pt idx="8653">
                  <c:v>0</c:v>
                </c:pt>
                <c:pt idx="8654">
                  <c:v>0</c:v>
                </c:pt>
                <c:pt idx="8655">
                  <c:v>0</c:v>
                </c:pt>
                <c:pt idx="8656">
                  <c:v>0</c:v>
                </c:pt>
                <c:pt idx="8657">
                  <c:v>0</c:v>
                </c:pt>
                <c:pt idx="8658">
                  <c:v>0</c:v>
                </c:pt>
                <c:pt idx="8659">
                  <c:v>0</c:v>
                </c:pt>
                <c:pt idx="8660">
                  <c:v>0</c:v>
                </c:pt>
                <c:pt idx="8661">
                  <c:v>0</c:v>
                </c:pt>
                <c:pt idx="8662">
                  <c:v>0</c:v>
                </c:pt>
                <c:pt idx="8663">
                  <c:v>0</c:v>
                </c:pt>
                <c:pt idx="8664">
                  <c:v>0</c:v>
                </c:pt>
                <c:pt idx="8665">
                  <c:v>0</c:v>
                </c:pt>
                <c:pt idx="8666">
                  <c:v>0</c:v>
                </c:pt>
                <c:pt idx="8667">
                  <c:v>0</c:v>
                </c:pt>
                <c:pt idx="8668">
                  <c:v>0</c:v>
                </c:pt>
                <c:pt idx="8669">
                  <c:v>0</c:v>
                </c:pt>
                <c:pt idx="8670">
                  <c:v>0</c:v>
                </c:pt>
                <c:pt idx="8671">
                  <c:v>0</c:v>
                </c:pt>
                <c:pt idx="8672">
                  <c:v>0</c:v>
                </c:pt>
                <c:pt idx="8673">
                  <c:v>0</c:v>
                </c:pt>
                <c:pt idx="8674">
                  <c:v>0</c:v>
                </c:pt>
                <c:pt idx="8675">
                  <c:v>0</c:v>
                </c:pt>
                <c:pt idx="8676">
                  <c:v>0</c:v>
                </c:pt>
                <c:pt idx="8677">
                  <c:v>0</c:v>
                </c:pt>
                <c:pt idx="8678">
                  <c:v>0</c:v>
                </c:pt>
                <c:pt idx="8679">
                  <c:v>0</c:v>
                </c:pt>
                <c:pt idx="8680">
                  <c:v>0</c:v>
                </c:pt>
                <c:pt idx="8681">
                  <c:v>0</c:v>
                </c:pt>
                <c:pt idx="8682">
                  <c:v>0</c:v>
                </c:pt>
                <c:pt idx="8683">
                  <c:v>0</c:v>
                </c:pt>
                <c:pt idx="8684">
                  <c:v>0</c:v>
                </c:pt>
                <c:pt idx="8685">
                  <c:v>0</c:v>
                </c:pt>
                <c:pt idx="8686">
                  <c:v>0</c:v>
                </c:pt>
                <c:pt idx="8687">
                  <c:v>0</c:v>
                </c:pt>
                <c:pt idx="8688">
                  <c:v>0</c:v>
                </c:pt>
                <c:pt idx="8689">
                  <c:v>0</c:v>
                </c:pt>
                <c:pt idx="8690">
                  <c:v>0</c:v>
                </c:pt>
                <c:pt idx="8691">
                  <c:v>0</c:v>
                </c:pt>
                <c:pt idx="8692">
                  <c:v>0</c:v>
                </c:pt>
                <c:pt idx="8693">
                  <c:v>0</c:v>
                </c:pt>
                <c:pt idx="8694">
                  <c:v>0</c:v>
                </c:pt>
                <c:pt idx="8695">
                  <c:v>0</c:v>
                </c:pt>
                <c:pt idx="8696">
                  <c:v>0</c:v>
                </c:pt>
                <c:pt idx="8697">
                  <c:v>0</c:v>
                </c:pt>
                <c:pt idx="8698">
                  <c:v>0</c:v>
                </c:pt>
                <c:pt idx="8699">
                  <c:v>0</c:v>
                </c:pt>
                <c:pt idx="8700">
                  <c:v>0</c:v>
                </c:pt>
                <c:pt idx="8701">
                  <c:v>0</c:v>
                </c:pt>
                <c:pt idx="8702">
                  <c:v>0</c:v>
                </c:pt>
                <c:pt idx="8703">
                  <c:v>0</c:v>
                </c:pt>
                <c:pt idx="8704">
                  <c:v>0</c:v>
                </c:pt>
                <c:pt idx="8705">
                  <c:v>0</c:v>
                </c:pt>
                <c:pt idx="8706">
                  <c:v>0</c:v>
                </c:pt>
                <c:pt idx="8707">
                  <c:v>0</c:v>
                </c:pt>
                <c:pt idx="8708">
                  <c:v>0</c:v>
                </c:pt>
                <c:pt idx="8709">
                  <c:v>0</c:v>
                </c:pt>
                <c:pt idx="8710">
                  <c:v>0</c:v>
                </c:pt>
                <c:pt idx="8711">
                  <c:v>0</c:v>
                </c:pt>
                <c:pt idx="8712">
                  <c:v>0</c:v>
                </c:pt>
                <c:pt idx="8713">
                  <c:v>0</c:v>
                </c:pt>
                <c:pt idx="8714">
                  <c:v>0</c:v>
                </c:pt>
                <c:pt idx="8715">
                  <c:v>0</c:v>
                </c:pt>
                <c:pt idx="8716">
                  <c:v>0</c:v>
                </c:pt>
                <c:pt idx="8717">
                  <c:v>0</c:v>
                </c:pt>
                <c:pt idx="8718">
                  <c:v>0</c:v>
                </c:pt>
                <c:pt idx="8719">
                  <c:v>0</c:v>
                </c:pt>
                <c:pt idx="8720">
                  <c:v>0</c:v>
                </c:pt>
                <c:pt idx="8721">
                  <c:v>0</c:v>
                </c:pt>
                <c:pt idx="8722">
                  <c:v>0</c:v>
                </c:pt>
                <c:pt idx="8723">
                  <c:v>0</c:v>
                </c:pt>
                <c:pt idx="8724">
                  <c:v>0</c:v>
                </c:pt>
                <c:pt idx="8725">
                  <c:v>0</c:v>
                </c:pt>
                <c:pt idx="8726">
                  <c:v>0</c:v>
                </c:pt>
                <c:pt idx="8727">
                  <c:v>0</c:v>
                </c:pt>
                <c:pt idx="8728">
                  <c:v>0</c:v>
                </c:pt>
                <c:pt idx="8729">
                  <c:v>0</c:v>
                </c:pt>
                <c:pt idx="8730">
                  <c:v>0</c:v>
                </c:pt>
                <c:pt idx="8731">
                  <c:v>0</c:v>
                </c:pt>
                <c:pt idx="8732">
                  <c:v>0</c:v>
                </c:pt>
                <c:pt idx="8733">
                  <c:v>0</c:v>
                </c:pt>
                <c:pt idx="8734">
                  <c:v>0</c:v>
                </c:pt>
                <c:pt idx="8735">
                  <c:v>0</c:v>
                </c:pt>
                <c:pt idx="8736">
                  <c:v>0</c:v>
                </c:pt>
                <c:pt idx="8737">
                  <c:v>0</c:v>
                </c:pt>
                <c:pt idx="8738">
                  <c:v>0</c:v>
                </c:pt>
                <c:pt idx="8739">
                  <c:v>0</c:v>
                </c:pt>
                <c:pt idx="8740">
                  <c:v>0</c:v>
                </c:pt>
                <c:pt idx="8741">
                  <c:v>0</c:v>
                </c:pt>
                <c:pt idx="8742">
                  <c:v>0</c:v>
                </c:pt>
                <c:pt idx="8743">
                  <c:v>0</c:v>
                </c:pt>
                <c:pt idx="8744">
                  <c:v>0</c:v>
                </c:pt>
                <c:pt idx="8745">
                  <c:v>0</c:v>
                </c:pt>
                <c:pt idx="8746">
                  <c:v>0</c:v>
                </c:pt>
                <c:pt idx="8747">
                  <c:v>0</c:v>
                </c:pt>
                <c:pt idx="8748">
                  <c:v>0</c:v>
                </c:pt>
                <c:pt idx="8749">
                  <c:v>0</c:v>
                </c:pt>
                <c:pt idx="8750">
                  <c:v>0</c:v>
                </c:pt>
                <c:pt idx="8751">
                  <c:v>0</c:v>
                </c:pt>
                <c:pt idx="8752">
                  <c:v>0</c:v>
                </c:pt>
                <c:pt idx="8753">
                  <c:v>0</c:v>
                </c:pt>
                <c:pt idx="8754">
                  <c:v>0</c:v>
                </c:pt>
                <c:pt idx="8755">
                  <c:v>0</c:v>
                </c:pt>
                <c:pt idx="8756">
                  <c:v>0</c:v>
                </c:pt>
                <c:pt idx="8757">
                  <c:v>0</c:v>
                </c:pt>
                <c:pt idx="8758">
                  <c:v>0</c:v>
                </c:pt>
                <c:pt idx="8759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E99-4ADF-8426-44CB883A620C}"/>
            </c:ext>
          </c:extLst>
        </c:ser>
        <c:ser>
          <c:idx val="3"/>
          <c:order val="3"/>
          <c:tx>
            <c:strRef>
              <c:f>'2024'!$E$1</c:f>
              <c:strCache>
                <c:ptCount val="1"/>
                <c:pt idx="0">
                  <c:v>Day Ahead Auktion 2017</c:v>
                </c:pt>
              </c:strCache>
            </c:strRef>
          </c:tx>
          <c:spPr>
            <a:ln w="6350" cap="rnd">
              <a:solidFill>
                <a:srgbClr val="E68827"/>
              </a:solidFill>
              <a:round/>
            </a:ln>
            <a:effectLst/>
          </c:spPr>
          <c:marker>
            <c:symbol val="none"/>
          </c:marker>
          <c:val>
            <c:numRef>
              <c:f>'2024'!$E$3:$E$8762</c:f>
              <c:numCache>
                <c:formatCode>General</c:formatCode>
                <c:ptCount val="8760"/>
                <c:pt idx="0">
                  <c:v>2.0960000000000001</c:v>
                </c:pt>
                <c:pt idx="1">
                  <c:v>2.09</c:v>
                </c:pt>
                <c:pt idx="2">
                  <c:v>1.8129999999999999</c:v>
                </c:pt>
                <c:pt idx="3">
                  <c:v>1.6030000000000002</c:v>
                </c:pt>
                <c:pt idx="4">
                  <c:v>1.643</c:v>
                </c:pt>
                <c:pt idx="5">
                  <c:v>1.375</c:v>
                </c:pt>
                <c:pt idx="6">
                  <c:v>1.1099999999999999</c:v>
                </c:pt>
                <c:pt idx="7">
                  <c:v>1.5470000000000002</c:v>
                </c:pt>
                <c:pt idx="8">
                  <c:v>1.6879999999999999</c:v>
                </c:pt>
                <c:pt idx="9">
                  <c:v>2.181</c:v>
                </c:pt>
                <c:pt idx="10">
                  <c:v>2.6239999999999997</c:v>
                </c:pt>
                <c:pt idx="11">
                  <c:v>2.6420000000000003</c:v>
                </c:pt>
                <c:pt idx="12">
                  <c:v>2.766</c:v>
                </c:pt>
                <c:pt idx="13">
                  <c:v>2.87</c:v>
                </c:pt>
                <c:pt idx="14">
                  <c:v>2.9660000000000002</c:v>
                </c:pt>
                <c:pt idx="15">
                  <c:v>3.5329999999999999</c:v>
                </c:pt>
                <c:pt idx="16">
                  <c:v>4.4119999999999999</c:v>
                </c:pt>
                <c:pt idx="17">
                  <c:v>5.1590000000000007</c:v>
                </c:pt>
                <c:pt idx="18">
                  <c:v>5.3950000000000005</c:v>
                </c:pt>
                <c:pt idx="19">
                  <c:v>5.0969999999999995</c:v>
                </c:pt>
                <c:pt idx="20">
                  <c:v>4.4930000000000003</c:v>
                </c:pt>
                <c:pt idx="21">
                  <c:v>3.883</c:v>
                </c:pt>
                <c:pt idx="22">
                  <c:v>4.2170000000000005</c:v>
                </c:pt>
                <c:pt idx="23">
                  <c:v>3.306</c:v>
                </c:pt>
                <c:pt idx="24">
                  <c:v>3.0539999999999998</c:v>
                </c:pt>
                <c:pt idx="25">
                  <c:v>2.891</c:v>
                </c:pt>
                <c:pt idx="26">
                  <c:v>2.8109999999999999</c:v>
                </c:pt>
                <c:pt idx="27">
                  <c:v>2.7890000000000001</c:v>
                </c:pt>
                <c:pt idx="28">
                  <c:v>2.7730000000000001</c:v>
                </c:pt>
                <c:pt idx="29">
                  <c:v>3.1179999999999999</c:v>
                </c:pt>
                <c:pt idx="30">
                  <c:v>3.7990000000000004</c:v>
                </c:pt>
                <c:pt idx="31">
                  <c:v>5.0979999999999999</c:v>
                </c:pt>
                <c:pt idx="32">
                  <c:v>5.3879999999999999</c:v>
                </c:pt>
                <c:pt idx="33">
                  <c:v>5.3940000000000001</c:v>
                </c:pt>
                <c:pt idx="34">
                  <c:v>5.3540000000000001</c:v>
                </c:pt>
                <c:pt idx="35">
                  <c:v>5.4909999999999997</c:v>
                </c:pt>
                <c:pt idx="36">
                  <c:v>5.4079999999999995</c:v>
                </c:pt>
                <c:pt idx="37">
                  <c:v>5.5670000000000002</c:v>
                </c:pt>
                <c:pt idx="38">
                  <c:v>5.5979999999999999</c:v>
                </c:pt>
                <c:pt idx="39">
                  <c:v>5.6</c:v>
                </c:pt>
                <c:pt idx="40">
                  <c:v>5.7770000000000001</c:v>
                </c:pt>
                <c:pt idx="41">
                  <c:v>6.766</c:v>
                </c:pt>
                <c:pt idx="42">
                  <c:v>5.51</c:v>
                </c:pt>
                <c:pt idx="43">
                  <c:v>5.3920000000000003</c:v>
                </c:pt>
                <c:pt idx="44">
                  <c:v>4.907</c:v>
                </c:pt>
                <c:pt idx="45">
                  <c:v>4.0250000000000004</c:v>
                </c:pt>
                <c:pt idx="46">
                  <c:v>4.5920000000000005</c:v>
                </c:pt>
                <c:pt idx="47">
                  <c:v>3.8880000000000003</c:v>
                </c:pt>
                <c:pt idx="48">
                  <c:v>3.6020000000000003</c:v>
                </c:pt>
                <c:pt idx="49">
                  <c:v>3.4979999999999998</c:v>
                </c:pt>
                <c:pt idx="50">
                  <c:v>3.3639999999999999</c:v>
                </c:pt>
                <c:pt idx="51">
                  <c:v>3.3890000000000002</c:v>
                </c:pt>
                <c:pt idx="52">
                  <c:v>3.35</c:v>
                </c:pt>
                <c:pt idx="53">
                  <c:v>3.3909999999999996</c:v>
                </c:pt>
                <c:pt idx="54">
                  <c:v>4.8130000000000006</c:v>
                </c:pt>
                <c:pt idx="55">
                  <c:v>5.4610000000000003</c:v>
                </c:pt>
                <c:pt idx="56">
                  <c:v>5.7930000000000001</c:v>
                </c:pt>
                <c:pt idx="57">
                  <c:v>5.718</c:v>
                </c:pt>
                <c:pt idx="58">
                  <c:v>5.2270000000000003</c:v>
                </c:pt>
                <c:pt idx="59">
                  <c:v>4.9939999999999998</c:v>
                </c:pt>
                <c:pt idx="60">
                  <c:v>4.63</c:v>
                </c:pt>
                <c:pt idx="61">
                  <c:v>4.1509999999999998</c:v>
                </c:pt>
                <c:pt idx="62">
                  <c:v>3.7079999999999997</c:v>
                </c:pt>
                <c:pt idx="63">
                  <c:v>3.7030000000000003</c:v>
                </c:pt>
                <c:pt idx="64">
                  <c:v>3.9079999999999999</c:v>
                </c:pt>
                <c:pt idx="65">
                  <c:v>4.2140000000000004</c:v>
                </c:pt>
                <c:pt idx="66">
                  <c:v>3.6670000000000003</c:v>
                </c:pt>
                <c:pt idx="67">
                  <c:v>3.6030000000000002</c:v>
                </c:pt>
                <c:pt idx="68">
                  <c:v>3.3549999999999995</c:v>
                </c:pt>
                <c:pt idx="69">
                  <c:v>2.456</c:v>
                </c:pt>
                <c:pt idx="70">
                  <c:v>1.7769999999999999</c:v>
                </c:pt>
                <c:pt idx="71">
                  <c:v>0.94900000000000007</c:v>
                </c:pt>
                <c:pt idx="72">
                  <c:v>0.85</c:v>
                </c:pt>
                <c:pt idx="73">
                  <c:v>-5.0000000000000001E-3</c:v>
                </c:pt>
                <c:pt idx="74">
                  <c:v>-0.627</c:v>
                </c:pt>
                <c:pt idx="75">
                  <c:v>-0.50900000000000001</c:v>
                </c:pt>
                <c:pt idx="76">
                  <c:v>6.0000000000000001E-3</c:v>
                </c:pt>
                <c:pt idx="77">
                  <c:v>1.0550000000000002</c:v>
                </c:pt>
                <c:pt idx="78">
                  <c:v>1.0980000000000001</c:v>
                </c:pt>
                <c:pt idx="79">
                  <c:v>3.1629999999999998</c:v>
                </c:pt>
                <c:pt idx="80">
                  <c:v>3.4939999999999998</c:v>
                </c:pt>
                <c:pt idx="81">
                  <c:v>3.3270000000000004</c:v>
                </c:pt>
                <c:pt idx="82">
                  <c:v>3.3520000000000003</c:v>
                </c:pt>
                <c:pt idx="83">
                  <c:v>3.4810000000000003</c:v>
                </c:pt>
                <c:pt idx="84">
                  <c:v>3.508</c:v>
                </c:pt>
                <c:pt idx="85">
                  <c:v>3.5880000000000001</c:v>
                </c:pt>
                <c:pt idx="86">
                  <c:v>3.6030000000000002</c:v>
                </c:pt>
                <c:pt idx="87">
                  <c:v>3.617</c:v>
                </c:pt>
                <c:pt idx="88">
                  <c:v>3.6579999999999999</c:v>
                </c:pt>
                <c:pt idx="89">
                  <c:v>4.6950000000000003</c:v>
                </c:pt>
                <c:pt idx="90">
                  <c:v>4.9450000000000003</c:v>
                </c:pt>
                <c:pt idx="91">
                  <c:v>4.8369999999999997</c:v>
                </c:pt>
                <c:pt idx="92">
                  <c:v>3.8020000000000005</c:v>
                </c:pt>
                <c:pt idx="93">
                  <c:v>3.4549999999999996</c:v>
                </c:pt>
                <c:pt idx="94">
                  <c:v>3.3329999999999997</c:v>
                </c:pt>
                <c:pt idx="95">
                  <c:v>3.2049999999999996</c:v>
                </c:pt>
                <c:pt idx="96">
                  <c:v>3.6070000000000002</c:v>
                </c:pt>
                <c:pt idx="97">
                  <c:v>3.6320000000000001</c:v>
                </c:pt>
                <c:pt idx="98">
                  <c:v>3.0989999999999998</c:v>
                </c:pt>
                <c:pt idx="99">
                  <c:v>3.097</c:v>
                </c:pt>
                <c:pt idx="100">
                  <c:v>3.5640000000000001</c:v>
                </c:pt>
                <c:pt idx="101">
                  <c:v>3.5729999999999995</c:v>
                </c:pt>
                <c:pt idx="102">
                  <c:v>3.903</c:v>
                </c:pt>
                <c:pt idx="103">
                  <c:v>5.17</c:v>
                </c:pt>
                <c:pt idx="104">
                  <c:v>5.798</c:v>
                </c:pt>
                <c:pt idx="105">
                  <c:v>5.4109999999999996</c:v>
                </c:pt>
                <c:pt idx="106">
                  <c:v>5.3130000000000006</c:v>
                </c:pt>
                <c:pt idx="107">
                  <c:v>5.0060000000000002</c:v>
                </c:pt>
                <c:pt idx="108">
                  <c:v>4.9969999999999999</c:v>
                </c:pt>
                <c:pt idx="109">
                  <c:v>4.8840000000000003</c:v>
                </c:pt>
                <c:pt idx="110">
                  <c:v>5.0990000000000002</c:v>
                </c:pt>
                <c:pt idx="111">
                  <c:v>5.7479999999999993</c:v>
                </c:pt>
                <c:pt idx="112">
                  <c:v>6.9700000000000006</c:v>
                </c:pt>
                <c:pt idx="113">
                  <c:v>7.3920000000000003</c:v>
                </c:pt>
                <c:pt idx="114">
                  <c:v>7.3760000000000003</c:v>
                </c:pt>
                <c:pt idx="115">
                  <c:v>6.5150000000000006</c:v>
                </c:pt>
                <c:pt idx="116">
                  <c:v>6.4239999999999995</c:v>
                </c:pt>
                <c:pt idx="117">
                  <c:v>4.3090000000000002</c:v>
                </c:pt>
                <c:pt idx="118">
                  <c:v>5.3109999999999999</c:v>
                </c:pt>
                <c:pt idx="119">
                  <c:v>3.7079999999999997</c:v>
                </c:pt>
                <c:pt idx="120">
                  <c:v>4.0840000000000005</c:v>
                </c:pt>
                <c:pt idx="121">
                  <c:v>4.1150000000000002</c:v>
                </c:pt>
                <c:pt idx="122">
                  <c:v>4.3770000000000007</c:v>
                </c:pt>
                <c:pt idx="123">
                  <c:v>3.9969999999999999</c:v>
                </c:pt>
                <c:pt idx="124">
                  <c:v>4.0810000000000004</c:v>
                </c:pt>
                <c:pt idx="125">
                  <c:v>4.3040000000000003</c:v>
                </c:pt>
                <c:pt idx="126">
                  <c:v>4.5369999999999999</c:v>
                </c:pt>
                <c:pt idx="127">
                  <c:v>4.9489999999999998</c:v>
                </c:pt>
                <c:pt idx="128">
                  <c:v>5.992</c:v>
                </c:pt>
                <c:pt idx="129">
                  <c:v>6</c:v>
                </c:pt>
                <c:pt idx="130">
                  <c:v>6.0039999999999996</c:v>
                </c:pt>
                <c:pt idx="131">
                  <c:v>5.7700000000000005</c:v>
                </c:pt>
                <c:pt idx="132">
                  <c:v>5.2859999999999996</c:v>
                </c:pt>
                <c:pt idx="133">
                  <c:v>5.0049999999999999</c:v>
                </c:pt>
                <c:pt idx="134">
                  <c:v>5.0939999999999994</c:v>
                </c:pt>
                <c:pt idx="135">
                  <c:v>5.4039999999999999</c:v>
                </c:pt>
                <c:pt idx="136">
                  <c:v>5.7520000000000007</c:v>
                </c:pt>
                <c:pt idx="137">
                  <c:v>6.4909999999999997</c:v>
                </c:pt>
                <c:pt idx="138">
                  <c:v>5.992</c:v>
                </c:pt>
                <c:pt idx="139">
                  <c:v>5.7990000000000004</c:v>
                </c:pt>
                <c:pt idx="140">
                  <c:v>4.3680000000000003</c:v>
                </c:pt>
                <c:pt idx="141">
                  <c:v>3.8460000000000001</c:v>
                </c:pt>
                <c:pt idx="142">
                  <c:v>4.0939999999999994</c:v>
                </c:pt>
                <c:pt idx="143">
                  <c:v>3.589</c:v>
                </c:pt>
                <c:pt idx="144">
                  <c:v>3.6829999999999998</c:v>
                </c:pt>
                <c:pt idx="145">
                  <c:v>3.4369999999999998</c:v>
                </c:pt>
                <c:pt idx="146">
                  <c:v>3.3840000000000003</c:v>
                </c:pt>
                <c:pt idx="147">
                  <c:v>3.383</c:v>
                </c:pt>
                <c:pt idx="148">
                  <c:v>3.3619999999999997</c:v>
                </c:pt>
                <c:pt idx="149">
                  <c:v>3.2960000000000003</c:v>
                </c:pt>
                <c:pt idx="150">
                  <c:v>3.0070000000000001</c:v>
                </c:pt>
                <c:pt idx="151">
                  <c:v>3.3579999999999997</c:v>
                </c:pt>
                <c:pt idx="152">
                  <c:v>3.6020000000000003</c:v>
                </c:pt>
                <c:pt idx="153">
                  <c:v>3.6859999999999999</c:v>
                </c:pt>
                <c:pt idx="154">
                  <c:v>3.6429999999999998</c:v>
                </c:pt>
                <c:pt idx="155">
                  <c:v>3.9009999999999998</c:v>
                </c:pt>
                <c:pt idx="156">
                  <c:v>3.95</c:v>
                </c:pt>
                <c:pt idx="157">
                  <c:v>3.9020000000000001</c:v>
                </c:pt>
                <c:pt idx="158">
                  <c:v>3.8600000000000003</c:v>
                </c:pt>
                <c:pt idx="159">
                  <c:v>3.9279999999999999</c:v>
                </c:pt>
                <c:pt idx="160">
                  <c:v>4.6950000000000003</c:v>
                </c:pt>
                <c:pt idx="161">
                  <c:v>5.7009999999999996</c:v>
                </c:pt>
                <c:pt idx="162">
                  <c:v>5.4020000000000001</c:v>
                </c:pt>
                <c:pt idx="163">
                  <c:v>4.6920000000000002</c:v>
                </c:pt>
                <c:pt idx="164">
                  <c:v>3.8119999999999998</c:v>
                </c:pt>
                <c:pt idx="165">
                  <c:v>3.5090000000000003</c:v>
                </c:pt>
                <c:pt idx="166">
                  <c:v>3.81</c:v>
                </c:pt>
                <c:pt idx="167">
                  <c:v>3.4530000000000003</c:v>
                </c:pt>
                <c:pt idx="168">
                  <c:v>3.3860000000000001</c:v>
                </c:pt>
                <c:pt idx="169">
                  <c:v>3.4140000000000001</c:v>
                </c:pt>
                <c:pt idx="170">
                  <c:v>3.3959999999999999</c:v>
                </c:pt>
                <c:pt idx="171">
                  <c:v>3.5009999999999999</c:v>
                </c:pt>
                <c:pt idx="172">
                  <c:v>3.6070000000000002</c:v>
                </c:pt>
                <c:pt idx="173">
                  <c:v>3.6070000000000002</c:v>
                </c:pt>
                <c:pt idx="174">
                  <c:v>3.601</c:v>
                </c:pt>
                <c:pt idx="175">
                  <c:v>3.5369999999999999</c:v>
                </c:pt>
                <c:pt idx="176">
                  <c:v>3.7290000000000001</c:v>
                </c:pt>
                <c:pt idx="177">
                  <c:v>3.915</c:v>
                </c:pt>
                <c:pt idx="178">
                  <c:v>4.125</c:v>
                </c:pt>
                <c:pt idx="179">
                  <c:v>5.1929999999999996</c:v>
                </c:pt>
                <c:pt idx="180">
                  <c:v>4.5369999999999999</c:v>
                </c:pt>
                <c:pt idx="181">
                  <c:v>4.0529999999999999</c:v>
                </c:pt>
                <c:pt idx="182">
                  <c:v>3.9729999999999999</c:v>
                </c:pt>
                <c:pt idx="183">
                  <c:v>4.2750000000000004</c:v>
                </c:pt>
                <c:pt idx="184">
                  <c:v>5.3869999999999996</c:v>
                </c:pt>
                <c:pt idx="185">
                  <c:v>6.0950000000000006</c:v>
                </c:pt>
                <c:pt idx="186">
                  <c:v>6.4930000000000003</c:v>
                </c:pt>
                <c:pt idx="187">
                  <c:v>5.891</c:v>
                </c:pt>
                <c:pt idx="188">
                  <c:v>5.0030000000000001</c:v>
                </c:pt>
                <c:pt idx="189">
                  <c:v>3.9060000000000001</c:v>
                </c:pt>
                <c:pt idx="190">
                  <c:v>4.0060000000000002</c:v>
                </c:pt>
                <c:pt idx="191">
                  <c:v>3.7090000000000005</c:v>
                </c:pt>
                <c:pt idx="192">
                  <c:v>4</c:v>
                </c:pt>
                <c:pt idx="193">
                  <c:v>3.9049999999999998</c:v>
                </c:pt>
                <c:pt idx="194">
                  <c:v>3.9210000000000003</c:v>
                </c:pt>
                <c:pt idx="195">
                  <c:v>3.9240000000000004</c:v>
                </c:pt>
                <c:pt idx="196">
                  <c:v>4.0259999999999998</c:v>
                </c:pt>
                <c:pt idx="197">
                  <c:v>4.3840000000000003</c:v>
                </c:pt>
                <c:pt idx="198">
                  <c:v>5.899</c:v>
                </c:pt>
                <c:pt idx="199">
                  <c:v>7.4040000000000008</c:v>
                </c:pt>
                <c:pt idx="200">
                  <c:v>7.5489999999999995</c:v>
                </c:pt>
                <c:pt idx="201">
                  <c:v>7.4629999999999992</c:v>
                </c:pt>
                <c:pt idx="202">
                  <c:v>7.3970000000000002</c:v>
                </c:pt>
                <c:pt idx="203">
                  <c:v>7.2</c:v>
                </c:pt>
                <c:pt idx="204">
                  <c:v>7.2120000000000006</c:v>
                </c:pt>
                <c:pt idx="205">
                  <c:v>7.0090000000000003</c:v>
                </c:pt>
                <c:pt idx="206">
                  <c:v>6.7409999999999997</c:v>
                </c:pt>
                <c:pt idx="207">
                  <c:v>6.520999999999999</c:v>
                </c:pt>
                <c:pt idx="208">
                  <c:v>6.5090000000000003</c:v>
                </c:pt>
                <c:pt idx="209">
                  <c:v>7.4719999999999995</c:v>
                </c:pt>
                <c:pt idx="210">
                  <c:v>5.9939999999999998</c:v>
                </c:pt>
                <c:pt idx="211">
                  <c:v>5.2200000000000006</c:v>
                </c:pt>
                <c:pt idx="212">
                  <c:v>3.91</c:v>
                </c:pt>
                <c:pt idx="213">
                  <c:v>3.6619999999999999</c:v>
                </c:pt>
                <c:pt idx="214">
                  <c:v>3.6079999999999997</c:v>
                </c:pt>
                <c:pt idx="215">
                  <c:v>3.2759999999999998</c:v>
                </c:pt>
                <c:pt idx="216">
                  <c:v>3.2450000000000001</c:v>
                </c:pt>
                <c:pt idx="217">
                  <c:v>3.1520000000000001</c:v>
                </c:pt>
                <c:pt idx="218">
                  <c:v>2.9079999999999999</c:v>
                </c:pt>
                <c:pt idx="219">
                  <c:v>2.8920000000000003</c:v>
                </c:pt>
                <c:pt idx="220">
                  <c:v>3.149</c:v>
                </c:pt>
                <c:pt idx="221">
                  <c:v>3.306</c:v>
                </c:pt>
                <c:pt idx="222">
                  <c:v>3.6259999999999999</c:v>
                </c:pt>
                <c:pt idx="223">
                  <c:v>4.5999999999999996</c:v>
                </c:pt>
                <c:pt idx="224">
                  <c:v>5.9889999999999999</c:v>
                </c:pt>
                <c:pt idx="225">
                  <c:v>5.9960000000000004</c:v>
                </c:pt>
                <c:pt idx="226">
                  <c:v>6.2690000000000001</c:v>
                </c:pt>
                <c:pt idx="227">
                  <c:v>6.6819999999999995</c:v>
                </c:pt>
                <c:pt idx="228">
                  <c:v>7.1420000000000003</c:v>
                </c:pt>
                <c:pt idx="229">
                  <c:v>7.2329999999999997</c:v>
                </c:pt>
                <c:pt idx="230">
                  <c:v>6.95</c:v>
                </c:pt>
                <c:pt idx="231">
                  <c:v>7.0640000000000001</c:v>
                </c:pt>
                <c:pt idx="232">
                  <c:v>6.6959999999999997</c:v>
                </c:pt>
                <c:pt idx="233">
                  <c:v>8.8379999999999992</c:v>
                </c:pt>
                <c:pt idx="234">
                  <c:v>9.8930000000000007</c:v>
                </c:pt>
                <c:pt idx="235">
                  <c:v>6.9650000000000007</c:v>
                </c:pt>
                <c:pt idx="236">
                  <c:v>5.8819999999999997</c:v>
                </c:pt>
                <c:pt idx="237">
                  <c:v>4.7629999999999999</c:v>
                </c:pt>
                <c:pt idx="238">
                  <c:v>4.008</c:v>
                </c:pt>
                <c:pt idx="239">
                  <c:v>3.806</c:v>
                </c:pt>
                <c:pt idx="240">
                  <c:v>3.899</c:v>
                </c:pt>
                <c:pt idx="241">
                  <c:v>3.72</c:v>
                </c:pt>
                <c:pt idx="242">
                  <c:v>3.403</c:v>
                </c:pt>
                <c:pt idx="243">
                  <c:v>3.4780000000000002</c:v>
                </c:pt>
                <c:pt idx="244">
                  <c:v>3.2700000000000005</c:v>
                </c:pt>
                <c:pt idx="245">
                  <c:v>3.121</c:v>
                </c:pt>
                <c:pt idx="246">
                  <c:v>3.72</c:v>
                </c:pt>
                <c:pt idx="247">
                  <c:v>4.9969999999999999</c:v>
                </c:pt>
                <c:pt idx="248">
                  <c:v>4.6979999999999995</c:v>
                </c:pt>
                <c:pt idx="249">
                  <c:v>4.4700000000000006</c:v>
                </c:pt>
                <c:pt idx="250">
                  <c:v>4.4409999999999998</c:v>
                </c:pt>
                <c:pt idx="251">
                  <c:v>4.1059999999999999</c:v>
                </c:pt>
                <c:pt idx="252">
                  <c:v>3.694</c:v>
                </c:pt>
                <c:pt idx="253">
                  <c:v>3.4090000000000003</c:v>
                </c:pt>
                <c:pt idx="254">
                  <c:v>3.3679999999999999</c:v>
                </c:pt>
                <c:pt idx="255">
                  <c:v>3.3639999999999999</c:v>
                </c:pt>
                <c:pt idx="256">
                  <c:v>3.3659999999999997</c:v>
                </c:pt>
                <c:pt idx="257">
                  <c:v>3.8530000000000002</c:v>
                </c:pt>
                <c:pt idx="258">
                  <c:v>3.7399999999999998</c:v>
                </c:pt>
                <c:pt idx="259">
                  <c:v>3.7069999999999999</c:v>
                </c:pt>
                <c:pt idx="260">
                  <c:v>3.4</c:v>
                </c:pt>
                <c:pt idx="261">
                  <c:v>3.1829999999999998</c:v>
                </c:pt>
                <c:pt idx="262">
                  <c:v>2.6269999999999998</c:v>
                </c:pt>
                <c:pt idx="263">
                  <c:v>1.1679999999999999</c:v>
                </c:pt>
                <c:pt idx="264">
                  <c:v>1.212</c:v>
                </c:pt>
                <c:pt idx="265">
                  <c:v>0.98299999999999998</c:v>
                </c:pt>
                <c:pt idx="266">
                  <c:v>0.90199999999999991</c:v>
                </c:pt>
                <c:pt idx="267">
                  <c:v>0.92699999999999994</c:v>
                </c:pt>
                <c:pt idx="268">
                  <c:v>0.98399999999999999</c:v>
                </c:pt>
                <c:pt idx="269">
                  <c:v>1.0550000000000002</c:v>
                </c:pt>
                <c:pt idx="270">
                  <c:v>2.8289999999999997</c:v>
                </c:pt>
                <c:pt idx="271">
                  <c:v>4.0020000000000007</c:v>
                </c:pt>
                <c:pt idx="272">
                  <c:v>4.0069999999999997</c:v>
                </c:pt>
                <c:pt idx="273">
                  <c:v>3.8200000000000003</c:v>
                </c:pt>
                <c:pt idx="274">
                  <c:v>3.8609999999999998</c:v>
                </c:pt>
                <c:pt idx="275">
                  <c:v>3.843</c:v>
                </c:pt>
                <c:pt idx="276">
                  <c:v>3.6700000000000004</c:v>
                </c:pt>
                <c:pt idx="277">
                  <c:v>3.9609999999999999</c:v>
                </c:pt>
                <c:pt idx="278">
                  <c:v>4.0049999999999999</c:v>
                </c:pt>
                <c:pt idx="279">
                  <c:v>4.532</c:v>
                </c:pt>
                <c:pt idx="280">
                  <c:v>4.6979999999999995</c:v>
                </c:pt>
                <c:pt idx="281">
                  <c:v>5.7090000000000005</c:v>
                </c:pt>
                <c:pt idx="282">
                  <c:v>5.7130000000000001</c:v>
                </c:pt>
                <c:pt idx="283">
                  <c:v>5.7050000000000001</c:v>
                </c:pt>
                <c:pt idx="284">
                  <c:v>4.5009999999999994</c:v>
                </c:pt>
                <c:pt idx="285">
                  <c:v>4.0090000000000003</c:v>
                </c:pt>
                <c:pt idx="286">
                  <c:v>3.7890000000000001</c:v>
                </c:pt>
                <c:pt idx="287">
                  <c:v>3.3069999999999999</c:v>
                </c:pt>
                <c:pt idx="288">
                  <c:v>3.5189999999999997</c:v>
                </c:pt>
                <c:pt idx="289">
                  <c:v>3.3439999999999999</c:v>
                </c:pt>
                <c:pt idx="290">
                  <c:v>3.2439999999999998</c:v>
                </c:pt>
                <c:pt idx="291">
                  <c:v>2.98</c:v>
                </c:pt>
                <c:pt idx="292">
                  <c:v>2.9249999999999998</c:v>
                </c:pt>
                <c:pt idx="293">
                  <c:v>3.0640000000000001</c:v>
                </c:pt>
                <c:pt idx="294">
                  <c:v>3.7270000000000003</c:v>
                </c:pt>
                <c:pt idx="295">
                  <c:v>4.6979999999999995</c:v>
                </c:pt>
                <c:pt idx="296">
                  <c:v>4.55</c:v>
                </c:pt>
                <c:pt idx="297">
                  <c:v>4.548</c:v>
                </c:pt>
                <c:pt idx="298">
                  <c:v>4.6959999999999997</c:v>
                </c:pt>
                <c:pt idx="299">
                  <c:v>4.67</c:v>
                </c:pt>
                <c:pt idx="300">
                  <c:v>4.3070000000000004</c:v>
                </c:pt>
                <c:pt idx="301">
                  <c:v>4.2060000000000004</c:v>
                </c:pt>
                <c:pt idx="302">
                  <c:v>4.1979999999999995</c:v>
                </c:pt>
                <c:pt idx="303">
                  <c:v>4.3029999999999999</c:v>
                </c:pt>
                <c:pt idx="304">
                  <c:v>4.4870000000000001</c:v>
                </c:pt>
                <c:pt idx="305">
                  <c:v>4.8719999999999999</c:v>
                </c:pt>
                <c:pt idx="306">
                  <c:v>4.5170000000000003</c:v>
                </c:pt>
                <c:pt idx="307">
                  <c:v>4.4939999999999998</c:v>
                </c:pt>
                <c:pt idx="308">
                  <c:v>3.9939999999999998</c:v>
                </c:pt>
                <c:pt idx="309">
                  <c:v>3.6700000000000004</c:v>
                </c:pt>
                <c:pt idx="310">
                  <c:v>3.399</c:v>
                </c:pt>
                <c:pt idx="311">
                  <c:v>3.0989999999999998</c:v>
                </c:pt>
                <c:pt idx="312">
                  <c:v>2.9820000000000002</c:v>
                </c:pt>
                <c:pt idx="313">
                  <c:v>2.8980000000000001</c:v>
                </c:pt>
                <c:pt idx="314">
                  <c:v>2.8639999999999999</c:v>
                </c:pt>
                <c:pt idx="315">
                  <c:v>2.85</c:v>
                </c:pt>
                <c:pt idx="316">
                  <c:v>2.8609999999999998</c:v>
                </c:pt>
                <c:pt idx="317">
                  <c:v>2.8050000000000002</c:v>
                </c:pt>
                <c:pt idx="318">
                  <c:v>2.9489999999999998</c:v>
                </c:pt>
                <c:pt idx="319">
                  <c:v>2.8969999999999998</c:v>
                </c:pt>
                <c:pt idx="320">
                  <c:v>3.319</c:v>
                </c:pt>
                <c:pt idx="321">
                  <c:v>3.6779999999999999</c:v>
                </c:pt>
                <c:pt idx="322">
                  <c:v>3.9810000000000003</c:v>
                </c:pt>
                <c:pt idx="323">
                  <c:v>4.0049999999999999</c:v>
                </c:pt>
                <c:pt idx="324">
                  <c:v>3.6469999999999998</c:v>
                </c:pt>
                <c:pt idx="325">
                  <c:v>3.476</c:v>
                </c:pt>
                <c:pt idx="326">
                  <c:v>3.3369999999999997</c:v>
                </c:pt>
                <c:pt idx="327">
                  <c:v>3.4289999999999998</c:v>
                </c:pt>
                <c:pt idx="328">
                  <c:v>3.8540000000000001</c:v>
                </c:pt>
                <c:pt idx="329">
                  <c:v>4.1970000000000001</c:v>
                </c:pt>
                <c:pt idx="330">
                  <c:v>3.964</c:v>
                </c:pt>
                <c:pt idx="331">
                  <c:v>3.7009999999999996</c:v>
                </c:pt>
                <c:pt idx="332">
                  <c:v>3.2520000000000002</c:v>
                </c:pt>
                <c:pt idx="333">
                  <c:v>3.0659999999999998</c:v>
                </c:pt>
                <c:pt idx="334">
                  <c:v>3.0249999999999999</c:v>
                </c:pt>
                <c:pt idx="335">
                  <c:v>2.9550000000000001</c:v>
                </c:pt>
                <c:pt idx="336">
                  <c:v>2.875</c:v>
                </c:pt>
                <c:pt idx="337">
                  <c:v>2.8109999999999999</c:v>
                </c:pt>
                <c:pt idx="338">
                  <c:v>2.6030000000000002</c:v>
                </c:pt>
                <c:pt idx="339">
                  <c:v>1.996</c:v>
                </c:pt>
                <c:pt idx="340">
                  <c:v>2.2930000000000001</c:v>
                </c:pt>
                <c:pt idx="341">
                  <c:v>2.2800000000000002</c:v>
                </c:pt>
                <c:pt idx="342">
                  <c:v>1.4910000000000001</c:v>
                </c:pt>
                <c:pt idx="343">
                  <c:v>2.0369999999999999</c:v>
                </c:pt>
                <c:pt idx="344">
                  <c:v>3.3280000000000003</c:v>
                </c:pt>
                <c:pt idx="345">
                  <c:v>3.3959999999999999</c:v>
                </c:pt>
                <c:pt idx="346">
                  <c:v>3.5979999999999999</c:v>
                </c:pt>
                <c:pt idx="347">
                  <c:v>4.4649999999999999</c:v>
                </c:pt>
                <c:pt idx="348">
                  <c:v>4.1680000000000001</c:v>
                </c:pt>
                <c:pt idx="349">
                  <c:v>3.6659999999999995</c:v>
                </c:pt>
                <c:pt idx="350">
                  <c:v>3.5720000000000001</c:v>
                </c:pt>
                <c:pt idx="351">
                  <c:v>3.6350000000000002</c:v>
                </c:pt>
                <c:pt idx="352">
                  <c:v>3.871</c:v>
                </c:pt>
                <c:pt idx="353">
                  <c:v>5.4350000000000005</c:v>
                </c:pt>
                <c:pt idx="354">
                  <c:v>5.8020000000000005</c:v>
                </c:pt>
                <c:pt idx="355">
                  <c:v>5.5119999999999996</c:v>
                </c:pt>
                <c:pt idx="356">
                  <c:v>4.7909999999999995</c:v>
                </c:pt>
                <c:pt idx="357">
                  <c:v>3.6920000000000002</c:v>
                </c:pt>
                <c:pt idx="358">
                  <c:v>4.3</c:v>
                </c:pt>
                <c:pt idx="359">
                  <c:v>3.8639999999999999</c:v>
                </c:pt>
                <c:pt idx="360">
                  <c:v>4.5069999999999997</c:v>
                </c:pt>
                <c:pt idx="361">
                  <c:v>4.3250000000000002</c:v>
                </c:pt>
                <c:pt idx="362">
                  <c:v>3.9079999999999999</c:v>
                </c:pt>
                <c:pt idx="363">
                  <c:v>3.7570000000000001</c:v>
                </c:pt>
                <c:pt idx="364">
                  <c:v>3.8240000000000003</c:v>
                </c:pt>
                <c:pt idx="365">
                  <c:v>3.9060000000000001</c:v>
                </c:pt>
                <c:pt idx="366">
                  <c:v>6.4799999999999995</c:v>
                </c:pt>
                <c:pt idx="367">
                  <c:v>9.4430000000000014</c:v>
                </c:pt>
                <c:pt idx="368">
                  <c:v>9.9760000000000009</c:v>
                </c:pt>
                <c:pt idx="369">
                  <c:v>10.087999999999999</c:v>
                </c:pt>
                <c:pt idx="370">
                  <c:v>9.9969999999999999</c:v>
                </c:pt>
                <c:pt idx="371">
                  <c:v>9.9559999999999995</c:v>
                </c:pt>
                <c:pt idx="372">
                  <c:v>9.8559999999999999</c:v>
                </c:pt>
                <c:pt idx="373">
                  <c:v>9.8919999999999995</c:v>
                </c:pt>
                <c:pt idx="374">
                  <c:v>10.026</c:v>
                </c:pt>
                <c:pt idx="375">
                  <c:v>10.384</c:v>
                </c:pt>
                <c:pt idx="376">
                  <c:v>10.206</c:v>
                </c:pt>
                <c:pt idx="377">
                  <c:v>12</c:v>
                </c:pt>
                <c:pt idx="378">
                  <c:v>12.483000000000001</c:v>
                </c:pt>
                <c:pt idx="379">
                  <c:v>11.369</c:v>
                </c:pt>
                <c:pt idx="380">
                  <c:v>8.8979999999999997</c:v>
                </c:pt>
                <c:pt idx="381">
                  <c:v>7.359</c:v>
                </c:pt>
                <c:pt idx="382">
                  <c:v>5.5190000000000001</c:v>
                </c:pt>
                <c:pt idx="383">
                  <c:v>4.5060000000000002</c:v>
                </c:pt>
                <c:pt idx="384">
                  <c:v>4.5830000000000002</c:v>
                </c:pt>
                <c:pt idx="385">
                  <c:v>4.1639999999999997</c:v>
                </c:pt>
                <c:pt idx="386">
                  <c:v>3.4609999999999999</c:v>
                </c:pt>
                <c:pt idx="387">
                  <c:v>3.6280000000000001</c:v>
                </c:pt>
                <c:pt idx="388">
                  <c:v>3.5249999999999999</c:v>
                </c:pt>
                <c:pt idx="389">
                  <c:v>3.9939999999999998</c:v>
                </c:pt>
                <c:pt idx="390">
                  <c:v>5.8289999999999997</c:v>
                </c:pt>
                <c:pt idx="391">
                  <c:v>11.104000000000001</c:v>
                </c:pt>
                <c:pt idx="392">
                  <c:v>12.167</c:v>
                </c:pt>
                <c:pt idx="393">
                  <c:v>12.561</c:v>
                </c:pt>
                <c:pt idx="394">
                  <c:v>12.148999999999999</c:v>
                </c:pt>
                <c:pt idx="395">
                  <c:v>11.734</c:v>
                </c:pt>
                <c:pt idx="396">
                  <c:v>10.615</c:v>
                </c:pt>
                <c:pt idx="397">
                  <c:v>10.190999999999999</c:v>
                </c:pt>
                <c:pt idx="398">
                  <c:v>10.003</c:v>
                </c:pt>
                <c:pt idx="399">
                  <c:v>10.342000000000001</c:v>
                </c:pt>
                <c:pt idx="400">
                  <c:v>11.090999999999999</c:v>
                </c:pt>
                <c:pt idx="401">
                  <c:v>14.278</c:v>
                </c:pt>
                <c:pt idx="402">
                  <c:v>14.309000000000001</c:v>
                </c:pt>
                <c:pt idx="403">
                  <c:v>12.494</c:v>
                </c:pt>
                <c:pt idx="404">
                  <c:v>8.4969999999999999</c:v>
                </c:pt>
                <c:pt idx="405">
                  <c:v>5.508</c:v>
                </c:pt>
                <c:pt idx="406">
                  <c:v>4.8950000000000005</c:v>
                </c:pt>
                <c:pt idx="407">
                  <c:v>3.774</c:v>
                </c:pt>
                <c:pt idx="408">
                  <c:v>3.8280000000000003</c:v>
                </c:pt>
                <c:pt idx="409">
                  <c:v>3.774</c:v>
                </c:pt>
                <c:pt idx="410">
                  <c:v>3.5090000000000003</c:v>
                </c:pt>
                <c:pt idx="411">
                  <c:v>3.5070000000000001</c:v>
                </c:pt>
                <c:pt idx="412">
                  <c:v>3.5070000000000001</c:v>
                </c:pt>
                <c:pt idx="413">
                  <c:v>3.6619999999999999</c:v>
                </c:pt>
                <c:pt idx="414">
                  <c:v>5.508</c:v>
                </c:pt>
                <c:pt idx="415">
                  <c:v>8.9640000000000004</c:v>
                </c:pt>
                <c:pt idx="416">
                  <c:v>9.1750000000000007</c:v>
                </c:pt>
                <c:pt idx="417">
                  <c:v>8.4920000000000009</c:v>
                </c:pt>
                <c:pt idx="418">
                  <c:v>8.293000000000001</c:v>
                </c:pt>
                <c:pt idx="419">
                  <c:v>8.5969999999999995</c:v>
                </c:pt>
                <c:pt idx="420">
                  <c:v>8.6029999999999998</c:v>
                </c:pt>
                <c:pt idx="421">
                  <c:v>9.1020000000000003</c:v>
                </c:pt>
                <c:pt idx="422">
                  <c:v>8.9920000000000009</c:v>
                </c:pt>
                <c:pt idx="423">
                  <c:v>8.67</c:v>
                </c:pt>
                <c:pt idx="424">
                  <c:v>9.245000000000001</c:v>
                </c:pt>
                <c:pt idx="425">
                  <c:v>11.57</c:v>
                </c:pt>
                <c:pt idx="426">
                  <c:v>9.125</c:v>
                </c:pt>
                <c:pt idx="427">
                  <c:v>8.391</c:v>
                </c:pt>
                <c:pt idx="428">
                  <c:v>7.9730000000000008</c:v>
                </c:pt>
                <c:pt idx="429">
                  <c:v>5.5030000000000001</c:v>
                </c:pt>
                <c:pt idx="430">
                  <c:v>4.8860000000000001</c:v>
                </c:pt>
                <c:pt idx="431">
                  <c:v>4.49</c:v>
                </c:pt>
                <c:pt idx="432">
                  <c:v>3.8530000000000002</c:v>
                </c:pt>
                <c:pt idx="433">
                  <c:v>3.7880000000000003</c:v>
                </c:pt>
                <c:pt idx="434">
                  <c:v>3.661</c:v>
                </c:pt>
                <c:pt idx="435">
                  <c:v>3.6320000000000001</c:v>
                </c:pt>
                <c:pt idx="436">
                  <c:v>3.6450000000000005</c:v>
                </c:pt>
                <c:pt idx="437">
                  <c:v>3.867</c:v>
                </c:pt>
                <c:pt idx="438">
                  <c:v>5.0039999999999996</c:v>
                </c:pt>
                <c:pt idx="439">
                  <c:v>8.2900000000000009</c:v>
                </c:pt>
                <c:pt idx="440">
                  <c:v>8.995000000000001</c:v>
                </c:pt>
                <c:pt idx="441">
                  <c:v>8.2140000000000004</c:v>
                </c:pt>
                <c:pt idx="442">
                  <c:v>8</c:v>
                </c:pt>
                <c:pt idx="443">
                  <c:v>7.992</c:v>
                </c:pt>
                <c:pt idx="444">
                  <c:v>7.9969999999999999</c:v>
                </c:pt>
                <c:pt idx="445">
                  <c:v>7.992</c:v>
                </c:pt>
                <c:pt idx="446">
                  <c:v>7.3950000000000005</c:v>
                </c:pt>
                <c:pt idx="447">
                  <c:v>7.391</c:v>
                </c:pt>
                <c:pt idx="448">
                  <c:v>7.4620000000000006</c:v>
                </c:pt>
                <c:pt idx="449">
                  <c:v>10.01</c:v>
                </c:pt>
                <c:pt idx="450">
                  <c:v>11.492000000000001</c:v>
                </c:pt>
                <c:pt idx="451">
                  <c:v>9.0749999999999993</c:v>
                </c:pt>
                <c:pt idx="452">
                  <c:v>7.4989999999999997</c:v>
                </c:pt>
                <c:pt idx="453">
                  <c:v>5.617</c:v>
                </c:pt>
                <c:pt idx="454">
                  <c:v>5.0049999999999999</c:v>
                </c:pt>
                <c:pt idx="455">
                  <c:v>4.5830000000000002</c:v>
                </c:pt>
                <c:pt idx="456">
                  <c:v>4.5090000000000003</c:v>
                </c:pt>
                <c:pt idx="457">
                  <c:v>3.9509999999999996</c:v>
                </c:pt>
                <c:pt idx="458">
                  <c:v>3.8029999999999999</c:v>
                </c:pt>
                <c:pt idx="459">
                  <c:v>3.6850000000000001</c:v>
                </c:pt>
                <c:pt idx="460">
                  <c:v>3.806</c:v>
                </c:pt>
                <c:pt idx="461">
                  <c:v>3.8729999999999998</c:v>
                </c:pt>
                <c:pt idx="462">
                  <c:v>5.5630000000000006</c:v>
                </c:pt>
                <c:pt idx="463">
                  <c:v>6.9989999999999997</c:v>
                </c:pt>
                <c:pt idx="464">
                  <c:v>8.7420000000000009</c:v>
                </c:pt>
                <c:pt idx="465">
                  <c:v>8.7609999999999992</c:v>
                </c:pt>
                <c:pt idx="466">
                  <c:v>7.9859999999999998</c:v>
                </c:pt>
                <c:pt idx="467">
                  <c:v>7.7840000000000007</c:v>
                </c:pt>
                <c:pt idx="468">
                  <c:v>7.0439999999999996</c:v>
                </c:pt>
                <c:pt idx="469">
                  <c:v>7.2799999999999994</c:v>
                </c:pt>
                <c:pt idx="470">
                  <c:v>6.5930000000000009</c:v>
                </c:pt>
                <c:pt idx="471">
                  <c:v>7.293000000000001</c:v>
                </c:pt>
                <c:pt idx="472">
                  <c:v>7.734</c:v>
                </c:pt>
                <c:pt idx="473">
                  <c:v>9.0069999999999997</c:v>
                </c:pt>
                <c:pt idx="474">
                  <c:v>8.7949999999999999</c:v>
                </c:pt>
                <c:pt idx="475">
                  <c:v>7.694</c:v>
                </c:pt>
                <c:pt idx="476">
                  <c:v>6.298</c:v>
                </c:pt>
                <c:pt idx="477">
                  <c:v>4.71</c:v>
                </c:pt>
                <c:pt idx="478">
                  <c:v>4.5020000000000007</c:v>
                </c:pt>
                <c:pt idx="479">
                  <c:v>4.5090000000000003</c:v>
                </c:pt>
                <c:pt idx="480">
                  <c:v>4.59</c:v>
                </c:pt>
                <c:pt idx="481">
                  <c:v>3.9340000000000002</c:v>
                </c:pt>
                <c:pt idx="482">
                  <c:v>4.0990000000000002</c:v>
                </c:pt>
                <c:pt idx="483">
                  <c:v>4.4039999999999999</c:v>
                </c:pt>
                <c:pt idx="484">
                  <c:v>4.3070000000000004</c:v>
                </c:pt>
                <c:pt idx="485">
                  <c:v>4.1560000000000006</c:v>
                </c:pt>
                <c:pt idx="486">
                  <c:v>4.0619999999999994</c:v>
                </c:pt>
                <c:pt idx="487">
                  <c:v>4.3929999999999998</c:v>
                </c:pt>
                <c:pt idx="488">
                  <c:v>5.0990000000000002</c:v>
                </c:pt>
                <c:pt idx="489">
                  <c:v>5.4979999999999993</c:v>
                </c:pt>
                <c:pt idx="490">
                  <c:v>5.3049999999999997</c:v>
                </c:pt>
                <c:pt idx="491">
                  <c:v>4.8340000000000005</c:v>
                </c:pt>
                <c:pt idx="492">
                  <c:v>4.5890000000000004</c:v>
                </c:pt>
                <c:pt idx="493">
                  <c:v>4.33</c:v>
                </c:pt>
                <c:pt idx="494">
                  <c:v>4.4000000000000004</c:v>
                </c:pt>
                <c:pt idx="495">
                  <c:v>4.7560000000000002</c:v>
                </c:pt>
                <c:pt idx="496">
                  <c:v>6.194</c:v>
                </c:pt>
                <c:pt idx="497">
                  <c:v>6.5909999999999993</c:v>
                </c:pt>
                <c:pt idx="498">
                  <c:v>6.5010000000000003</c:v>
                </c:pt>
                <c:pt idx="499">
                  <c:v>6.2919999999999998</c:v>
                </c:pt>
                <c:pt idx="500">
                  <c:v>4.7009999999999996</c:v>
                </c:pt>
                <c:pt idx="501">
                  <c:v>4.4030000000000005</c:v>
                </c:pt>
                <c:pt idx="502">
                  <c:v>4.4329999999999998</c:v>
                </c:pt>
                <c:pt idx="503">
                  <c:v>3.9539999999999997</c:v>
                </c:pt>
                <c:pt idx="504">
                  <c:v>3.8600000000000003</c:v>
                </c:pt>
                <c:pt idx="505">
                  <c:v>3.8220000000000001</c:v>
                </c:pt>
                <c:pt idx="506">
                  <c:v>3.8600000000000003</c:v>
                </c:pt>
                <c:pt idx="507">
                  <c:v>3.7429999999999999</c:v>
                </c:pt>
                <c:pt idx="508">
                  <c:v>3.8270000000000004</c:v>
                </c:pt>
                <c:pt idx="509">
                  <c:v>3.7829999999999999</c:v>
                </c:pt>
                <c:pt idx="510">
                  <c:v>3.597</c:v>
                </c:pt>
                <c:pt idx="511">
                  <c:v>3.9240000000000004</c:v>
                </c:pt>
                <c:pt idx="512">
                  <c:v>3.7759999999999998</c:v>
                </c:pt>
                <c:pt idx="513">
                  <c:v>3.9259999999999997</c:v>
                </c:pt>
                <c:pt idx="514">
                  <c:v>3.8029999999999999</c:v>
                </c:pt>
                <c:pt idx="515">
                  <c:v>3.8159999999999998</c:v>
                </c:pt>
                <c:pt idx="516">
                  <c:v>3.7069999999999999</c:v>
                </c:pt>
                <c:pt idx="517">
                  <c:v>3.6030000000000002</c:v>
                </c:pt>
                <c:pt idx="518">
                  <c:v>3.7320000000000002</c:v>
                </c:pt>
                <c:pt idx="519">
                  <c:v>3.8289999999999997</c:v>
                </c:pt>
                <c:pt idx="520">
                  <c:v>4.4060000000000006</c:v>
                </c:pt>
                <c:pt idx="521">
                  <c:v>6.1920000000000002</c:v>
                </c:pt>
                <c:pt idx="522">
                  <c:v>5.7720000000000002</c:v>
                </c:pt>
                <c:pt idx="523">
                  <c:v>5.7380000000000004</c:v>
                </c:pt>
                <c:pt idx="524">
                  <c:v>4.5999999999999996</c:v>
                </c:pt>
                <c:pt idx="525">
                  <c:v>3.9390000000000001</c:v>
                </c:pt>
                <c:pt idx="526">
                  <c:v>4.4049999999999994</c:v>
                </c:pt>
                <c:pt idx="527">
                  <c:v>3.593</c:v>
                </c:pt>
                <c:pt idx="528">
                  <c:v>3.91</c:v>
                </c:pt>
                <c:pt idx="529">
                  <c:v>3.8280000000000003</c:v>
                </c:pt>
                <c:pt idx="530">
                  <c:v>3.9430000000000001</c:v>
                </c:pt>
                <c:pt idx="531">
                  <c:v>3.7290000000000001</c:v>
                </c:pt>
                <c:pt idx="532">
                  <c:v>3.665</c:v>
                </c:pt>
                <c:pt idx="533">
                  <c:v>4.484</c:v>
                </c:pt>
                <c:pt idx="534">
                  <c:v>6.9969999999999999</c:v>
                </c:pt>
                <c:pt idx="535">
                  <c:v>9.8450000000000006</c:v>
                </c:pt>
                <c:pt idx="536">
                  <c:v>9.5830000000000002</c:v>
                </c:pt>
                <c:pt idx="537">
                  <c:v>9.9989999999999988</c:v>
                </c:pt>
                <c:pt idx="538">
                  <c:v>9.9359999999999999</c:v>
                </c:pt>
                <c:pt idx="539">
                  <c:v>8.7420000000000009</c:v>
                </c:pt>
                <c:pt idx="540">
                  <c:v>8.343</c:v>
                </c:pt>
                <c:pt idx="541">
                  <c:v>8.1810000000000009</c:v>
                </c:pt>
                <c:pt idx="542">
                  <c:v>8.51</c:v>
                </c:pt>
                <c:pt idx="543">
                  <c:v>8.2840000000000007</c:v>
                </c:pt>
                <c:pt idx="544">
                  <c:v>9.1140000000000008</c:v>
                </c:pt>
                <c:pt idx="545">
                  <c:v>10.998000000000001</c:v>
                </c:pt>
                <c:pt idx="546">
                  <c:v>12.84</c:v>
                </c:pt>
                <c:pt idx="547">
                  <c:v>10.387</c:v>
                </c:pt>
                <c:pt idx="548">
                  <c:v>8.4550000000000001</c:v>
                </c:pt>
                <c:pt idx="549">
                  <c:v>6.94</c:v>
                </c:pt>
                <c:pt idx="550">
                  <c:v>6.5060000000000002</c:v>
                </c:pt>
                <c:pt idx="551">
                  <c:v>4.3079999999999998</c:v>
                </c:pt>
                <c:pt idx="552">
                  <c:v>5.7009999999999996</c:v>
                </c:pt>
                <c:pt idx="553">
                  <c:v>5.1040000000000001</c:v>
                </c:pt>
                <c:pt idx="554">
                  <c:v>5.3049999999999997</c:v>
                </c:pt>
                <c:pt idx="555">
                  <c:v>4.8819999999999997</c:v>
                </c:pt>
                <c:pt idx="556">
                  <c:v>5.1520000000000001</c:v>
                </c:pt>
                <c:pt idx="557">
                  <c:v>5.6059999999999999</c:v>
                </c:pt>
                <c:pt idx="558">
                  <c:v>9.1209999999999987</c:v>
                </c:pt>
                <c:pt idx="559">
                  <c:v>16.352</c:v>
                </c:pt>
                <c:pt idx="560">
                  <c:v>15.366999999999999</c:v>
                </c:pt>
                <c:pt idx="561">
                  <c:v>15.01</c:v>
                </c:pt>
                <c:pt idx="562">
                  <c:v>15.106999999999999</c:v>
                </c:pt>
                <c:pt idx="563">
                  <c:v>13.5</c:v>
                </c:pt>
                <c:pt idx="564">
                  <c:v>12.157999999999999</c:v>
                </c:pt>
                <c:pt idx="565">
                  <c:v>11.768000000000001</c:v>
                </c:pt>
                <c:pt idx="566">
                  <c:v>11.221</c:v>
                </c:pt>
                <c:pt idx="567">
                  <c:v>11.718</c:v>
                </c:pt>
                <c:pt idx="568">
                  <c:v>12</c:v>
                </c:pt>
                <c:pt idx="569">
                  <c:v>13.100999999999999</c:v>
                </c:pt>
                <c:pt idx="570">
                  <c:v>13.891</c:v>
                </c:pt>
                <c:pt idx="571">
                  <c:v>11.379999999999999</c:v>
                </c:pt>
                <c:pt idx="572">
                  <c:v>10.992000000000001</c:v>
                </c:pt>
                <c:pt idx="573">
                  <c:v>7.8980000000000006</c:v>
                </c:pt>
                <c:pt idx="574">
                  <c:v>6.617</c:v>
                </c:pt>
                <c:pt idx="575">
                  <c:v>5.6609999999999996</c:v>
                </c:pt>
                <c:pt idx="576">
                  <c:v>5.4689999999999994</c:v>
                </c:pt>
                <c:pt idx="577">
                  <c:v>4.6579999999999995</c:v>
                </c:pt>
                <c:pt idx="578">
                  <c:v>4.2389999999999999</c:v>
                </c:pt>
                <c:pt idx="579">
                  <c:v>4.0939999999999994</c:v>
                </c:pt>
                <c:pt idx="580">
                  <c:v>4.3250000000000002</c:v>
                </c:pt>
                <c:pt idx="581">
                  <c:v>4.8029999999999999</c:v>
                </c:pt>
                <c:pt idx="582">
                  <c:v>6.7349999999999994</c:v>
                </c:pt>
                <c:pt idx="583">
                  <c:v>10.023999999999999</c:v>
                </c:pt>
                <c:pt idx="584">
                  <c:v>10.504000000000001</c:v>
                </c:pt>
                <c:pt idx="585">
                  <c:v>10.962999999999999</c:v>
                </c:pt>
                <c:pt idx="586">
                  <c:v>10.993</c:v>
                </c:pt>
                <c:pt idx="587">
                  <c:v>11.998000000000001</c:v>
                </c:pt>
                <c:pt idx="588">
                  <c:v>11.41</c:v>
                </c:pt>
                <c:pt idx="589">
                  <c:v>10.163</c:v>
                </c:pt>
                <c:pt idx="590">
                  <c:v>10.775</c:v>
                </c:pt>
                <c:pt idx="591">
                  <c:v>11.165000000000001</c:v>
                </c:pt>
                <c:pt idx="592">
                  <c:v>11.962999999999999</c:v>
                </c:pt>
                <c:pt idx="593">
                  <c:v>12.290000000000001</c:v>
                </c:pt>
                <c:pt idx="594">
                  <c:v>13.318000000000001</c:v>
                </c:pt>
                <c:pt idx="595">
                  <c:v>10.995999999999999</c:v>
                </c:pt>
                <c:pt idx="596">
                  <c:v>8.9959999999999987</c:v>
                </c:pt>
                <c:pt idx="597">
                  <c:v>6.234</c:v>
                </c:pt>
                <c:pt idx="598">
                  <c:v>5.7799999999999994</c:v>
                </c:pt>
                <c:pt idx="599">
                  <c:v>4.5229999999999997</c:v>
                </c:pt>
                <c:pt idx="600">
                  <c:v>4.3849999999999998</c:v>
                </c:pt>
                <c:pt idx="601">
                  <c:v>4.2060000000000004</c:v>
                </c:pt>
                <c:pt idx="602">
                  <c:v>4.0020000000000007</c:v>
                </c:pt>
                <c:pt idx="603">
                  <c:v>3.7850000000000001</c:v>
                </c:pt>
                <c:pt idx="604">
                  <c:v>3.8229999999999995</c:v>
                </c:pt>
                <c:pt idx="605">
                  <c:v>4.1100000000000003</c:v>
                </c:pt>
                <c:pt idx="606">
                  <c:v>4.4279999999999999</c:v>
                </c:pt>
                <c:pt idx="607">
                  <c:v>5.851</c:v>
                </c:pt>
                <c:pt idx="608">
                  <c:v>6.5049999999999999</c:v>
                </c:pt>
                <c:pt idx="609">
                  <c:v>6.0939999999999994</c:v>
                </c:pt>
                <c:pt idx="610">
                  <c:v>5.8130000000000006</c:v>
                </c:pt>
                <c:pt idx="611">
                  <c:v>5.9610000000000003</c:v>
                </c:pt>
                <c:pt idx="612">
                  <c:v>5.9450000000000003</c:v>
                </c:pt>
                <c:pt idx="613">
                  <c:v>5.351</c:v>
                </c:pt>
                <c:pt idx="614">
                  <c:v>5.75</c:v>
                </c:pt>
                <c:pt idx="615">
                  <c:v>5.4969999999999999</c:v>
                </c:pt>
                <c:pt idx="616">
                  <c:v>5.5720000000000001</c:v>
                </c:pt>
                <c:pt idx="617">
                  <c:v>5.4009999999999998</c:v>
                </c:pt>
                <c:pt idx="618">
                  <c:v>5.335</c:v>
                </c:pt>
                <c:pt idx="619">
                  <c:v>4.4979999999999993</c:v>
                </c:pt>
                <c:pt idx="620">
                  <c:v>3.6079999999999997</c:v>
                </c:pt>
                <c:pt idx="621">
                  <c:v>3.7869999999999999</c:v>
                </c:pt>
                <c:pt idx="622">
                  <c:v>4.1399999999999997</c:v>
                </c:pt>
                <c:pt idx="623">
                  <c:v>3.6700000000000004</c:v>
                </c:pt>
                <c:pt idx="624">
                  <c:v>3.508</c:v>
                </c:pt>
                <c:pt idx="625">
                  <c:v>3.431</c:v>
                </c:pt>
                <c:pt idx="626">
                  <c:v>3.4049999999999998</c:v>
                </c:pt>
                <c:pt idx="627">
                  <c:v>3.3969999999999998</c:v>
                </c:pt>
                <c:pt idx="628">
                  <c:v>3.403</c:v>
                </c:pt>
                <c:pt idx="629">
                  <c:v>3.4060000000000001</c:v>
                </c:pt>
                <c:pt idx="630">
                  <c:v>3.5799999999999996</c:v>
                </c:pt>
                <c:pt idx="631">
                  <c:v>4.6390000000000002</c:v>
                </c:pt>
                <c:pt idx="632">
                  <c:v>4.74</c:v>
                </c:pt>
                <c:pt idx="633">
                  <c:v>4.5039999999999996</c:v>
                </c:pt>
                <c:pt idx="634">
                  <c:v>4.3469999999999995</c:v>
                </c:pt>
                <c:pt idx="635">
                  <c:v>4.4139999999999997</c:v>
                </c:pt>
                <c:pt idx="636">
                  <c:v>4.4359999999999999</c:v>
                </c:pt>
                <c:pt idx="637">
                  <c:v>4.5179999999999998</c:v>
                </c:pt>
                <c:pt idx="638">
                  <c:v>4.8460000000000001</c:v>
                </c:pt>
                <c:pt idx="639">
                  <c:v>5.2919999999999998</c:v>
                </c:pt>
                <c:pt idx="640">
                  <c:v>5.5250000000000004</c:v>
                </c:pt>
                <c:pt idx="641">
                  <c:v>6.0359999999999996</c:v>
                </c:pt>
                <c:pt idx="642">
                  <c:v>5.6590000000000007</c:v>
                </c:pt>
                <c:pt idx="643">
                  <c:v>5.4610000000000003</c:v>
                </c:pt>
                <c:pt idx="644">
                  <c:v>4.7649999999999997</c:v>
                </c:pt>
                <c:pt idx="645">
                  <c:v>3.9899999999999998</c:v>
                </c:pt>
                <c:pt idx="646">
                  <c:v>3.9899999999999998</c:v>
                </c:pt>
                <c:pt idx="647">
                  <c:v>3.8029999999999999</c:v>
                </c:pt>
                <c:pt idx="648">
                  <c:v>3.9670000000000001</c:v>
                </c:pt>
                <c:pt idx="649">
                  <c:v>4</c:v>
                </c:pt>
                <c:pt idx="650">
                  <c:v>3.6</c:v>
                </c:pt>
                <c:pt idx="651">
                  <c:v>3.9</c:v>
                </c:pt>
                <c:pt idx="652">
                  <c:v>3.7389999999999999</c:v>
                </c:pt>
                <c:pt idx="653">
                  <c:v>3.778</c:v>
                </c:pt>
                <c:pt idx="654">
                  <c:v>3.7380000000000004</c:v>
                </c:pt>
                <c:pt idx="655">
                  <c:v>3.9649999999999999</c:v>
                </c:pt>
                <c:pt idx="656">
                  <c:v>4.734</c:v>
                </c:pt>
                <c:pt idx="657">
                  <c:v>4.49</c:v>
                </c:pt>
                <c:pt idx="658">
                  <c:v>4.0090000000000003</c:v>
                </c:pt>
                <c:pt idx="659">
                  <c:v>4.3600000000000003</c:v>
                </c:pt>
                <c:pt idx="660">
                  <c:v>3.84</c:v>
                </c:pt>
                <c:pt idx="661">
                  <c:v>3.774</c:v>
                </c:pt>
                <c:pt idx="662">
                  <c:v>4.101</c:v>
                </c:pt>
                <c:pt idx="663">
                  <c:v>4.992</c:v>
                </c:pt>
                <c:pt idx="664">
                  <c:v>5.415</c:v>
                </c:pt>
                <c:pt idx="665">
                  <c:v>6.0590000000000002</c:v>
                </c:pt>
                <c:pt idx="666">
                  <c:v>5.5200000000000005</c:v>
                </c:pt>
                <c:pt idx="667">
                  <c:v>4.8079999999999998</c:v>
                </c:pt>
                <c:pt idx="668">
                  <c:v>4.0570000000000004</c:v>
                </c:pt>
                <c:pt idx="669">
                  <c:v>3.8</c:v>
                </c:pt>
                <c:pt idx="670">
                  <c:v>3.72</c:v>
                </c:pt>
                <c:pt idx="671">
                  <c:v>3.3740000000000001</c:v>
                </c:pt>
                <c:pt idx="672">
                  <c:v>3.6040000000000001</c:v>
                </c:pt>
                <c:pt idx="673">
                  <c:v>3.2950000000000004</c:v>
                </c:pt>
                <c:pt idx="674">
                  <c:v>3.2939999999999996</c:v>
                </c:pt>
                <c:pt idx="675">
                  <c:v>3.1749999999999998</c:v>
                </c:pt>
                <c:pt idx="676">
                  <c:v>3.4649999999999999</c:v>
                </c:pt>
                <c:pt idx="677">
                  <c:v>3.2890000000000001</c:v>
                </c:pt>
                <c:pt idx="678">
                  <c:v>3.2960000000000003</c:v>
                </c:pt>
                <c:pt idx="679">
                  <c:v>3.5009999999999999</c:v>
                </c:pt>
                <c:pt idx="680">
                  <c:v>3.5</c:v>
                </c:pt>
                <c:pt idx="681">
                  <c:v>3.3049999999999997</c:v>
                </c:pt>
                <c:pt idx="682">
                  <c:v>3.3069999999999999</c:v>
                </c:pt>
                <c:pt idx="683">
                  <c:v>3.3069999999999999</c:v>
                </c:pt>
                <c:pt idx="684">
                  <c:v>3.3039999999999998</c:v>
                </c:pt>
                <c:pt idx="685">
                  <c:v>3.2909999999999995</c:v>
                </c:pt>
                <c:pt idx="686">
                  <c:v>3.464</c:v>
                </c:pt>
                <c:pt idx="687">
                  <c:v>3.7049999999999996</c:v>
                </c:pt>
                <c:pt idx="688">
                  <c:v>4.5579999999999998</c:v>
                </c:pt>
                <c:pt idx="689">
                  <c:v>5.3929999999999998</c:v>
                </c:pt>
                <c:pt idx="690">
                  <c:v>5.5250000000000004</c:v>
                </c:pt>
                <c:pt idx="691">
                  <c:v>5.0579999999999998</c:v>
                </c:pt>
                <c:pt idx="692">
                  <c:v>3.9840000000000004</c:v>
                </c:pt>
                <c:pt idx="693">
                  <c:v>3.7079999999999997</c:v>
                </c:pt>
                <c:pt idx="694">
                  <c:v>4.4210000000000003</c:v>
                </c:pt>
                <c:pt idx="695">
                  <c:v>3.6090000000000004</c:v>
                </c:pt>
                <c:pt idx="696">
                  <c:v>3.6509999999999998</c:v>
                </c:pt>
                <c:pt idx="697">
                  <c:v>3.649</c:v>
                </c:pt>
                <c:pt idx="698">
                  <c:v>3.6619999999999999</c:v>
                </c:pt>
                <c:pt idx="699">
                  <c:v>3.6049999999999995</c:v>
                </c:pt>
                <c:pt idx="700">
                  <c:v>3.5110000000000001</c:v>
                </c:pt>
                <c:pt idx="701">
                  <c:v>3.6680000000000001</c:v>
                </c:pt>
                <c:pt idx="702">
                  <c:v>4.7140000000000004</c:v>
                </c:pt>
                <c:pt idx="703">
                  <c:v>5.9130000000000003</c:v>
                </c:pt>
                <c:pt idx="704">
                  <c:v>6.5060000000000002</c:v>
                </c:pt>
                <c:pt idx="705">
                  <c:v>6.5019999999999998</c:v>
                </c:pt>
                <c:pt idx="706">
                  <c:v>6.8769999999999998</c:v>
                </c:pt>
                <c:pt idx="707">
                  <c:v>6.9909999999999997</c:v>
                </c:pt>
                <c:pt idx="708">
                  <c:v>6.016</c:v>
                </c:pt>
                <c:pt idx="709">
                  <c:v>6.3719999999999999</c:v>
                </c:pt>
                <c:pt idx="710">
                  <c:v>6.1319999999999997</c:v>
                </c:pt>
                <c:pt idx="711">
                  <c:v>5.5979999999999999</c:v>
                </c:pt>
                <c:pt idx="712">
                  <c:v>5.5939999999999994</c:v>
                </c:pt>
                <c:pt idx="713">
                  <c:v>6.8480000000000008</c:v>
                </c:pt>
                <c:pt idx="714">
                  <c:v>5.9979999999999993</c:v>
                </c:pt>
                <c:pt idx="715">
                  <c:v>5.6</c:v>
                </c:pt>
                <c:pt idx="716">
                  <c:v>4.7869999999999999</c:v>
                </c:pt>
                <c:pt idx="717">
                  <c:v>4.1929999999999996</c:v>
                </c:pt>
                <c:pt idx="718">
                  <c:v>4.5600000000000005</c:v>
                </c:pt>
                <c:pt idx="719">
                  <c:v>3.6590000000000003</c:v>
                </c:pt>
                <c:pt idx="720">
                  <c:v>3.306</c:v>
                </c:pt>
                <c:pt idx="721">
                  <c:v>3.4380000000000002</c:v>
                </c:pt>
                <c:pt idx="722">
                  <c:v>3.4380000000000002</c:v>
                </c:pt>
                <c:pt idx="723">
                  <c:v>3.5569999999999999</c:v>
                </c:pt>
                <c:pt idx="724">
                  <c:v>3.7329999999999997</c:v>
                </c:pt>
                <c:pt idx="725">
                  <c:v>3.8950000000000005</c:v>
                </c:pt>
                <c:pt idx="726">
                  <c:v>5.6950000000000003</c:v>
                </c:pt>
                <c:pt idx="727">
                  <c:v>8.1620000000000008</c:v>
                </c:pt>
                <c:pt idx="728">
                  <c:v>8.1819999999999986</c:v>
                </c:pt>
                <c:pt idx="729">
                  <c:v>8.202</c:v>
                </c:pt>
                <c:pt idx="730">
                  <c:v>8.98</c:v>
                </c:pt>
                <c:pt idx="731">
                  <c:v>8.9819999999999993</c:v>
                </c:pt>
                <c:pt idx="732">
                  <c:v>8.2360000000000007</c:v>
                </c:pt>
                <c:pt idx="733">
                  <c:v>8.202</c:v>
                </c:pt>
                <c:pt idx="734">
                  <c:v>9.0359999999999996</c:v>
                </c:pt>
                <c:pt idx="735">
                  <c:v>8.9749999999999996</c:v>
                </c:pt>
                <c:pt idx="736">
                  <c:v>9.02</c:v>
                </c:pt>
                <c:pt idx="737">
                  <c:v>9.5</c:v>
                </c:pt>
                <c:pt idx="738">
                  <c:v>10.433</c:v>
                </c:pt>
                <c:pt idx="739">
                  <c:v>9</c:v>
                </c:pt>
                <c:pt idx="740">
                  <c:v>8.4150000000000009</c:v>
                </c:pt>
                <c:pt idx="741">
                  <c:v>6.0920000000000005</c:v>
                </c:pt>
                <c:pt idx="742">
                  <c:v>5.49</c:v>
                </c:pt>
                <c:pt idx="743">
                  <c:v>4.069</c:v>
                </c:pt>
                <c:pt idx="744">
                  <c:v>4.4909999999999997</c:v>
                </c:pt>
                <c:pt idx="745">
                  <c:v>4.2249999999999996</c:v>
                </c:pt>
                <c:pt idx="746">
                  <c:v>3.9799999999999995</c:v>
                </c:pt>
                <c:pt idx="747">
                  <c:v>3.8149999999999999</c:v>
                </c:pt>
                <c:pt idx="748">
                  <c:v>3.8380000000000001</c:v>
                </c:pt>
                <c:pt idx="749">
                  <c:v>4.109</c:v>
                </c:pt>
                <c:pt idx="750">
                  <c:v>4.7859999999999996</c:v>
                </c:pt>
                <c:pt idx="751">
                  <c:v>6.5959999999999992</c:v>
                </c:pt>
                <c:pt idx="752">
                  <c:v>7.293000000000001</c:v>
                </c:pt>
                <c:pt idx="753">
                  <c:v>6.5909999999999993</c:v>
                </c:pt>
                <c:pt idx="754">
                  <c:v>6.5019999999999998</c:v>
                </c:pt>
                <c:pt idx="755">
                  <c:v>6.2909999999999995</c:v>
                </c:pt>
                <c:pt idx="756">
                  <c:v>5.6989999999999998</c:v>
                </c:pt>
                <c:pt idx="757">
                  <c:v>5.4180000000000001</c:v>
                </c:pt>
                <c:pt idx="758">
                  <c:v>5.0490000000000004</c:v>
                </c:pt>
                <c:pt idx="759">
                  <c:v>5.2350000000000003</c:v>
                </c:pt>
                <c:pt idx="760">
                  <c:v>5.7</c:v>
                </c:pt>
                <c:pt idx="761">
                  <c:v>6.258</c:v>
                </c:pt>
                <c:pt idx="762">
                  <c:v>5.6989999999999998</c:v>
                </c:pt>
                <c:pt idx="763">
                  <c:v>4.9740000000000002</c:v>
                </c:pt>
                <c:pt idx="764">
                  <c:v>4.1040000000000001</c:v>
                </c:pt>
                <c:pt idx="765">
                  <c:v>4.42</c:v>
                </c:pt>
                <c:pt idx="766">
                  <c:v>4.2380000000000004</c:v>
                </c:pt>
                <c:pt idx="767">
                  <c:v>3.806</c:v>
                </c:pt>
                <c:pt idx="768">
                  <c:v>3.105</c:v>
                </c:pt>
                <c:pt idx="769">
                  <c:v>2.98</c:v>
                </c:pt>
                <c:pt idx="770">
                  <c:v>3.2659999999999996</c:v>
                </c:pt>
                <c:pt idx="771">
                  <c:v>3.2299999999999995</c:v>
                </c:pt>
                <c:pt idx="772">
                  <c:v>3.105</c:v>
                </c:pt>
                <c:pt idx="773">
                  <c:v>3.2659999999999996</c:v>
                </c:pt>
                <c:pt idx="774">
                  <c:v>3.9909999999999997</c:v>
                </c:pt>
                <c:pt idx="775">
                  <c:v>5.5579999999999998</c:v>
                </c:pt>
                <c:pt idx="776">
                  <c:v>5.7189999999999994</c:v>
                </c:pt>
                <c:pt idx="777">
                  <c:v>5.91</c:v>
                </c:pt>
                <c:pt idx="778">
                  <c:v>5.8549999999999995</c:v>
                </c:pt>
                <c:pt idx="779">
                  <c:v>5.766</c:v>
                </c:pt>
                <c:pt idx="780">
                  <c:v>5.766</c:v>
                </c:pt>
                <c:pt idx="781">
                  <c:v>5.444</c:v>
                </c:pt>
                <c:pt idx="782">
                  <c:v>5.09</c:v>
                </c:pt>
                <c:pt idx="783">
                  <c:v>4.71</c:v>
                </c:pt>
                <c:pt idx="784">
                  <c:v>4.5979999999999999</c:v>
                </c:pt>
                <c:pt idx="785">
                  <c:v>4.88</c:v>
                </c:pt>
                <c:pt idx="786">
                  <c:v>5.33</c:v>
                </c:pt>
                <c:pt idx="787">
                  <c:v>4.8840000000000003</c:v>
                </c:pt>
                <c:pt idx="788">
                  <c:v>3.9969999999999999</c:v>
                </c:pt>
                <c:pt idx="789">
                  <c:v>3.9039999999999999</c:v>
                </c:pt>
                <c:pt idx="790">
                  <c:v>3.8780000000000001</c:v>
                </c:pt>
                <c:pt idx="791">
                  <c:v>3.4820000000000002</c:v>
                </c:pt>
                <c:pt idx="792">
                  <c:v>3.95</c:v>
                </c:pt>
                <c:pt idx="793">
                  <c:v>3.492</c:v>
                </c:pt>
                <c:pt idx="794">
                  <c:v>3.4259999999999997</c:v>
                </c:pt>
                <c:pt idx="795">
                  <c:v>3.2549999999999999</c:v>
                </c:pt>
                <c:pt idx="796">
                  <c:v>3.2490000000000001</c:v>
                </c:pt>
                <c:pt idx="797">
                  <c:v>3.585</c:v>
                </c:pt>
                <c:pt idx="798">
                  <c:v>4.3020000000000005</c:v>
                </c:pt>
                <c:pt idx="799">
                  <c:v>5.6319999999999997</c:v>
                </c:pt>
                <c:pt idx="800">
                  <c:v>6</c:v>
                </c:pt>
                <c:pt idx="801">
                  <c:v>5.8</c:v>
                </c:pt>
                <c:pt idx="802">
                  <c:v>5.6669999999999998</c:v>
                </c:pt>
                <c:pt idx="803">
                  <c:v>5.5969999999999995</c:v>
                </c:pt>
                <c:pt idx="804">
                  <c:v>5.4369999999999994</c:v>
                </c:pt>
                <c:pt idx="805">
                  <c:v>5.367</c:v>
                </c:pt>
                <c:pt idx="806">
                  <c:v>5.1959999999999997</c:v>
                </c:pt>
                <c:pt idx="807">
                  <c:v>4.8469999999999995</c:v>
                </c:pt>
                <c:pt idx="808">
                  <c:v>5.3330000000000002</c:v>
                </c:pt>
                <c:pt idx="809">
                  <c:v>6.0359999999999996</c:v>
                </c:pt>
                <c:pt idx="810">
                  <c:v>5.5789999999999997</c:v>
                </c:pt>
                <c:pt idx="811">
                  <c:v>5.9290000000000003</c:v>
                </c:pt>
                <c:pt idx="812">
                  <c:v>5.3680000000000003</c:v>
                </c:pt>
                <c:pt idx="813">
                  <c:v>4.49</c:v>
                </c:pt>
                <c:pt idx="814">
                  <c:v>4.4249999999999998</c:v>
                </c:pt>
                <c:pt idx="815">
                  <c:v>3.6079999999999997</c:v>
                </c:pt>
                <c:pt idx="816">
                  <c:v>3.7039999999999997</c:v>
                </c:pt>
                <c:pt idx="817">
                  <c:v>3.496</c:v>
                </c:pt>
                <c:pt idx="818">
                  <c:v>3.4009999999999998</c:v>
                </c:pt>
                <c:pt idx="819">
                  <c:v>3.1930000000000001</c:v>
                </c:pt>
                <c:pt idx="820">
                  <c:v>3.1890000000000001</c:v>
                </c:pt>
                <c:pt idx="821">
                  <c:v>3.2090000000000005</c:v>
                </c:pt>
                <c:pt idx="822">
                  <c:v>3.3820000000000001</c:v>
                </c:pt>
                <c:pt idx="823">
                  <c:v>3.7039999999999997</c:v>
                </c:pt>
                <c:pt idx="824">
                  <c:v>4.2320000000000002</c:v>
                </c:pt>
                <c:pt idx="825">
                  <c:v>4.9580000000000002</c:v>
                </c:pt>
                <c:pt idx="826">
                  <c:v>5.1970000000000001</c:v>
                </c:pt>
                <c:pt idx="827">
                  <c:v>5</c:v>
                </c:pt>
                <c:pt idx="828">
                  <c:v>5</c:v>
                </c:pt>
                <c:pt idx="829">
                  <c:v>4.9119999999999999</c:v>
                </c:pt>
                <c:pt idx="830">
                  <c:v>4.7219999999999995</c:v>
                </c:pt>
                <c:pt idx="831">
                  <c:v>4.5220000000000002</c:v>
                </c:pt>
                <c:pt idx="832">
                  <c:v>4.6259999999999994</c:v>
                </c:pt>
                <c:pt idx="833">
                  <c:v>5.6369999999999996</c:v>
                </c:pt>
                <c:pt idx="834">
                  <c:v>6.6180000000000003</c:v>
                </c:pt>
                <c:pt idx="835">
                  <c:v>6.1609999999999996</c:v>
                </c:pt>
                <c:pt idx="836">
                  <c:v>5.5490000000000004</c:v>
                </c:pt>
                <c:pt idx="837">
                  <c:v>5</c:v>
                </c:pt>
                <c:pt idx="838">
                  <c:v>5</c:v>
                </c:pt>
                <c:pt idx="839">
                  <c:v>4.306</c:v>
                </c:pt>
                <c:pt idx="840">
                  <c:v>3.5810000000000004</c:v>
                </c:pt>
                <c:pt idx="841">
                  <c:v>3.7299999999999995</c:v>
                </c:pt>
                <c:pt idx="842">
                  <c:v>3.7729999999999997</c:v>
                </c:pt>
                <c:pt idx="843">
                  <c:v>3.665</c:v>
                </c:pt>
                <c:pt idx="844">
                  <c:v>3.3149999999999999</c:v>
                </c:pt>
                <c:pt idx="845">
                  <c:v>3.4549999999999996</c:v>
                </c:pt>
                <c:pt idx="846">
                  <c:v>3.1659999999999999</c:v>
                </c:pt>
                <c:pt idx="847">
                  <c:v>3.6930000000000001</c:v>
                </c:pt>
                <c:pt idx="848">
                  <c:v>3.7520000000000002</c:v>
                </c:pt>
                <c:pt idx="849">
                  <c:v>4.0810000000000004</c:v>
                </c:pt>
                <c:pt idx="850">
                  <c:v>4.4020000000000001</c:v>
                </c:pt>
                <c:pt idx="851">
                  <c:v>5.0060000000000002</c:v>
                </c:pt>
                <c:pt idx="852">
                  <c:v>4.6049999999999995</c:v>
                </c:pt>
                <c:pt idx="853">
                  <c:v>4.1450000000000005</c:v>
                </c:pt>
                <c:pt idx="854">
                  <c:v>4.0880000000000001</c:v>
                </c:pt>
                <c:pt idx="855">
                  <c:v>3.9969999999999999</c:v>
                </c:pt>
                <c:pt idx="856">
                  <c:v>4.0810000000000004</c:v>
                </c:pt>
                <c:pt idx="857">
                  <c:v>4.8239999999999998</c:v>
                </c:pt>
                <c:pt idx="858">
                  <c:v>6.5069999999999997</c:v>
                </c:pt>
                <c:pt idx="859">
                  <c:v>6.0860000000000003</c:v>
                </c:pt>
                <c:pt idx="860">
                  <c:v>5.7909999999999995</c:v>
                </c:pt>
                <c:pt idx="861">
                  <c:v>4.7880000000000003</c:v>
                </c:pt>
                <c:pt idx="862">
                  <c:v>5.0999999999999996</c:v>
                </c:pt>
                <c:pt idx="863">
                  <c:v>4.8</c:v>
                </c:pt>
                <c:pt idx="864">
                  <c:v>4.3310000000000004</c:v>
                </c:pt>
                <c:pt idx="865">
                  <c:v>4.1399999999999997</c:v>
                </c:pt>
                <c:pt idx="866">
                  <c:v>3.8270000000000004</c:v>
                </c:pt>
                <c:pt idx="867">
                  <c:v>3.5100000000000002</c:v>
                </c:pt>
                <c:pt idx="868">
                  <c:v>3.63</c:v>
                </c:pt>
                <c:pt idx="869">
                  <c:v>3.95</c:v>
                </c:pt>
                <c:pt idx="870">
                  <c:v>5.5209999999999999</c:v>
                </c:pt>
                <c:pt idx="871">
                  <c:v>7.4950000000000001</c:v>
                </c:pt>
                <c:pt idx="872">
                  <c:v>8.2059999999999995</c:v>
                </c:pt>
                <c:pt idx="873">
                  <c:v>8.4009999999999998</c:v>
                </c:pt>
                <c:pt idx="874">
                  <c:v>8.0440000000000005</c:v>
                </c:pt>
                <c:pt idx="875">
                  <c:v>7.9610000000000003</c:v>
                </c:pt>
                <c:pt idx="876">
                  <c:v>8.0370000000000008</c:v>
                </c:pt>
                <c:pt idx="877">
                  <c:v>7.7750000000000004</c:v>
                </c:pt>
                <c:pt idx="878">
                  <c:v>7.293000000000001</c:v>
                </c:pt>
                <c:pt idx="879">
                  <c:v>6.95</c:v>
                </c:pt>
                <c:pt idx="880">
                  <c:v>6.7040000000000006</c:v>
                </c:pt>
                <c:pt idx="881">
                  <c:v>6.9939999999999998</c:v>
                </c:pt>
                <c:pt idx="882">
                  <c:v>8.6370000000000005</c:v>
                </c:pt>
                <c:pt idx="883">
                  <c:v>7.729000000000001</c:v>
                </c:pt>
                <c:pt idx="884">
                  <c:v>6.4689999999999994</c:v>
                </c:pt>
                <c:pt idx="885">
                  <c:v>4.4630000000000001</c:v>
                </c:pt>
                <c:pt idx="886">
                  <c:v>4.327</c:v>
                </c:pt>
                <c:pt idx="887">
                  <c:v>3.8929999999999998</c:v>
                </c:pt>
                <c:pt idx="888">
                  <c:v>4.2009999999999996</c:v>
                </c:pt>
                <c:pt idx="889">
                  <c:v>4.04</c:v>
                </c:pt>
                <c:pt idx="890">
                  <c:v>3.9009999999999998</c:v>
                </c:pt>
                <c:pt idx="891">
                  <c:v>3.778</c:v>
                </c:pt>
                <c:pt idx="892">
                  <c:v>3.8029999999999999</c:v>
                </c:pt>
                <c:pt idx="893">
                  <c:v>3.8090000000000002</c:v>
                </c:pt>
                <c:pt idx="894">
                  <c:v>4.6820000000000004</c:v>
                </c:pt>
                <c:pt idx="895">
                  <c:v>6.49</c:v>
                </c:pt>
                <c:pt idx="896">
                  <c:v>6.3</c:v>
                </c:pt>
                <c:pt idx="897">
                  <c:v>6.2919999999999998</c:v>
                </c:pt>
                <c:pt idx="898">
                  <c:v>6.4550000000000001</c:v>
                </c:pt>
                <c:pt idx="899">
                  <c:v>6.5909999999999993</c:v>
                </c:pt>
                <c:pt idx="900">
                  <c:v>6.3390000000000004</c:v>
                </c:pt>
                <c:pt idx="901">
                  <c:v>6.13</c:v>
                </c:pt>
                <c:pt idx="902">
                  <c:v>6.0490000000000004</c:v>
                </c:pt>
                <c:pt idx="903">
                  <c:v>5.9790000000000001</c:v>
                </c:pt>
                <c:pt idx="904">
                  <c:v>6.2409999999999997</c:v>
                </c:pt>
                <c:pt idx="905">
                  <c:v>6.7140000000000004</c:v>
                </c:pt>
                <c:pt idx="906">
                  <c:v>6.6970000000000001</c:v>
                </c:pt>
                <c:pt idx="907">
                  <c:v>6.4010000000000007</c:v>
                </c:pt>
                <c:pt idx="908">
                  <c:v>4.5069999999999997</c:v>
                </c:pt>
                <c:pt idx="909">
                  <c:v>4.3100000000000005</c:v>
                </c:pt>
                <c:pt idx="910">
                  <c:v>4.5020000000000007</c:v>
                </c:pt>
                <c:pt idx="911">
                  <c:v>3.9889999999999999</c:v>
                </c:pt>
                <c:pt idx="912">
                  <c:v>3.4509999999999996</c:v>
                </c:pt>
                <c:pt idx="913">
                  <c:v>3.4590000000000005</c:v>
                </c:pt>
                <c:pt idx="914">
                  <c:v>3.4350000000000001</c:v>
                </c:pt>
                <c:pt idx="915">
                  <c:v>3.3729999999999998</c:v>
                </c:pt>
                <c:pt idx="916">
                  <c:v>3.5060000000000002</c:v>
                </c:pt>
                <c:pt idx="917">
                  <c:v>3.59</c:v>
                </c:pt>
                <c:pt idx="918">
                  <c:v>5.0069999999999997</c:v>
                </c:pt>
                <c:pt idx="919">
                  <c:v>6.992</c:v>
                </c:pt>
                <c:pt idx="920">
                  <c:v>7.1099999999999994</c:v>
                </c:pt>
                <c:pt idx="921">
                  <c:v>7.0900000000000007</c:v>
                </c:pt>
                <c:pt idx="922">
                  <c:v>7.25</c:v>
                </c:pt>
                <c:pt idx="923">
                  <c:v>7.1489999999999991</c:v>
                </c:pt>
                <c:pt idx="924">
                  <c:v>7.0340000000000007</c:v>
                </c:pt>
                <c:pt idx="925">
                  <c:v>6.694</c:v>
                </c:pt>
                <c:pt idx="926">
                  <c:v>6.7430000000000003</c:v>
                </c:pt>
                <c:pt idx="927">
                  <c:v>6.895999999999999</c:v>
                </c:pt>
                <c:pt idx="928">
                  <c:v>6.9129999999999994</c:v>
                </c:pt>
                <c:pt idx="929">
                  <c:v>7.3849999999999998</c:v>
                </c:pt>
                <c:pt idx="930">
                  <c:v>8.8180000000000014</c:v>
                </c:pt>
                <c:pt idx="931">
                  <c:v>8.4039999999999999</c:v>
                </c:pt>
                <c:pt idx="932">
                  <c:v>7.26</c:v>
                </c:pt>
                <c:pt idx="933">
                  <c:v>6.25</c:v>
                </c:pt>
                <c:pt idx="934">
                  <c:v>4.798</c:v>
                </c:pt>
                <c:pt idx="935">
                  <c:v>4.5819999999999999</c:v>
                </c:pt>
                <c:pt idx="936">
                  <c:v>4.8100000000000005</c:v>
                </c:pt>
                <c:pt idx="937">
                  <c:v>4.8049999999999997</c:v>
                </c:pt>
                <c:pt idx="938">
                  <c:v>4.4960000000000004</c:v>
                </c:pt>
                <c:pt idx="939">
                  <c:v>4.25</c:v>
                </c:pt>
                <c:pt idx="940">
                  <c:v>4.1659999999999995</c:v>
                </c:pt>
                <c:pt idx="941">
                  <c:v>4.7200000000000006</c:v>
                </c:pt>
                <c:pt idx="942">
                  <c:v>5.4580000000000002</c:v>
                </c:pt>
                <c:pt idx="943">
                  <c:v>7.4139999999999997</c:v>
                </c:pt>
                <c:pt idx="944">
                  <c:v>7</c:v>
                </c:pt>
                <c:pt idx="945">
                  <c:v>7.2790000000000008</c:v>
                </c:pt>
                <c:pt idx="946">
                  <c:v>7.0969999999999995</c:v>
                </c:pt>
                <c:pt idx="947">
                  <c:v>6.8970000000000002</c:v>
                </c:pt>
                <c:pt idx="948">
                  <c:v>6.6909999999999998</c:v>
                </c:pt>
                <c:pt idx="949">
                  <c:v>6.5640000000000001</c:v>
                </c:pt>
                <c:pt idx="950">
                  <c:v>6.5</c:v>
                </c:pt>
                <c:pt idx="951">
                  <c:v>6.5</c:v>
                </c:pt>
                <c:pt idx="952">
                  <c:v>6.5760000000000005</c:v>
                </c:pt>
                <c:pt idx="953">
                  <c:v>7.043000000000001</c:v>
                </c:pt>
                <c:pt idx="954">
                  <c:v>7.2909999999999995</c:v>
                </c:pt>
                <c:pt idx="955">
                  <c:v>6.4540000000000006</c:v>
                </c:pt>
                <c:pt idx="956">
                  <c:v>5.0090000000000003</c:v>
                </c:pt>
                <c:pt idx="957">
                  <c:v>3.9479999999999995</c:v>
                </c:pt>
                <c:pt idx="958">
                  <c:v>4.21</c:v>
                </c:pt>
                <c:pt idx="959">
                  <c:v>3.835</c:v>
                </c:pt>
                <c:pt idx="960">
                  <c:v>3.6670000000000003</c:v>
                </c:pt>
                <c:pt idx="961">
                  <c:v>3.431</c:v>
                </c:pt>
                <c:pt idx="962">
                  <c:v>3.3460000000000001</c:v>
                </c:pt>
                <c:pt idx="963">
                  <c:v>3.31</c:v>
                </c:pt>
                <c:pt idx="964">
                  <c:v>3.2549999999999999</c:v>
                </c:pt>
                <c:pt idx="965">
                  <c:v>3.4740000000000002</c:v>
                </c:pt>
                <c:pt idx="966">
                  <c:v>3.9170000000000003</c:v>
                </c:pt>
                <c:pt idx="967">
                  <c:v>5.7</c:v>
                </c:pt>
                <c:pt idx="968">
                  <c:v>6.3079999999999998</c:v>
                </c:pt>
                <c:pt idx="969">
                  <c:v>6.3090000000000002</c:v>
                </c:pt>
                <c:pt idx="970">
                  <c:v>6.1929999999999996</c:v>
                </c:pt>
                <c:pt idx="971">
                  <c:v>5.9039999999999999</c:v>
                </c:pt>
                <c:pt idx="972">
                  <c:v>5.4909999999999997</c:v>
                </c:pt>
                <c:pt idx="973">
                  <c:v>4.508</c:v>
                </c:pt>
                <c:pt idx="974">
                  <c:v>4.202</c:v>
                </c:pt>
                <c:pt idx="975">
                  <c:v>4.4969999999999999</c:v>
                </c:pt>
                <c:pt idx="976">
                  <c:v>4.907</c:v>
                </c:pt>
                <c:pt idx="977">
                  <c:v>5.2729999999999997</c:v>
                </c:pt>
                <c:pt idx="978">
                  <c:v>4.5060000000000002</c:v>
                </c:pt>
                <c:pt idx="979">
                  <c:v>4.62</c:v>
                </c:pt>
                <c:pt idx="980">
                  <c:v>3.911</c:v>
                </c:pt>
                <c:pt idx="981">
                  <c:v>3.7079999999999997</c:v>
                </c:pt>
                <c:pt idx="982">
                  <c:v>3.8039999999999998</c:v>
                </c:pt>
                <c:pt idx="983">
                  <c:v>3.4210000000000003</c:v>
                </c:pt>
                <c:pt idx="984">
                  <c:v>3.9</c:v>
                </c:pt>
                <c:pt idx="985">
                  <c:v>3.6689999999999996</c:v>
                </c:pt>
                <c:pt idx="986">
                  <c:v>3.5049999999999999</c:v>
                </c:pt>
                <c:pt idx="987">
                  <c:v>3.661</c:v>
                </c:pt>
                <c:pt idx="988">
                  <c:v>3.29</c:v>
                </c:pt>
                <c:pt idx="989">
                  <c:v>3.75</c:v>
                </c:pt>
                <c:pt idx="990">
                  <c:v>3.3</c:v>
                </c:pt>
                <c:pt idx="991">
                  <c:v>4.415</c:v>
                </c:pt>
                <c:pt idx="992">
                  <c:v>4.8479999999999999</c:v>
                </c:pt>
                <c:pt idx="993">
                  <c:v>5.0780000000000003</c:v>
                </c:pt>
                <c:pt idx="994">
                  <c:v>4.9569999999999999</c:v>
                </c:pt>
                <c:pt idx="995">
                  <c:v>4.4000000000000004</c:v>
                </c:pt>
                <c:pt idx="996">
                  <c:v>3.7930000000000001</c:v>
                </c:pt>
                <c:pt idx="997">
                  <c:v>3.508</c:v>
                </c:pt>
                <c:pt idx="998">
                  <c:v>3.4</c:v>
                </c:pt>
                <c:pt idx="999">
                  <c:v>3.41</c:v>
                </c:pt>
                <c:pt idx="1000">
                  <c:v>3.5090000000000003</c:v>
                </c:pt>
                <c:pt idx="1001">
                  <c:v>4.1560000000000006</c:v>
                </c:pt>
                <c:pt idx="1002">
                  <c:v>4.3010000000000002</c:v>
                </c:pt>
                <c:pt idx="1003">
                  <c:v>4.0860000000000003</c:v>
                </c:pt>
                <c:pt idx="1004">
                  <c:v>3.6090000000000004</c:v>
                </c:pt>
                <c:pt idx="1005">
                  <c:v>3.3929999999999998</c:v>
                </c:pt>
                <c:pt idx="1006">
                  <c:v>3.3920000000000003</c:v>
                </c:pt>
                <c:pt idx="1007">
                  <c:v>3.1859999999999999</c:v>
                </c:pt>
                <c:pt idx="1008">
                  <c:v>3.1429999999999998</c:v>
                </c:pt>
                <c:pt idx="1009">
                  <c:v>3.1059999999999999</c:v>
                </c:pt>
                <c:pt idx="1010">
                  <c:v>3.1149999999999998</c:v>
                </c:pt>
                <c:pt idx="1011">
                  <c:v>3.1079999999999997</c:v>
                </c:pt>
                <c:pt idx="1012">
                  <c:v>2.9780000000000002</c:v>
                </c:pt>
                <c:pt idx="1013">
                  <c:v>2.988</c:v>
                </c:pt>
                <c:pt idx="1014">
                  <c:v>3.036</c:v>
                </c:pt>
                <c:pt idx="1015">
                  <c:v>3.036</c:v>
                </c:pt>
                <c:pt idx="1016">
                  <c:v>3.2329999999999997</c:v>
                </c:pt>
                <c:pt idx="1017">
                  <c:v>3.3210000000000002</c:v>
                </c:pt>
                <c:pt idx="1018">
                  <c:v>3.4259999999999997</c:v>
                </c:pt>
                <c:pt idx="1019">
                  <c:v>3.5030000000000001</c:v>
                </c:pt>
                <c:pt idx="1020">
                  <c:v>3.1399999999999997</c:v>
                </c:pt>
                <c:pt idx="1021">
                  <c:v>3.089</c:v>
                </c:pt>
                <c:pt idx="1022">
                  <c:v>3.0019999999999998</c:v>
                </c:pt>
                <c:pt idx="1023">
                  <c:v>3.081</c:v>
                </c:pt>
                <c:pt idx="1024">
                  <c:v>3.2189999999999999</c:v>
                </c:pt>
                <c:pt idx="1025">
                  <c:v>3.6</c:v>
                </c:pt>
                <c:pt idx="1026">
                  <c:v>4.2590000000000003</c:v>
                </c:pt>
                <c:pt idx="1027">
                  <c:v>4.1100000000000003</c:v>
                </c:pt>
                <c:pt idx="1028">
                  <c:v>4.0439999999999996</c:v>
                </c:pt>
                <c:pt idx="1029">
                  <c:v>3.2630000000000003</c:v>
                </c:pt>
                <c:pt idx="1030">
                  <c:v>3.4899999999999998</c:v>
                </c:pt>
                <c:pt idx="1031">
                  <c:v>3.2119999999999997</c:v>
                </c:pt>
                <c:pt idx="1032">
                  <c:v>2.883</c:v>
                </c:pt>
                <c:pt idx="1033">
                  <c:v>2.968</c:v>
                </c:pt>
                <c:pt idx="1034">
                  <c:v>3.1120000000000001</c:v>
                </c:pt>
                <c:pt idx="1035">
                  <c:v>2.9850000000000003</c:v>
                </c:pt>
                <c:pt idx="1036">
                  <c:v>3.0760000000000001</c:v>
                </c:pt>
                <c:pt idx="1037">
                  <c:v>3.3009999999999997</c:v>
                </c:pt>
                <c:pt idx="1038">
                  <c:v>3.9770000000000003</c:v>
                </c:pt>
                <c:pt idx="1039">
                  <c:v>5.6979999999999995</c:v>
                </c:pt>
                <c:pt idx="1040">
                  <c:v>5.9130000000000003</c:v>
                </c:pt>
                <c:pt idx="1041">
                  <c:v>5.79</c:v>
                </c:pt>
                <c:pt idx="1042">
                  <c:v>5.3970000000000002</c:v>
                </c:pt>
                <c:pt idx="1043">
                  <c:v>4.5200000000000005</c:v>
                </c:pt>
                <c:pt idx="1044">
                  <c:v>3.7240000000000002</c:v>
                </c:pt>
                <c:pt idx="1045">
                  <c:v>3.5060000000000002</c:v>
                </c:pt>
                <c:pt idx="1046">
                  <c:v>3.8229999999999995</c:v>
                </c:pt>
                <c:pt idx="1047">
                  <c:v>4.3520000000000003</c:v>
                </c:pt>
                <c:pt idx="1048">
                  <c:v>4.9169999999999998</c:v>
                </c:pt>
                <c:pt idx="1049">
                  <c:v>5.3840000000000003</c:v>
                </c:pt>
                <c:pt idx="1050">
                  <c:v>5.625</c:v>
                </c:pt>
                <c:pt idx="1051">
                  <c:v>5.008</c:v>
                </c:pt>
                <c:pt idx="1052">
                  <c:v>4.4939999999999998</c:v>
                </c:pt>
                <c:pt idx="1053">
                  <c:v>3.8140000000000001</c:v>
                </c:pt>
                <c:pt idx="1054">
                  <c:v>3.9770000000000003</c:v>
                </c:pt>
                <c:pt idx="1055">
                  <c:v>3.3570000000000002</c:v>
                </c:pt>
                <c:pt idx="1056">
                  <c:v>3.2350000000000003</c:v>
                </c:pt>
                <c:pt idx="1057">
                  <c:v>3.1680000000000001</c:v>
                </c:pt>
                <c:pt idx="1058">
                  <c:v>3.2109999999999999</c:v>
                </c:pt>
                <c:pt idx="1059">
                  <c:v>3.2560000000000002</c:v>
                </c:pt>
                <c:pt idx="1060">
                  <c:v>3.3340000000000005</c:v>
                </c:pt>
                <c:pt idx="1061">
                  <c:v>3.2840000000000003</c:v>
                </c:pt>
                <c:pt idx="1062">
                  <c:v>4.2090000000000005</c:v>
                </c:pt>
                <c:pt idx="1063">
                  <c:v>4.798</c:v>
                </c:pt>
                <c:pt idx="1064">
                  <c:v>5.0630000000000006</c:v>
                </c:pt>
                <c:pt idx="1065">
                  <c:v>4.6890000000000001</c:v>
                </c:pt>
                <c:pt idx="1066">
                  <c:v>3.839</c:v>
                </c:pt>
                <c:pt idx="1067">
                  <c:v>3.6640000000000001</c:v>
                </c:pt>
                <c:pt idx="1068">
                  <c:v>3.5859999999999999</c:v>
                </c:pt>
                <c:pt idx="1069">
                  <c:v>3.8329999999999997</c:v>
                </c:pt>
                <c:pt idx="1070">
                  <c:v>3.7310000000000003</c:v>
                </c:pt>
                <c:pt idx="1071">
                  <c:v>4.1880000000000006</c:v>
                </c:pt>
                <c:pt idx="1072">
                  <c:v>5.4399999999999995</c:v>
                </c:pt>
                <c:pt idx="1073">
                  <c:v>6.1029999999999998</c:v>
                </c:pt>
                <c:pt idx="1074">
                  <c:v>6.6219999999999999</c:v>
                </c:pt>
                <c:pt idx="1075">
                  <c:v>5.7969999999999997</c:v>
                </c:pt>
                <c:pt idx="1076">
                  <c:v>5.468</c:v>
                </c:pt>
                <c:pt idx="1077">
                  <c:v>4.226</c:v>
                </c:pt>
                <c:pt idx="1078">
                  <c:v>4.3469999999999995</c:v>
                </c:pt>
                <c:pt idx="1079">
                  <c:v>4.0640000000000001</c:v>
                </c:pt>
                <c:pt idx="1080">
                  <c:v>3.7389999999999999</c:v>
                </c:pt>
                <c:pt idx="1081">
                  <c:v>3.8180000000000001</c:v>
                </c:pt>
                <c:pt idx="1082">
                  <c:v>3.7130000000000001</c:v>
                </c:pt>
                <c:pt idx="1083">
                  <c:v>3.5720000000000001</c:v>
                </c:pt>
                <c:pt idx="1084">
                  <c:v>3.6509999999999998</c:v>
                </c:pt>
                <c:pt idx="1085">
                  <c:v>3.7869999999999999</c:v>
                </c:pt>
                <c:pt idx="1086">
                  <c:v>4.82</c:v>
                </c:pt>
                <c:pt idx="1087">
                  <c:v>6.1479999999999997</c:v>
                </c:pt>
                <c:pt idx="1088">
                  <c:v>6.3319999999999999</c:v>
                </c:pt>
                <c:pt idx="1089">
                  <c:v>6.0759999999999996</c:v>
                </c:pt>
                <c:pt idx="1090">
                  <c:v>5.569</c:v>
                </c:pt>
                <c:pt idx="1091">
                  <c:v>3.9659999999999997</c:v>
                </c:pt>
                <c:pt idx="1092">
                  <c:v>3.7350000000000003</c:v>
                </c:pt>
                <c:pt idx="1093">
                  <c:v>3.8079999999999998</c:v>
                </c:pt>
                <c:pt idx="1094">
                  <c:v>4.5220000000000002</c:v>
                </c:pt>
                <c:pt idx="1095">
                  <c:v>5.085</c:v>
                </c:pt>
                <c:pt idx="1096">
                  <c:v>5.4429999999999996</c:v>
                </c:pt>
                <c:pt idx="1097">
                  <c:v>5.9159999999999995</c:v>
                </c:pt>
                <c:pt idx="1098">
                  <c:v>6.4480000000000004</c:v>
                </c:pt>
                <c:pt idx="1099">
                  <c:v>6.3070000000000004</c:v>
                </c:pt>
                <c:pt idx="1100">
                  <c:v>5.4770000000000003</c:v>
                </c:pt>
                <c:pt idx="1101">
                  <c:v>4.492</c:v>
                </c:pt>
                <c:pt idx="1102">
                  <c:v>3.7979999999999996</c:v>
                </c:pt>
                <c:pt idx="1103">
                  <c:v>3.347</c:v>
                </c:pt>
                <c:pt idx="1104">
                  <c:v>3.3270000000000004</c:v>
                </c:pt>
                <c:pt idx="1105">
                  <c:v>3.4929999999999999</c:v>
                </c:pt>
                <c:pt idx="1106">
                  <c:v>3.2090000000000005</c:v>
                </c:pt>
                <c:pt idx="1107">
                  <c:v>3.2</c:v>
                </c:pt>
                <c:pt idx="1108">
                  <c:v>3.2060000000000004</c:v>
                </c:pt>
                <c:pt idx="1109">
                  <c:v>3.3280000000000003</c:v>
                </c:pt>
                <c:pt idx="1110">
                  <c:v>3.8009999999999997</c:v>
                </c:pt>
                <c:pt idx="1111">
                  <c:v>5.0990000000000002</c:v>
                </c:pt>
                <c:pt idx="1112">
                  <c:v>5.0310000000000006</c:v>
                </c:pt>
                <c:pt idx="1113">
                  <c:v>4.3719999999999999</c:v>
                </c:pt>
                <c:pt idx="1114">
                  <c:v>3.8</c:v>
                </c:pt>
                <c:pt idx="1115">
                  <c:v>3.7090000000000005</c:v>
                </c:pt>
                <c:pt idx="1116">
                  <c:v>3.7909999999999995</c:v>
                </c:pt>
                <c:pt idx="1117">
                  <c:v>3.7189999999999999</c:v>
                </c:pt>
                <c:pt idx="1118">
                  <c:v>3.8049999999999997</c:v>
                </c:pt>
                <c:pt idx="1119">
                  <c:v>4.3789999999999996</c:v>
                </c:pt>
                <c:pt idx="1120">
                  <c:v>5.0819999999999999</c:v>
                </c:pt>
                <c:pt idx="1121">
                  <c:v>5.33</c:v>
                </c:pt>
                <c:pt idx="1122">
                  <c:v>5.4979999999999993</c:v>
                </c:pt>
                <c:pt idx="1123">
                  <c:v>5.0920000000000005</c:v>
                </c:pt>
                <c:pt idx="1124">
                  <c:v>4.2060000000000004</c:v>
                </c:pt>
                <c:pt idx="1125">
                  <c:v>3.8950000000000005</c:v>
                </c:pt>
                <c:pt idx="1126">
                  <c:v>3.7979999999999996</c:v>
                </c:pt>
                <c:pt idx="1127">
                  <c:v>3.3299999999999996</c:v>
                </c:pt>
                <c:pt idx="1128">
                  <c:v>3.2520000000000002</c:v>
                </c:pt>
                <c:pt idx="1129">
                  <c:v>3.169</c:v>
                </c:pt>
                <c:pt idx="1130">
                  <c:v>3.113</c:v>
                </c:pt>
                <c:pt idx="1131">
                  <c:v>3.1350000000000002</c:v>
                </c:pt>
                <c:pt idx="1132">
                  <c:v>3.169</c:v>
                </c:pt>
                <c:pt idx="1133">
                  <c:v>3.25</c:v>
                </c:pt>
                <c:pt idx="1134">
                  <c:v>3.6960000000000002</c:v>
                </c:pt>
                <c:pt idx="1135">
                  <c:v>4.7949999999999999</c:v>
                </c:pt>
                <c:pt idx="1136">
                  <c:v>4.5009999999999994</c:v>
                </c:pt>
                <c:pt idx="1137">
                  <c:v>4.4049999999999994</c:v>
                </c:pt>
                <c:pt idx="1138">
                  <c:v>4.8979999999999997</c:v>
                </c:pt>
                <c:pt idx="1139">
                  <c:v>4.99</c:v>
                </c:pt>
                <c:pt idx="1140">
                  <c:v>4.8979999999999997</c:v>
                </c:pt>
                <c:pt idx="1141">
                  <c:v>4</c:v>
                </c:pt>
                <c:pt idx="1142">
                  <c:v>4.2919999999999998</c:v>
                </c:pt>
                <c:pt idx="1143">
                  <c:v>4.8529999999999998</c:v>
                </c:pt>
                <c:pt idx="1144">
                  <c:v>4.8810000000000002</c:v>
                </c:pt>
                <c:pt idx="1145">
                  <c:v>5.0920000000000005</c:v>
                </c:pt>
                <c:pt idx="1146">
                  <c:v>5.3040000000000003</c:v>
                </c:pt>
                <c:pt idx="1147">
                  <c:v>5.1139999999999999</c:v>
                </c:pt>
                <c:pt idx="1148">
                  <c:v>4.9770000000000003</c:v>
                </c:pt>
                <c:pt idx="1149">
                  <c:v>4.952</c:v>
                </c:pt>
                <c:pt idx="1150">
                  <c:v>4.6340000000000003</c:v>
                </c:pt>
                <c:pt idx="1151">
                  <c:v>3.8820000000000001</c:v>
                </c:pt>
                <c:pt idx="1152">
                  <c:v>3.5100000000000002</c:v>
                </c:pt>
                <c:pt idx="1153">
                  <c:v>3.3090000000000002</c:v>
                </c:pt>
                <c:pt idx="1154">
                  <c:v>3.508</c:v>
                </c:pt>
                <c:pt idx="1155">
                  <c:v>3.4299999999999997</c:v>
                </c:pt>
                <c:pt idx="1156">
                  <c:v>3.4299999999999997</c:v>
                </c:pt>
                <c:pt idx="1157">
                  <c:v>3.536</c:v>
                </c:pt>
                <c:pt idx="1158">
                  <c:v>3.8810000000000002</c:v>
                </c:pt>
                <c:pt idx="1159">
                  <c:v>4.2080000000000002</c:v>
                </c:pt>
                <c:pt idx="1160">
                  <c:v>4.681</c:v>
                </c:pt>
                <c:pt idx="1161">
                  <c:v>5</c:v>
                </c:pt>
                <c:pt idx="1162">
                  <c:v>4.9850000000000003</c:v>
                </c:pt>
                <c:pt idx="1163">
                  <c:v>4.8239999999999998</c:v>
                </c:pt>
                <c:pt idx="1164">
                  <c:v>4.2249999999999996</c:v>
                </c:pt>
                <c:pt idx="1165">
                  <c:v>3.6640000000000001</c:v>
                </c:pt>
                <c:pt idx="1166">
                  <c:v>3.5640000000000001</c:v>
                </c:pt>
                <c:pt idx="1167">
                  <c:v>3.7350000000000003</c:v>
                </c:pt>
                <c:pt idx="1168">
                  <c:v>4.2039999999999997</c:v>
                </c:pt>
                <c:pt idx="1169">
                  <c:v>4.7939999999999996</c:v>
                </c:pt>
                <c:pt idx="1170">
                  <c:v>5.3940000000000001</c:v>
                </c:pt>
                <c:pt idx="1171">
                  <c:v>4.8460000000000001</c:v>
                </c:pt>
                <c:pt idx="1172">
                  <c:v>3.9009999999999998</c:v>
                </c:pt>
                <c:pt idx="1173">
                  <c:v>3.5</c:v>
                </c:pt>
                <c:pt idx="1174">
                  <c:v>3.3029999999999999</c:v>
                </c:pt>
                <c:pt idx="1175">
                  <c:v>3.0289999999999999</c:v>
                </c:pt>
                <c:pt idx="1176">
                  <c:v>3.081</c:v>
                </c:pt>
                <c:pt idx="1177">
                  <c:v>2.1680000000000001</c:v>
                </c:pt>
                <c:pt idx="1178">
                  <c:v>1.244</c:v>
                </c:pt>
                <c:pt idx="1179">
                  <c:v>0.99299999999999999</c:v>
                </c:pt>
                <c:pt idx="1180">
                  <c:v>0.95299999999999996</c:v>
                </c:pt>
                <c:pt idx="1181">
                  <c:v>1.0130000000000001</c:v>
                </c:pt>
                <c:pt idx="1182">
                  <c:v>1.03</c:v>
                </c:pt>
                <c:pt idx="1183">
                  <c:v>1.8120000000000001</c:v>
                </c:pt>
                <c:pt idx="1184">
                  <c:v>2.5469999999999997</c:v>
                </c:pt>
                <c:pt idx="1185">
                  <c:v>2.9590000000000001</c:v>
                </c:pt>
                <c:pt idx="1186">
                  <c:v>2.9820000000000002</c:v>
                </c:pt>
                <c:pt idx="1187">
                  <c:v>3.2090000000000005</c:v>
                </c:pt>
                <c:pt idx="1188">
                  <c:v>3.0170000000000003</c:v>
                </c:pt>
                <c:pt idx="1189">
                  <c:v>3.1070000000000002</c:v>
                </c:pt>
                <c:pt idx="1190">
                  <c:v>3.141</c:v>
                </c:pt>
                <c:pt idx="1191">
                  <c:v>3.0339999999999998</c:v>
                </c:pt>
                <c:pt idx="1192">
                  <c:v>3.1989999999999998</c:v>
                </c:pt>
                <c:pt idx="1193">
                  <c:v>4.1369999999999996</c:v>
                </c:pt>
                <c:pt idx="1194">
                  <c:v>5.3650000000000002</c:v>
                </c:pt>
                <c:pt idx="1195">
                  <c:v>5.2799999999999994</c:v>
                </c:pt>
                <c:pt idx="1196">
                  <c:v>3.9279999999999999</c:v>
                </c:pt>
                <c:pt idx="1197">
                  <c:v>3.3950000000000005</c:v>
                </c:pt>
                <c:pt idx="1198">
                  <c:v>3.5049999999999999</c:v>
                </c:pt>
                <c:pt idx="1199">
                  <c:v>3.101</c:v>
                </c:pt>
                <c:pt idx="1200">
                  <c:v>3.0750000000000002</c:v>
                </c:pt>
                <c:pt idx="1201">
                  <c:v>2.722</c:v>
                </c:pt>
                <c:pt idx="1202">
                  <c:v>2.65</c:v>
                </c:pt>
                <c:pt idx="1203">
                  <c:v>2.504</c:v>
                </c:pt>
                <c:pt idx="1204">
                  <c:v>2.0949999999999998</c:v>
                </c:pt>
                <c:pt idx="1205">
                  <c:v>2.1930000000000001</c:v>
                </c:pt>
                <c:pt idx="1206">
                  <c:v>3.8490000000000002</c:v>
                </c:pt>
                <c:pt idx="1207">
                  <c:v>4.835</c:v>
                </c:pt>
                <c:pt idx="1208">
                  <c:v>4.5819999999999999</c:v>
                </c:pt>
                <c:pt idx="1209">
                  <c:v>3.8920000000000003</c:v>
                </c:pt>
                <c:pt idx="1210">
                  <c:v>3.7920000000000003</c:v>
                </c:pt>
                <c:pt idx="1211">
                  <c:v>3.9380000000000002</c:v>
                </c:pt>
                <c:pt idx="1212">
                  <c:v>3.9180000000000001</c:v>
                </c:pt>
                <c:pt idx="1213">
                  <c:v>3.6079999999999997</c:v>
                </c:pt>
                <c:pt idx="1214">
                  <c:v>3.3029999999999999</c:v>
                </c:pt>
                <c:pt idx="1215">
                  <c:v>3.1870000000000003</c:v>
                </c:pt>
                <c:pt idx="1216">
                  <c:v>3.1629999999999998</c:v>
                </c:pt>
                <c:pt idx="1217">
                  <c:v>3.492</c:v>
                </c:pt>
                <c:pt idx="1218">
                  <c:v>3.7939999999999996</c:v>
                </c:pt>
                <c:pt idx="1219">
                  <c:v>3.4270000000000005</c:v>
                </c:pt>
                <c:pt idx="1220">
                  <c:v>2.992</c:v>
                </c:pt>
                <c:pt idx="1221">
                  <c:v>1.9219999999999999</c:v>
                </c:pt>
                <c:pt idx="1222">
                  <c:v>0.99399999999999999</c:v>
                </c:pt>
                <c:pt idx="1223">
                  <c:v>0.94800000000000006</c:v>
                </c:pt>
                <c:pt idx="1224">
                  <c:v>1.254</c:v>
                </c:pt>
                <c:pt idx="1225">
                  <c:v>1.0189999999999999</c:v>
                </c:pt>
                <c:pt idx="1226">
                  <c:v>1.006</c:v>
                </c:pt>
                <c:pt idx="1227">
                  <c:v>1.1119999999999999</c:v>
                </c:pt>
                <c:pt idx="1228">
                  <c:v>1.256</c:v>
                </c:pt>
                <c:pt idx="1229">
                  <c:v>2.516</c:v>
                </c:pt>
                <c:pt idx="1230">
                  <c:v>3.3</c:v>
                </c:pt>
                <c:pt idx="1231">
                  <c:v>3.8959999999999999</c:v>
                </c:pt>
                <c:pt idx="1232">
                  <c:v>3.8939999999999997</c:v>
                </c:pt>
                <c:pt idx="1233">
                  <c:v>3.8939999999999997</c:v>
                </c:pt>
                <c:pt idx="1234">
                  <c:v>3.8950000000000005</c:v>
                </c:pt>
                <c:pt idx="1235">
                  <c:v>3.8950000000000005</c:v>
                </c:pt>
                <c:pt idx="1236">
                  <c:v>3.6630000000000003</c:v>
                </c:pt>
                <c:pt idx="1237">
                  <c:v>3.665</c:v>
                </c:pt>
                <c:pt idx="1238">
                  <c:v>3.6409999999999996</c:v>
                </c:pt>
                <c:pt idx="1239">
                  <c:v>3.6680000000000001</c:v>
                </c:pt>
                <c:pt idx="1240">
                  <c:v>3.4979999999999998</c:v>
                </c:pt>
                <c:pt idx="1241">
                  <c:v>3.9899999999999998</c:v>
                </c:pt>
                <c:pt idx="1242">
                  <c:v>5.742</c:v>
                </c:pt>
                <c:pt idx="1243">
                  <c:v>4.58</c:v>
                </c:pt>
                <c:pt idx="1244">
                  <c:v>4.6139999999999999</c:v>
                </c:pt>
                <c:pt idx="1245">
                  <c:v>4</c:v>
                </c:pt>
                <c:pt idx="1246">
                  <c:v>3.4249999999999998</c:v>
                </c:pt>
                <c:pt idx="1247">
                  <c:v>3.0030000000000001</c:v>
                </c:pt>
                <c:pt idx="1248">
                  <c:v>2.2920000000000003</c:v>
                </c:pt>
                <c:pt idx="1249">
                  <c:v>1.026</c:v>
                </c:pt>
                <c:pt idx="1250">
                  <c:v>0.95</c:v>
                </c:pt>
                <c:pt idx="1251">
                  <c:v>0.76600000000000001</c:v>
                </c:pt>
                <c:pt idx="1252">
                  <c:v>0.503</c:v>
                </c:pt>
                <c:pt idx="1253">
                  <c:v>0.76800000000000002</c:v>
                </c:pt>
                <c:pt idx="1254">
                  <c:v>2.1520000000000001</c:v>
                </c:pt>
                <c:pt idx="1255">
                  <c:v>3.1859999999999999</c:v>
                </c:pt>
                <c:pt idx="1256">
                  <c:v>3.2509999999999999</c:v>
                </c:pt>
                <c:pt idx="1257">
                  <c:v>3.2509999999999999</c:v>
                </c:pt>
                <c:pt idx="1258">
                  <c:v>3.2290000000000001</c:v>
                </c:pt>
                <c:pt idx="1259">
                  <c:v>3.2960000000000003</c:v>
                </c:pt>
                <c:pt idx="1260">
                  <c:v>3.2009999999999996</c:v>
                </c:pt>
                <c:pt idx="1261">
                  <c:v>3.0940000000000003</c:v>
                </c:pt>
                <c:pt idx="1262">
                  <c:v>2.9940000000000002</c:v>
                </c:pt>
                <c:pt idx="1263">
                  <c:v>3.1280000000000001</c:v>
                </c:pt>
                <c:pt idx="1264">
                  <c:v>3.1239999999999997</c:v>
                </c:pt>
                <c:pt idx="1265">
                  <c:v>3.2479999999999998</c:v>
                </c:pt>
                <c:pt idx="1266">
                  <c:v>3.593</c:v>
                </c:pt>
                <c:pt idx="1267">
                  <c:v>3.4049999999999998</c:v>
                </c:pt>
                <c:pt idx="1268">
                  <c:v>3.165</c:v>
                </c:pt>
                <c:pt idx="1269">
                  <c:v>2.3449999999999998</c:v>
                </c:pt>
                <c:pt idx="1270">
                  <c:v>1.026</c:v>
                </c:pt>
                <c:pt idx="1271">
                  <c:v>0.94700000000000006</c:v>
                </c:pt>
                <c:pt idx="1272">
                  <c:v>-0.65800000000000003</c:v>
                </c:pt>
                <c:pt idx="1273">
                  <c:v>-0.503</c:v>
                </c:pt>
                <c:pt idx="1274">
                  <c:v>1E-3</c:v>
                </c:pt>
                <c:pt idx="1275">
                  <c:v>0.70300000000000007</c:v>
                </c:pt>
                <c:pt idx="1276">
                  <c:v>0.94399999999999995</c:v>
                </c:pt>
                <c:pt idx="1277">
                  <c:v>2.5529999999999999</c:v>
                </c:pt>
                <c:pt idx="1278">
                  <c:v>3.5</c:v>
                </c:pt>
                <c:pt idx="1279">
                  <c:v>4.601</c:v>
                </c:pt>
                <c:pt idx="1280">
                  <c:v>4.8499999999999996</c:v>
                </c:pt>
                <c:pt idx="1281">
                  <c:v>4.641</c:v>
                </c:pt>
                <c:pt idx="1282">
                  <c:v>4.3360000000000003</c:v>
                </c:pt>
                <c:pt idx="1283">
                  <c:v>4.0609999999999999</c:v>
                </c:pt>
                <c:pt idx="1284">
                  <c:v>3.2909999999999995</c:v>
                </c:pt>
                <c:pt idx="1285">
                  <c:v>3.2399999999999998</c:v>
                </c:pt>
                <c:pt idx="1286">
                  <c:v>3.1239999999999997</c:v>
                </c:pt>
                <c:pt idx="1287">
                  <c:v>2.7679999999999998</c:v>
                </c:pt>
                <c:pt idx="1288">
                  <c:v>2.7640000000000002</c:v>
                </c:pt>
                <c:pt idx="1289">
                  <c:v>3.2030000000000003</c:v>
                </c:pt>
                <c:pt idx="1290">
                  <c:v>3.2930000000000001</c:v>
                </c:pt>
                <c:pt idx="1291">
                  <c:v>3.2090000000000005</c:v>
                </c:pt>
                <c:pt idx="1292">
                  <c:v>2.9790000000000001</c:v>
                </c:pt>
                <c:pt idx="1293">
                  <c:v>2.407</c:v>
                </c:pt>
                <c:pt idx="1294">
                  <c:v>1.2029999999999998</c:v>
                </c:pt>
                <c:pt idx="1295">
                  <c:v>0.92699999999999994</c:v>
                </c:pt>
                <c:pt idx="1296">
                  <c:v>0.69299999999999995</c:v>
                </c:pt>
                <c:pt idx="1297">
                  <c:v>-0.499</c:v>
                </c:pt>
                <c:pt idx="1298">
                  <c:v>-2.7079999999999997</c:v>
                </c:pt>
                <c:pt idx="1299">
                  <c:v>-0.09</c:v>
                </c:pt>
                <c:pt idx="1300">
                  <c:v>0.7</c:v>
                </c:pt>
                <c:pt idx="1301">
                  <c:v>0.94900000000000007</c:v>
                </c:pt>
                <c:pt idx="1302">
                  <c:v>3.004</c:v>
                </c:pt>
                <c:pt idx="1303">
                  <c:v>3.3439999999999999</c:v>
                </c:pt>
                <c:pt idx="1304">
                  <c:v>3.4299999999999997</c:v>
                </c:pt>
                <c:pt idx="1305">
                  <c:v>3.3909999999999996</c:v>
                </c:pt>
                <c:pt idx="1306">
                  <c:v>3.3479999999999999</c:v>
                </c:pt>
                <c:pt idx="1307">
                  <c:v>3.3180000000000001</c:v>
                </c:pt>
                <c:pt idx="1308">
                  <c:v>3.2490000000000001</c:v>
                </c:pt>
                <c:pt idx="1309">
                  <c:v>3.2409999999999997</c:v>
                </c:pt>
                <c:pt idx="1310">
                  <c:v>3.2240000000000002</c:v>
                </c:pt>
                <c:pt idx="1311">
                  <c:v>3.4899999999999998</c:v>
                </c:pt>
                <c:pt idx="1312">
                  <c:v>4.492</c:v>
                </c:pt>
                <c:pt idx="1313">
                  <c:v>5.01</c:v>
                </c:pt>
                <c:pt idx="1314">
                  <c:v>5.7520000000000007</c:v>
                </c:pt>
                <c:pt idx="1315">
                  <c:v>5.819</c:v>
                </c:pt>
                <c:pt idx="1316">
                  <c:v>4.3940000000000001</c:v>
                </c:pt>
                <c:pt idx="1317">
                  <c:v>3.806</c:v>
                </c:pt>
                <c:pt idx="1318">
                  <c:v>3.968</c:v>
                </c:pt>
                <c:pt idx="1319">
                  <c:v>3.6659999999999995</c:v>
                </c:pt>
                <c:pt idx="1320">
                  <c:v>2.9279999999999999</c:v>
                </c:pt>
                <c:pt idx="1321">
                  <c:v>2.9089999999999998</c:v>
                </c:pt>
                <c:pt idx="1322">
                  <c:v>2.8940000000000001</c:v>
                </c:pt>
                <c:pt idx="1323">
                  <c:v>2.9449999999999998</c:v>
                </c:pt>
                <c:pt idx="1324">
                  <c:v>2.9929999999999999</c:v>
                </c:pt>
                <c:pt idx="1325">
                  <c:v>2.9530000000000003</c:v>
                </c:pt>
                <c:pt idx="1326">
                  <c:v>3.2869999999999999</c:v>
                </c:pt>
                <c:pt idx="1327">
                  <c:v>4.1479999999999997</c:v>
                </c:pt>
                <c:pt idx="1328">
                  <c:v>4.1989999999999998</c:v>
                </c:pt>
                <c:pt idx="1329">
                  <c:v>4.0439999999999996</c:v>
                </c:pt>
                <c:pt idx="1330">
                  <c:v>3.7130000000000001</c:v>
                </c:pt>
                <c:pt idx="1331">
                  <c:v>3.2039999999999997</c:v>
                </c:pt>
                <c:pt idx="1332">
                  <c:v>2.9460000000000002</c:v>
                </c:pt>
                <c:pt idx="1333">
                  <c:v>2.8010000000000002</c:v>
                </c:pt>
                <c:pt idx="1334">
                  <c:v>2.286</c:v>
                </c:pt>
                <c:pt idx="1335">
                  <c:v>2.8879999999999999</c:v>
                </c:pt>
                <c:pt idx="1336">
                  <c:v>3.016</c:v>
                </c:pt>
                <c:pt idx="1337">
                  <c:v>3.8</c:v>
                </c:pt>
                <c:pt idx="1338">
                  <c:v>3.9569999999999999</c:v>
                </c:pt>
                <c:pt idx="1339">
                  <c:v>3.4649999999999999</c:v>
                </c:pt>
                <c:pt idx="1340">
                  <c:v>2.601</c:v>
                </c:pt>
                <c:pt idx="1341">
                  <c:v>1.294</c:v>
                </c:pt>
                <c:pt idx="1342">
                  <c:v>1.1910000000000001</c:v>
                </c:pt>
                <c:pt idx="1343">
                  <c:v>0.88000000000000012</c:v>
                </c:pt>
                <c:pt idx="1344">
                  <c:v>0.78300000000000003</c:v>
                </c:pt>
                <c:pt idx="1345">
                  <c:v>0.3</c:v>
                </c:pt>
                <c:pt idx="1346">
                  <c:v>0.46500000000000002</c:v>
                </c:pt>
                <c:pt idx="1347">
                  <c:v>0.77400000000000002</c:v>
                </c:pt>
                <c:pt idx="1348">
                  <c:v>0.80199999999999994</c:v>
                </c:pt>
                <c:pt idx="1349">
                  <c:v>0.89499999999999991</c:v>
                </c:pt>
                <c:pt idx="1350">
                  <c:v>0.78300000000000003</c:v>
                </c:pt>
                <c:pt idx="1351">
                  <c:v>0.78400000000000003</c:v>
                </c:pt>
                <c:pt idx="1352">
                  <c:v>0.96300000000000008</c:v>
                </c:pt>
                <c:pt idx="1353">
                  <c:v>1.036</c:v>
                </c:pt>
                <c:pt idx="1354">
                  <c:v>1.2909999999999999</c:v>
                </c:pt>
                <c:pt idx="1355">
                  <c:v>1.298</c:v>
                </c:pt>
                <c:pt idx="1356">
                  <c:v>0.99199999999999999</c:v>
                </c:pt>
                <c:pt idx="1357">
                  <c:v>0.97499999999999998</c:v>
                </c:pt>
                <c:pt idx="1358">
                  <c:v>0.998</c:v>
                </c:pt>
                <c:pt idx="1359">
                  <c:v>1.04</c:v>
                </c:pt>
                <c:pt idx="1360">
                  <c:v>1.278</c:v>
                </c:pt>
                <c:pt idx="1361">
                  <c:v>2.8</c:v>
                </c:pt>
                <c:pt idx="1362">
                  <c:v>3.1760000000000002</c:v>
                </c:pt>
                <c:pt idx="1363">
                  <c:v>3.0960000000000001</c:v>
                </c:pt>
                <c:pt idx="1364">
                  <c:v>2.5339999999999998</c:v>
                </c:pt>
                <c:pt idx="1365">
                  <c:v>2.3860000000000001</c:v>
                </c:pt>
                <c:pt idx="1366">
                  <c:v>2.0859999999999999</c:v>
                </c:pt>
                <c:pt idx="1367">
                  <c:v>1.0349999999999999</c:v>
                </c:pt>
                <c:pt idx="1368">
                  <c:v>2.2010000000000001</c:v>
                </c:pt>
                <c:pt idx="1369">
                  <c:v>1.548</c:v>
                </c:pt>
                <c:pt idx="1370">
                  <c:v>1.254</c:v>
                </c:pt>
                <c:pt idx="1371">
                  <c:v>1.5589999999999999</c:v>
                </c:pt>
                <c:pt idx="1372">
                  <c:v>1.8839999999999999</c:v>
                </c:pt>
                <c:pt idx="1373">
                  <c:v>3.0110000000000001</c:v>
                </c:pt>
                <c:pt idx="1374">
                  <c:v>3.8659999999999997</c:v>
                </c:pt>
                <c:pt idx="1375">
                  <c:v>4.7290000000000001</c:v>
                </c:pt>
                <c:pt idx="1376">
                  <c:v>4.7520000000000007</c:v>
                </c:pt>
                <c:pt idx="1377">
                  <c:v>3.9939999999999998</c:v>
                </c:pt>
                <c:pt idx="1378">
                  <c:v>3.6869999999999998</c:v>
                </c:pt>
                <c:pt idx="1379">
                  <c:v>3.66</c:v>
                </c:pt>
                <c:pt idx="1380">
                  <c:v>3.0910000000000002</c:v>
                </c:pt>
                <c:pt idx="1381">
                  <c:v>3.0579999999999998</c:v>
                </c:pt>
                <c:pt idx="1382">
                  <c:v>3.0590000000000002</c:v>
                </c:pt>
                <c:pt idx="1383">
                  <c:v>3.0829999999999997</c:v>
                </c:pt>
                <c:pt idx="1384">
                  <c:v>3.2149999999999999</c:v>
                </c:pt>
                <c:pt idx="1385">
                  <c:v>3.2890000000000001</c:v>
                </c:pt>
                <c:pt idx="1386">
                  <c:v>3.444</c:v>
                </c:pt>
                <c:pt idx="1387">
                  <c:v>3.246</c:v>
                </c:pt>
                <c:pt idx="1388">
                  <c:v>3.0620000000000003</c:v>
                </c:pt>
                <c:pt idx="1389">
                  <c:v>2.7050000000000001</c:v>
                </c:pt>
                <c:pt idx="1390">
                  <c:v>1.296</c:v>
                </c:pt>
                <c:pt idx="1391">
                  <c:v>0.79500000000000004</c:v>
                </c:pt>
                <c:pt idx="1392">
                  <c:v>0.78099999999999992</c:v>
                </c:pt>
                <c:pt idx="1393">
                  <c:v>0.78899999999999992</c:v>
                </c:pt>
                <c:pt idx="1394">
                  <c:v>0.78600000000000003</c:v>
                </c:pt>
                <c:pt idx="1395">
                  <c:v>0.85600000000000009</c:v>
                </c:pt>
                <c:pt idx="1396">
                  <c:v>0.97899999999999987</c:v>
                </c:pt>
                <c:pt idx="1397">
                  <c:v>1.034</c:v>
                </c:pt>
                <c:pt idx="1398">
                  <c:v>2.899</c:v>
                </c:pt>
                <c:pt idx="1399">
                  <c:v>3.286</c:v>
                </c:pt>
                <c:pt idx="1400">
                  <c:v>3.3200000000000003</c:v>
                </c:pt>
                <c:pt idx="1401">
                  <c:v>3.1019999999999999</c:v>
                </c:pt>
                <c:pt idx="1402">
                  <c:v>3.0760000000000001</c:v>
                </c:pt>
                <c:pt idx="1403">
                  <c:v>3.0569999999999999</c:v>
                </c:pt>
                <c:pt idx="1404">
                  <c:v>3.242</c:v>
                </c:pt>
                <c:pt idx="1405">
                  <c:v>3.9799999999999995</c:v>
                </c:pt>
                <c:pt idx="1406">
                  <c:v>3.9859999999999998</c:v>
                </c:pt>
                <c:pt idx="1407">
                  <c:v>3.9170000000000003</c:v>
                </c:pt>
                <c:pt idx="1408">
                  <c:v>3.9520000000000004</c:v>
                </c:pt>
                <c:pt idx="1409">
                  <c:v>4.0129999999999999</c:v>
                </c:pt>
                <c:pt idx="1410">
                  <c:v>4.92</c:v>
                </c:pt>
                <c:pt idx="1411">
                  <c:v>5.3119999999999994</c:v>
                </c:pt>
                <c:pt idx="1412">
                  <c:v>3.911</c:v>
                </c:pt>
                <c:pt idx="1413">
                  <c:v>3.8780000000000001</c:v>
                </c:pt>
                <c:pt idx="1414">
                  <c:v>3.1399999999999997</c:v>
                </c:pt>
                <c:pt idx="1415">
                  <c:v>3.0059999999999998</c:v>
                </c:pt>
                <c:pt idx="1416">
                  <c:v>3.105</c:v>
                </c:pt>
                <c:pt idx="1417">
                  <c:v>2.9569999999999999</c:v>
                </c:pt>
                <c:pt idx="1418">
                  <c:v>2.8609999999999998</c:v>
                </c:pt>
                <c:pt idx="1419">
                  <c:v>2.552</c:v>
                </c:pt>
                <c:pt idx="1420">
                  <c:v>2.8649999999999998</c:v>
                </c:pt>
                <c:pt idx="1421">
                  <c:v>2.9980000000000002</c:v>
                </c:pt>
                <c:pt idx="1422">
                  <c:v>3.2399999999999998</c:v>
                </c:pt>
                <c:pt idx="1423">
                  <c:v>4.1959999999999997</c:v>
                </c:pt>
                <c:pt idx="1424">
                  <c:v>4.2080000000000002</c:v>
                </c:pt>
                <c:pt idx="1425">
                  <c:v>3.9990000000000001</c:v>
                </c:pt>
                <c:pt idx="1426">
                  <c:v>3.9899999999999998</c:v>
                </c:pt>
                <c:pt idx="1427">
                  <c:v>3.6920000000000002</c:v>
                </c:pt>
                <c:pt idx="1428">
                  <c:v>3.1219999999999999</c:v>
                </c:pt>
                <c:pt idx="1429">
                  <c:v>3.0739999999999998</c:v>
                </c:pt>
                <c:pt idx="1430">
                  <c:v>3.0829999999999997</c:v>
                </c:pt>
                <c:pt idx="1431">
                  <c:v>3.2159999999999997</c:v>
                </c:pt>
                <c:pt idx="1432">
                  <c:v>3.8630000000000004</c:v>
                </c:pt>
                <c:pt idx="1433">
                  <c:v>4.6820000000000004</c:v>
                </c:pt>
                <c:pt idx="1434">
                  <c:v>5.1989999999999998</c:v>
                </c:pt>
                <c:pt idx="1435">
                  <c:v>4.968</c:v>
                </c:pt>
                <c:pt idx="1436">
                  <c:v>3.9929999999999999</c:v>
                </c:pt>
                <c:pt idx="1437">
                  <c:v>3.4899999999999998</c:v>
                </c:pt>
                <c:pt idx="1438">
                  <c:v>3.1930000000000001</c:v>
                </c:pt>
                <c:pt idx="1439">
                  <c:v>2.9699999999999998</c:v>
                </c:pt>
                <c:pt idx="1440">
                  <c:v>2.9729999999999999</c:v>
                </c:pt>
                <c:pt idx="1441">
                  <c:v>2.9489999999999998</c:v>
                </c:pt>
                <c:pt idx="1442">
                  <c:v>2.5989999999999998</c:v>
                </c:pt>
                <c:pt idx="1443">
                  <c:v>2.6</c:v>
                </c:pt>
                <c:pt idx="1444">
                  <c:v>2.617</c:v>
                </c:pt>
                <c:pt idx="1445">
                  <c:v>2.6040000000000001</c:v>
                </c:pt>
                <c:pt idx="1446">
                  <c:v>3.1040000000000001</c:v>
                </c:pt>
                <c:pt idx="1447">
                  <c:v>3.3570000000000002</c:v>
                </c:pt>
                <c:pt idx="1448">
                  <c:v>3.4189999999999996</c:v>
                </c:pt>
                <c:pt idx="1449">
                  <c:v>3.085</c:v>
                </c:pt>
                <c:pt idx="1450">
                  <c:v>2.6</c:v>
                </c:pt>
                <c:pt idx="1451">
                  <c:v>2.508</c:v>
                </c:pt>
                <c:pt idx="1452">
                  <c:v>1.2630000000000001</c:v>
                </c:pt>
                <c:pt idx="1453">
                  <c:v>1.0449999999999999</c:v>
                </c:pt>
                <c:pt idx="1454">
                  <c:v>1.048</c:v>
                </c:pt>
                <c:pt idx="1455">
                  <c:v>2.5010000000000003</c:v>
                </c:pt>
                <c:pt idx="1456">
                  <c:v>2.5920000000000001</c:v>
                </c:pt>
                <c:pt idx="1457">
                  <c:v>3.2170000000000001</c:v>
                </c:pt>
                <c:pt idx="1458">
                  <c:v>3.9899999999999998</c:v>
                </c:pt>
                <c:pt idx="1459">
                  <c:v>3.8909999999999996</c:v>
                </c:pt>
                <c:pt idx="1460">
                  <c:v>3.1949999999999998</c:v>
                </c:pt>
                <c:pt idx="1461">
                  <c:v>3.0469999999999997</c:v>
                </c:pt>
                <c:pt idx="1462">
                  <c:v>2.9249999999999998</c:v>
                </c:pt>
                <c:pt idx="1463">
                  <c:v>2.5070000000000001</c:v>
                </c:pt>
                <c:pt idx="1464">
                  <c:v>2.702</c:v>
                </c:pt>
                <c:pt idx="1465">
                  <c:v>2.6469999999999998</c:v>
                </c:pt>
                <c:pt idx="1466">
                  <c:v>2.6030000000000002</c:v>
                </c:pt>
                <c:pt idx="1467">
                  <c:v>2.899</c:v>
                </c:pt>
                <c:pt idx="1468">
                  <c:v>3.0910000000000002</c:v>
                </c:pt>
                <c:pt idx="1469">
                  <c:v>3.2359999999999998</c:v>
                </c:pt>
                <c:pt idx="1470">
                  <c:v>4.1909999999999998</c:v>
                </c:pt>
                <c:pt idx="1471">
                  <c:v>4.8</c:v>
                </c:pt>
                <c:pt idx="1472">
                  <c:v>4.7569999999999997</c:v>
                </c:pt>
                <c:pt idx="1473">
                  <c:v>4.6500000000000004</c:v>
                </c:pt>
                <c:pt idx="1474">
                  <c:v>4.3490000000000002</c:v>
                </c:pt>
                <c:pt idx="1475">
                  <c:v>4.3469999999999995</c:v>
                </c:pt>
                <c:pt idx="1476">
                  <c:v>4.1020000000000003</c:v>
                </c:pt>
                <c:pt idx="1477">
                  <c:v>3.9829999999999997</c:v>
                </c:pt>
                <c:pt idx="1478">
                  <c:v>3.91</c:v>
                </c:pt>
                <c:pt idx="1479">
                  <c:v>3.8600000000000003</c:v>
                </c:pt>
                <c:pt idx="1480">
                  <c:v>4.0969999999999995</c:v>
                </c:pt>
                <c:pt idx="1481">
                  <c:v>4.1909999999999998</c:v>
                </c:pt>
                <c:pt idx="1482">
                  <c:v>4.218</c:v>
                </c:pt>
                <c:pt idx="1483">
                  <c:v>4.4950000000000001</c:v>
                </c:pt>
                <c:pt idx="1484">
                  <c:v>4.101</c:v>
                </c:pt>
                <c:pt idx="1485">
                  <c:v>3.5289999999999999</c:v>
                </c:pt>
                <c:pt idx="1486">
                  <c:v>3.625</c:v>
                </c:pt>
                <c:pt idx="1487">
                  <c:v>3.4560000000000004</c:v>
                </c:pt>
                <c:pt idx="1488">
                  <c:v>3.16</c:v>
                </c:pt>
                <c:pt idx="1489">
                  <c:v>3.0249999999999999</c:v>
                </c:pt>
                <c:pt idx="1490">
                  <c:v>3.004</c:v>
                </c:pt>
                <c:pt idx="1491">
                  <c:v>2.8440000000000003</c:v>
                </c:pt>
                <c:pt idx="1492">
                  <c:v>2.8260000000000001</c:v>
                </c:pt>
                <c:pt idx="1493">
                  <c:v>2.9219999999999997</c:v>
                </c:pt>
                <c:pt idx="1494">
                  <c:v>2.8159999999999998</c:v>
                </c:pt>
                <c:pt idx="1495">
                  <c:v>3</c:v>
                </c:pt>
                <c:pt idx="1496">
                  <c:v>3.3959999999999999</c:v>
                </c:pt>
                <c:pt idx="1497">
                  <c:v>3.9340000000000002</c:v>
                </c:pt>
                <c:pt idx="1498">
                  <c:v>3.6729999999999996</c:v>
                </c:pt>
                <c:pt idx="1499">
                  <c:v>3.6689999999999996</c:v>
                </c:pt>
                <c:pt idx="1500">
                  <c:v>3.3759999999999999</c:v>
                </c:pt>
                <c:pt idx="1501">
                  <c:v>3.1440000000000001</c:v>
                </c:pt>
                <c:pt idx="1502">
                  <c:v>3.181</c:v>
                </c:pt>
                <c:pt idx="1503">
                  <c:v>3.367</c:v>
                </c:pt>
                <c:pt idx="1504">
                  <c:v>3.4899999999999998</c:v>
                </c:pt>
                <c:pt idx="1505">
                  <c:v>4.0439999999999996</c:v>
                </c:pt>
                <c:pt idx="1506">
                  <c:v>4.4689999999999994</c:v>
                </c:pt>
                <c:pt idx="1507">
                  <c:v>4.7249999999999996</c:v>
                </c:pt>
                <c:pt idx="1508">
                  <c:v>4.2009999999999996</c:v>
                </c:pt>
                <c:pt idx="1509">
                  <c:v>3.5070000000000001</c:v>
                </c:pt>
                <c:pt idx="1510">
                  <c:v>3.1870000000000003</c:v>
                </c:pt>
                <c:pt idx="1511">
                  <c:v>2.2679999999999998</c:v>
                </c:pt>
                <c:pt idx="1512">
                  <c:v>2.1109999999999998</c:v>
                </c:pt>
                <c:pt idx="1513">
                  <c:v>1.544</c:v>
                </c:pt>
                <c:pt idx="1514">
                  <c:v>1.1560000000000001</c:v>
                </c:pt>
                <c:pt idx="1515">
                  <c:v>1.06</c:v>
                </c:pt>
                <c:pt idx="1516">
                  <c:v>0.98399999999999999</c:v>
                </c:pt>
                <c:pt idx="1517">
                  <c:v>0.80600000000000005</c:v>
                </c:pt>
                <c:pt idx="1518">
                  <c:v>0.98299999999999998</c:v>
                </c:pt>
                <c:pt idx="1519">
                  <c:v>0.91300000000000003</c:v>
                </c:pt>
                <c:pt idx="1520">
                  <c:v>0.9880000000000001</c:v>
                </c:pt>
                <c:pt idx="1521">
                  <c:v>1.1320000000000001</c:v>
                </c:pt>
                <c:pt idx="1522">
                  <c:v>0.99700000000000011</c:v>
                </c:pt>
                <c:pt idx="1523">
                  <c:v>1</c:v>
                </c:pt>
                <c:pt idx="1524">
                  <c:v>1.08</c:v>
                </c:pt>
                <c:pt idx="1525">
                  <c:v>0.99600000000000011</c:v>
                </c:pt>
                <c:pt idx="1526">
                  <c:v>0.94000000000000006</c:v>
                </c:pt>
                <c:pt idx="1527">
                  <c:v>0.99600000000000011</c:v>
                </c:pt>
                <c:pt idx="1528">
                  <c:v>1.722</c:v>
                </c:pt>
                <c:pt idx="1529">
                  <c:v>3.0030000000000001</c:v>
                </c:pt>
                <c:pt idx="1530">
                  <c:v>3.3689999999999998</c:v>
                </c:pt>
                <c:pt idx="1531">
                  <c:v>3.7950000000000004</c:v>
                </c:pt>
                <c:pt idx="1532">
                  <c:v>3.5020000000000002</c:v>
                </c:pt>
                <c:pt idx="1533">
                  <c:v>3.2850000000000001</c:v>
                </c:pt>
                <c:pt idx="1534">
                  <c:v>3.2920000000000003</c:v>
                </c:pt>
                <c:pt idx="1535">
                  <c:v>3.1670000000000003</c:v>
                </c:pt>
                <c:pt idx="1536">
                  <c:v>3.1239999999999997</c:v>
                </c:pt>
                <c:pt idx="1537">
                  <c:v>2.9039999999999999</c:v>
                </c:pt>
                <c:pt idx="1538">
                  <c:v>2.7989999999999999</c:v>
                </c:pt>
                <c:pt idx="1539">
                  <c:v>2.5350000000000001</c:v>
                </c:pt>
                <c:pt idx="1540">
                  <c:v>2.73</c:v>
                </c:pt>
                <c:pt idx="1541">
                  <c:v>2.907</c:v>
                </c:pt>
                <c:pt idx="1542">
                  <c:v>3.4979999999999998</c:v>
                </c:pt>
                <c:pt idx="1543">
                  <c:v>4.24</c:v>
                </c:pt>
                <c:pt idx="1544">
                  <c:v>4.4279999999999999</c:v>
                </c:pt>
                <c:pt idx="1545">
                  <c:v>4.7030000000000003</c:v>
                </c:pt>
                <c:pt idx="1546">
                  <c:v>4.6579999999999995</c:v>
                </c:pt>
                <c:pt idx="1547">
                  <c:v>4.6360000000000001</c:v>
                </c:pt>
                <c:pt idx="1548">
                  <c:v>4.3920000000000003</c:v>
                </c:pt>
                <c:pt idx="1549">
                  <c:v>3.9899999999999998</c:v>
                </c:pt>
                <c:pt idx="1550">
                  <c:v>3.6070000000000002</c:v>
                </c:pt>
                <c:pt idx="1551">
                  <c:v>3.9899999999999998</c:v>
                </c:pt>
                <c:pt idx="1552">
                  <c:v>4.2909999999999995</c:v>
                </c:pt>
                <c:pt idx="1553">
                  <c:v>4.6150000000000002</c:v>
                </c:pt>
                <c:pt idx="1554">
                  <c:v>4.9590000000000005</c:v>
                </c:pt>
                <c:pt idx="1555">
                  <c:v>5.1659999999999995</c:v>
                </c:pt>
                <c:pt idx="1556">
                  <c:v>4.6049999999999995</c:v>
                </c:pt>
                <c:pt idx="1557">
                  <c:v>3.7399999999999998</c:v>
                </c:pt>
                <c:pt idx="1558">
                  <c:v>3.5</c:v>
                </c:pt>
                <c:pt idx="1559">
                  <c:v>3.1930000000000001</c:v>
                </c:pt>
                <c:pt idx="1560">
                  <c:v>3.1070000000000002</c:v>
                </c:pt>
                <c:pt idx="1561">
                  <c:v>3.0010000000000003</c:v>
                </c:pt>
                <c:pt idx="1562">
                  <c:v>2.9989999999999997</c:v>
                </c:pt>
                <c:pt idx="1563">
                  <c:v>2.964</c:v>
                </c:pt>
                <c:pt idx="1564">
                  <c:v>3.06</c:v>
                </c:pt>
                <c:pt idx="1565">
                  <c:v>3.2979999999999996</c:v>
                </c:pt>
                <c:pt idx="1566">
                  <c:v>3.6</c:v>
                </c:pt>
                <c:pt idx="1567">
                  <c:v>5.0190000000000001</c:v>
                </c:pt>
                <c:pt idx="1568">
                  <c:v>5.4249999999999998</c:v>
                </c:pt>
                <c:pt idx="1569">
                  <c:v>5.41</c:v>
                </c:pt>
                <c:pt idx="1570">
                  <c:v>5.3929999999999998</c:v>
                </c:pt>
                <c:pt idx="1571">
                  <c:v>5.1539999999999999</c:v>
                </c:pt>
                <c:pt idx="1572">
                  <c:v>4.99</c:v>
                </c:pt>
                <c:pt idx="1573">
                  <c:v>4.907</c:v>
                </c:pt>
                <c:pt idx="1574">
                  <c:v>4.8689999999999998</c:v>
                </c:pt>
                <c:pt idx="1575">
                  <c:v>4.7750000000000004</c:v>
                </c:pt>
                <c:pt idx="1576">
                  <c:v>4.8</c:v>
                </c:pt>
                <c:pt idx="1577">
                  <c:v>5.0310000000000006</c:v>
                </c:pt>
                <c:pt idx="1578">
                  <c:v>5.7520000000000007</c:v>
                </c:pt>
                <c:pt idx="1579">
                  <c:v>6.1049999999999995</c:v>
                </c:pt>
                <c:pt idx="1580">
                  <c:v>5.1929999999999996</c:v>
                </c:pt>
                <c:pt idx="1581">
                  <c:v>4.3929999999999998</c:v>
                </c:pt>
                <c:pt idx="1582">
                  <c:v>4.194</c:v>
                </c:pt>
                <c:pt idx="1583">
                  <c:v>3.3729999999999998</c:v>
                </c:pt>
                <c:pt idx="1584">
                  <c:v>3.3979999999999997</c:v>
                </c:pt>
                <c:pt idx="1585">
                  <c:v>3.2759999999999998</c:v>
                </c:pt>
                <c:pt idx="1586">
                  <c:v>3.2</c:v>
                </c:pt>
                <c:pt idx="1587">
                  <c:v>3.1379999999999999</c:v>
                </c:pt>
                <c:pt idx="1588">
                  <c:v>3.12</c:v>
                </c:pt>
                <c:pt idx="1589">
                  <c:v>3.2060000000000004</c:v>
                </c:pt>
                <c:pt idx="1590">
                  <c:v>4.1040000000000001</c:v>
                </c:pt>
                <c:pt idx="1591">
                  <c:v>4.9610000000000003</c:v>
                </c:pt>
                <c:pt idx="1592">
                  <c:v>4.9930000000000003</c:v>
                </c:pt>
                <c:pt idx="1593">
                  <c:v>4.3439999999999994</c:v>
                </c:pt>
                <c:pt idx="1594">
                  <c:v>4.0999999999999996</c:v>
                </c:pt>
                <c:pt idx="1595">
                  <c:v>3.81</c:v>
                </c:pt>
                <c:pt idx="1596">
                  <c:v>3.4159999999999995</c:v>
                </c:pt>
                <c:pt idx="1597">
                  <c:v>3.3649999999999998</c:v>
                </c:pt>
                <c:pt idx="1598">
                  <c:v>3.5009999999999999</c:v>
                </c:pt>
                <c:pt idx="1599">
                  <c:v>3.37</c:v>
                </c:pt>
                <c:pt idx="1600">
                  <c:v>3.403</c:v>
                </c:pt>
                <c:pt idx="1601">
                  <c:v>3.5740000000000003</c:v>
                </c:pt>
                <c:pt idx="1602">
                  <c:v>4.2050000000000001</c:v>
                </c:pt>
                <c:pt idx="1603">
                  <c:v>4.2</c:v>
                </c:pt>
                <c:pt idx="1604">
                  <c:v>3.415</c:v>
                </c:pt>
                <c:pt idx="1605">
                  <c:v>3.1850000000000001</c:v>
                </c:pt>
                <c:pt idx="1606">
                  <c:v>3.214</c:v>
                </c:pt>
                <c:pt idx="1607">
                  <c:v>2.8969999999999998</c:v>
                </c:pt>
                <c:pt idx="1608">
                  <c:v>3.0659999999999998</c:v>
                </c:pt>
                <c:pt idx="1609">
                  <c:v>3.056</c:v>
                </c:pt>
                <c:pt idx="1610">
                  <c:v>2.9780000000000002</c:v>
                </c:pt>
                <c:pt idx="1611">
                  <c:v>2.93</c:v>
                </c:pt>
                <c:pt idx="1612">
                  <c:v>2.9279999999999999</c:v>
                </c:pt>
                <c:pt idx="1613">
                  <c:v>3.1120000000000001</c:v>
                </c:pt>
                <c:pt idx="1614">
                  <c:v>4.1590000000000007</c:v>
                </c:pt>
                <c:pt idx="1615">
                  <c:v>4.867</c:v>
                </c:pt>
                <c:pt idx="1616">
                  <c:v>5.0020000000000007</c:v>
                </c:pt>
                <c:pt idx="1617">
                  <c:v>4.9020000000000001</c:v>
                </c:pt>
                <c:pt idx="1618">
                  <c:v>4.8620000000000001</c:v>
                </c:pt>
                <c:pt idx="1619">
                  <c:v>4.7159999999999993</c:v>
                </c:pt>
                <c:pt idx="1620">
                  <c:v>4.3819999999999997</c:v>
                </c:pt>
                <c:pt idx="1621">
                  <c:v>4.1850000000000005</c:v>
                </c:pt>
                <c:pt idx="1622">
                  <c:v>3.8090000000000002</c:v>
                </c:pt>
                <c:pt idx="1623">
                  <c:v>3.6689999999999996</c:v>
                </c:pt>
                <c:pt idx="1624">
                  <c:v>3.53</c:v>
                </c:pt>
                <c:pt idx="1625">
                  <c:v>4.1470000000000002</c:v>
                </c:pt>
                <c:pt idx="1626">
                  <c:v>4.4820000000000002</c:v>
                </c:pt>
                <c:pt idx="1627">
                  <c:v>4.2840000000000007</c:v>
                </c:pt>
                <c:pt idx="1628">
                  <c:v>3.3340000000000005</c:v>
                </c:pt>
                <c:pt idx="1629">
                  <c:v>3.3020000000000005</c:v>
                </c:pt>
                <c:pt idx="1630">
                  <c:v>3.1510000000000002</c:v>
                </c:pt>
                <c:pt idx="1631">
                  <c:v>2.8820000000000001</c:v>
                </c:pt>
                <c:pt idx="1632">
                  <c:v>2.0819999999999999</c:v>
                </c:pt>
                <c:pt idx="1633">
                  <c:v>1.8180000000000001</c:v>
                </c:pt>
                <c:pt idx="1634">
                  <c:v>1.2010000000000001</c:v>
                </c:pt>
                <c:pt idx="1635">
                  <c:v>1.8089999999999999</c:v>
                </c:pt>
                <c:pt idx="1636">
                  <c:v>2.6960000000000002</c:v>
                </c:pt>
                <c:pt idx="1637">
                  <c:v>2.859</c:v>
                </c:pt>
                <c:pt idx="1638">
                  <c:v>3.19</c:v>
                </c:pt>
                <c:pt idx="1639">
                  <c:v>4.1979999999999995</c:v>
                </c:pt>
                <c:pt idx="1640">
                  <c:v>4.1929999999999996</c:v>
                </c:pt>
                <c:pt idx="1641">
                  <c:v>3.6960000000000002</c:v>
                </c:pt>
                <c:pt idx="1642">
                  <c:v>3.3020000000000005</c:v>
                </c:pt>
                <c:pt idx="1643">
                  <c:v>3.2090000000000005</c:v>
                </c:pt>
                <c:pt idx="1644">
                  <c:v>3.1510000000000002</c:v>
                </c:pt>
                <c:pt idx="1645">
                  <c:v>3.1309999999999998</c:v>
                </c:pt>
                <c:pt idx="1646">
                  <c:v>3.1260000000000003</c:v>
                </c:pt>
                <c:pt idx="1647">
                  <c:v>3.2109999999999999</c:v>
                </c:pt>
                <c:pt idx="1648">
                  <c:v>3.6070000000000002</c:v>
                </c:pt>
                <c:pt idx="1649">
                  <c:v>4.0369999999999999</c:v>
                </c:pt>
                <c:pt idx="1650">
                  <c:v>4.9169999999999998</c:v>
                </c:pt>
                <c:pt idx="1651">
                  <c:v>5.3559999999999999</c:v>
                </c:pt>
                <c:pt idx="1652">
                  <c:v>4.5880000000000001</c:v>
                </c:pt>
                <c:pt idx="1653">
                  <c:v>3.9670000000000001</c:v>
                </c:pt>
                <c:pt idx="1654">
                  <c:v>3.7709999999999999</c:v>
                </c:pt>
                <c:pt idx="1655">
                  <c:v>3.4249999999999998</c:v>
                </c:pt>
                <c:pt idx="1656">
                  <c:v>3.3020000000000005</c:v>
                </c:pt>
                <c:pt idx="1657">
                  <c:v>3.1239999999999997</c:v>
                </c:pt>
                <c:pt idx="1658">
                  <c:v>3.0129999999999999</c:v>
                </c:pt>
                <c:pt idx="1659">
                  <c:v>2.964</c:v>
                </c:pt>
                <c:pt idx="1660">
                  <c:v>2.907</c:v>
                </c:pt>
                <c:pt idx="1661">
                  <c:v>3</c:v>
                </c:pt>
                <c:pt idx="1662">
                  <c:v>3.177</c:v>
                </c:pt>
                <c:pt idx="1663">
                  <c:v>3.2399999999999998</c:v>
                </c:pt>
                <c:pt idx="1664">
                  <c:v>3.5</c:v>
                </c:pt>
                <c:pt idx="1665">
                  <c:v>3.5049999999999999</c:v>
                </c:pt>
                <c:pt idx="1666">
                  <c:v>3.3</c:v>
                </c:pt>
                <c:pt idx="1667">
                  <c:v>3.141</c:v>
                </c:pt>
                <c:pt idx="1668">
                  <c:v>3.1070000000000002</c:v>
                </c:pt>
                <c:pt idx="1669">
                  <c:v>3.0190000000000001</c:v>
                </c:pt>
                <c:pt idx="1670">
                  <c:v>2.9850000000000003</c:v>
                </c:pt>
                <c:pt idx="1671">
                  <c:v>2.9980000000000002</c:v>
                </c:pt>
                <c:pt idx="1672">
                  <c:v>3.081</c:v>
                </c:pt>
                <c:pt idx="1673">
                  <c:v>3.4659999999999997</c:v>
                </c:pt>
                <c:pt idx="1674">
                  <c:v>4.3970000000000002</c:v>
                </c:pt>
                <c:pt idx="1675">
                  <c:v>4.5909999999999993</c:v>
                </c:pt>
                <c:pt idx="1676">
                  <c:v>3.81</c:v>
                </c:pt>
                <c:pt idx="1677">
                  <c:v>3.226</c:v>
                </c:pt>
                <c:pt idx="1678">
                  <c:v>3.2109999999999999</c:v>
                </c:pt>
                <c:pt idx="1679">
                  <c:v>3.0049999999999999</c:v>
                </c:pt>
                <c:pt idx="1680">
                  <c:v>2.79</c:v>
                </c:pt>
                <c:pt idx="1681">
                  <c:v>2.54</c:v>
                </c:pt>
                <c:pt idx="1682">
                  <c:v>2.036</c:v>
                </c:pt>
                <c:pt idx="1683">
                  <c:v>1.3919999999999999</c:v>
                </c:pt>
                <c:pt idx="1684">
                  <c:v>1.0880000000000001</c:v>
                </c:pt>
                <c:pt idx="1685">
                  <c:v>1.1949999999999998</c:v>
                </c:pt>
                <c:pt idx="1686">
                  <c:v>1.3919999999999999</c:v>
                </c:pt>
                <c:pt idx="1687">
                  <c:v>1.121</c:v>
                </c:pt>
                <c:pt idx="1688">
                  <c:v>1.097</c:v>
                </c:pt>
                <c:pt idx="1689">
                  <c:v>1.3279999999999998</c:v>
                </c:pt>
                <c:pt idx="1690">
                  <c:v>1.018</c:v>
                </c:pt>
                <c:pt idx="1691">
                  <c:v>1.5630000000000002</c:v>
                </c:pt>
                <c:pt idx="1692">
                  <c:v>0.96</c:v>
                </c:pt>
                <c:pt idx="1693">
                  <c:v>1.2210000000000001</c:v>
                </c:pt>
                <c:pt idx="1694">
                  <c:v>0.95500000000000007</c:v>
                </c:pt>
                <c:pt idx="1695">
                  <c:v>1.1930000000000001</c:v>
                </c:pt>
                <c:pt idx="1696">
                  <c:v>1.1000000000000001</c:v>
                </c:pt>
                <c:pt idx="1697">
                  <c:v>2.69</c:v>
                </c:pt>
                <c:pt idx="1698">
                  <c:v>3.1149999999999998</c:v>
                </c:pt>
                <c:pt idx="1699">
                  <c:v>3.1350000000000002</c:v>
                </c:pt>
                <c:pt idx="1700">
                  <c:v>3.069</c:v>
                </c:pt>
                <c:pt idx="1701">
                  <c:v>3.0620000000000003</c:v>
                </c:pt>
                <c:pt idx="1702">
                  <c:v>3.04</c:v>
                </c:pt>
                <c:pt idx="1703">
                  <c:v>2.9340000000000002</c:v>
                </c:pt>
                <c:pt idx="1704">
                  <c:v>2.7039999999999997</c:v>
                </c:pt>
                <c:pt idx="1705">
                  <c:v>2.6819999999999999</c:v>
                </c:pt>
                <c:pt idx="1706">
                  <c:v>2.69</c:v>
                </c:pt>
                <c:pt idx="1707">
                  <c:v>2.702</c:v>
                </c:pt>
                <c:pt idx="1708">
                  <c:v>2.7770000000000001</c:v>
                </c:pt>
                <c:pt idx="1709">
                  <c:v>2.964</c:v>
                </c:pt>
                <c:pt idx="1710">
                  <c:v>3.383</c:v>
                </c:pt>
                <c:pt idx="1711">
                  <c:v>4.0999999999999996</c:v>
                </c:pt>
                <c:pt idx="1712">
                  <c:v>4.2859999999999996</c:v>
                </c:pt>
                <c:pt idx="1713">
                  <c:v>4</c:v>
                </c:pt>
                <c:pt idx="1714">
                  <c:v>3.4569999999999999</c:v>
                </c:pt>
                <c:pt idx="1715">
                  <c:v>3.2890000000000001</c:v>
                </c:pt>
                <c:pt idx="1716">
                  <c:v>3.1970000000000001</c:v>
                </c:pt>
                <c:pt idx="1717">
                  <c:v>3.22</c:v>
                </c:pt>
                <c:pt idx="1718">
                  <c:v>3.17</c:v>
                </c:pt>
                <c:pt idx="1719">
                  <c:v>3.2</c:v>
                </c:pt>
                <c:pt idx="1720">
                  <c:v>3.661</c:v>
                </c:pt>
                <c:pt idx="1721">
                  <c:v>4.1820000000000004</c:v>
                </c:pt>
                <c:pt idx="1722">
                  <c:v>4.99</c:v>
                </c:pt>
                <c:pt idx="1723">
                  <c:v>5.6989999999999998</c:v>
                </c:pt>
                <c:pt idx="1724">
                  <c:v>4.9509999999999996</c:v>
                </c:pt>
                <c:pt idx="1725">
                  <c:v>4.4939999999999998</c:v>
                </c:pt>
                <c:pt idx="1726">
                  <c:v>3.996</c:v>
                </c:pt>
                <c:pt idx="1727">
                  <c:v>3.3549999999999995</c:v>
                </c:pt>
                <c:pt idx="1728">
                  <c:v>2.9579999999999997</c:v>
                </c:pt>
                <c:pt idx="1729">
                  <c:v>2.8609999999999998</c:v>
                </c:pt>
                <c:pt idx="1730">
                  <c:v>2.7730000000000001</c:v>
                </c:pt>
                <c:pt idx="1731">
                  <c:v>2.7749999999999999</c:v>
                </c:pt>
                <c:pt idx="1732">
                  <c:v>2.843</c:v>
                </c:pt>
                <c:pt idx="1733">
                  <c:v>2.9489999999999998</c:v>
                </c:pt>
                <c:pt idx="1734">
                  <c:v>3.7719999999999998</c:v>
                </c:pt>
                <c:pt idx="1735">
                  <c:v>4.492</c:v>
                </c:pt>
                <c:pt idx="1736">
                  <c:v>4.71</c:v>
                </c:pt>
                <c:pt idx="1737">
                  <c:v>4.3970000000000002</c:v>
                </c:pt>
                <c:pt idx="1738">
                  <c:v>4.1929999999999996</c:v>
                </c:pt>
                <c:pt idx="1739">
                  <c:v>3.7189999999999999</c:v>
                </c:pt>
                <c:pt idx="1740">
                  <c:v>3.1079999999999997</c:v>
                </c:pt>
                <c:pt idx="1741">
                  <c:v>3.008</c:v>
                </c:pt>
                <c:pt idx="1742">
                  <c:v>3.008</c:v>
                </c:pt>
                <c:pt idx="1743">
                  <c:v>3.016</c:v>
                </c:pt>
                <c:pt idx="1744">
                  <c:v>3.5</c:v>
                </c:pt>
                <c:pt idx="1745">
                  <c:v>4.1150000000000002</c:v>
                </c:pt>
                <c:pt idx="1746">
                  <c:v>4.5579999999999998</c:v>
                </c:pt>
                <c:pt idx="1747">
                  <c:v>4.5460000000000003</c:v>
                </c:pt>
                <c:pt idx="1748">
                  <c:v>3.585</c:v>
                </c:pt>
                <c:pt idx="1749">
                  <c:v>2.899</c:v>
                </c:pt>
                <c:pt idx="1750">
                  <c:v>2.8079999999999998</c:v>
                </c:pt>
                <c:pt idx="1751">
                  <c:v>2.3440000000000003</c:v>
                </c:pt>
                <c:pt idx="1752">
                  <c:v>2.2210000000000001</c:v>
                </c:pt>
                <c:pt idx="1753">
                  <c:v>2.1139999999999999</c:v>
                </c:pt>
                <c:pt idx="1754">
                  <c:v>1.8649999999999998</c:v>
                </c:pt>
                <c:pt idx="1755">
                  <c:v>2.016</c:v>
                </c:pt>
                <c:pt idx="1756">
                  <c:v>2.403</c:v>
                </c:pt>
                <c:pt idx="1757">
                  <c:v>2.8050000000000002</c:v>
                </c:pt>
                <c:pt idx="1758">
                  <c:v>3.496</c:v>
                </c:pt>
                <c:pt idx="1759">
                  <c:v>4.0979999999999999</c:v>
                </c:pt>
                <c:pt idx="1760">
                  <c:v>4.0969999999999995</c:v>
                </c:pt>
                <c:pt idx="1761">
                  <c:v>3.899</c:v>
                </c:pt>
                <c:pt idx="1762">
                  <c:v>3.4939999999999998</c:v>
                </c:pt>
                <c:pt idx="1763">
                  <c:v>3.3069999999999999</c:v>
                </c:pt>
                <c:pt idx="1764">
                  <c:v>3.214</c:v>
                </c:pt>
                <c:pt idx="1765">
                  <c:v>3.15</c:v>
                </c:pt>
                <c:pt idx="1766">
                  <c:v>3.1420000000000003</c:v>
                </c:pt>
                <c:pt idx="1767">
                  <c:v>3.2399999999999998</c:v>
                </c:pt>
                <c:pt idx="1768">
                  <c:v>3.306</c:v>
                </c:pt>
                <c:pt idx="1769">
                  <c:v>4.0999999999999996</c:v>
                </c:pt>
                <c:pt idx="1770">
                  <c:v>4.7969999999999997</c:v>
                </c:pt>
                <c:pt idx="1771">
                  <c:v>5.2090000000000005</c:v>
                </c:pt>
                <c:pt idx="1772">
                  <c:v>4.3899999999999997</c:v>
                </c:pt>
                <c:pt idx="1773">
                  <c:v>3.81</c:v>
                </c:pt>
                <c:pt idx="1774">
                  <c:v>3.4820000000000002</c:v>
                </c:pt>
                <c:pt idx="1775">
                  <c:v>3.1589999999999998</c:v>
                </c:pt>
                <c:pt idx="1776">
                  <c:v>2.9989999999999997</c:v>
                </c:pt>
                <c:pt idx="1777">
                  <c:v>2.984</c:v>
                </c:pt>
                <c:pt idx="1778">
                  <c:v>2.8140000000000001</c:v>
                </c:pt>
                <c:pt idx="1779">
                  <c:v>2.8289999999999997</c:v>
                </c:pt>
                <c:pt idx="1780">
                  <c:v>2.9370000000000003</c:v>
                </c:pt>
                <c:pt idx="1781">
                  <c:v>3</c:v>
                </c:pt>
                <c:pt idx="1782">
                  <c:v>3.8479999999999999</c:v>
                </c:pt>
                <c:pt idx="1783">
                  <c:v>4.5179999999999998</c:v>
                </c:pt>
                <c:pt idx="1784">
                  <c:v>4.0950000000000006</c:v>
                </c:pt>
                <c:pt idx="1785">
                  <c:v>3.6149999999999998</c:v>
                </c:pt>
                <c:pt idx="1786">
                  <c:v>3.2939999999999996</c:v>
                </c:pt>
                <c:pt idx="1787">
                  <c:v>3.1870000000000003</c:v>
                </c:pt>
                <c:pt idx="1788">
                  <c:v>3.0489999999999999</c:v>
                </c:pt>
                <c:pt idx="1789">
                  <c:v>3.0449999999999999</c:v>
                </c:pt>
                <c:pt idx="1790">
                  <c:v>3.0190000000000001</c:v>
                </c:pt>
                <c:pt idx="1791">
                  <c:v>3.028</c:v>
                </c:pt>
                <c:pt idx="1792">
                  <c:v>3.35</c:v>
                </c:pt>
                <c:pt idx="1793">
                  <c:v>3.9899999999999998</c:v>
                </c:pt>
                <c:pt idx="1794">
                  <c:v>4.5590000000000002</c:v>
                </c:pt>
                <c:pt idx="1795">
                  <c:v>5.01</c:v>
                </c:pt>
                <c:pt idx="1796">
                  <c:v>4.2919999999999998</c:v>
                </c:pt>
                <c:pt idx="1797">
                  <c:v>3.4810000000000003</c:v>
                </c:pt>
                <c:pt idx="1798">
                  <c:v>3.0190000000000001</c:v>
                </c:pt>
                <c:pt idx="1799">
                  <c:v>2.6360000000000001</c:v>
                </c:pt>
                <c:pt idx="1800">
                  <c:v>2.1629999999999998</c:v>
                </c:pt>
                <c:pt idx="1801">
                  <c:v>1.8760000000000001</c:v>
                </c:pt>
                <c:pt idx="1802">
                  <c:v>1.8530000000000002</c:v>
                </c:pt>
                <c:pt idx="1803">
                  <c:v>2.093</c:v>
                </c:pt>
                <c:pt idx="1804">
                  <c:v>2.411</c:v>
                </c:pt>
                <c:pt idx="1805">
                  <c:v>2.8</c:v>
                </c:pt>
                <c:pt idx="1806">
                  <c:v>3.9969999999999999</c:v>
                </c:pt>
                <c:pt idx="1807">
                  <c:v>4.0909999999999993</c:v>
                </c:pt>
                <c:pt idx="1808">
                  <c:v>4.0449999999999999</c:v>
                </c:pt>
                <c:pt idx="1809">
                  <c:v>3.3969999999999998</c:v>
                </c:pt>
                <c:pt idx="1810">
                  <c:v>3.2170000000000001</c:v>
                </c:pt>
                <c:pt idx="1811">
                  <c:v>2.9710000000000001</c:v>
                </c:pt>
                <c:pt idx="1812">
                  <c:v>2.7829999999999999</c:v>
                </c:pt>
                <c:pt idx="1813">
                  <c:v>2.544</c:v>
                </c:pt>
                <c:pt idx="1814">
                  <c:v>2.21</c:v>
                </c:pt>
                <c:pt idx="1815">
                  <c:v>2.278</c:v>
                </c:pt>
                <c:pt idx="1816">
                  <c:v>2.6480000000000001</c:v>
                </c:pt>
                <c:pt idx="1817">
                  <c:v>3.0960000000000001</c:v>
                </c:pt>
                <c:pt idx="1818">
                  <c:v>3.81</c:v>
                </c:pt>
                <c:pt idx="1819">
                  <c:v>4.0449999999999999</c:v>
                </c:pt>
                <c:pt idx="1820">
                  <c:v>3.2990000000000004</c:v>
                </c:pt>
                <c:pt idx="1821">
                  <c:v>2.7909999999999999</c:v>
                </c:pt>
                <c:pt idx="1822">
                  <c:v>2.4500000000000002</c:v>
                </c:pt>
                <c:pt idx="1823">
                  <c:v>1.496</c:v>
                </c:pt>
                <c:pt idx="1824">
                  <c:v>1.173</c:v>
                </c:pt>
                <c:pt idx="1825">
                  <c:v>0.94199999999999995</c:v>
                </c:pt>
                <c:pt idx="1826">
                  <c:v>0.93900000000000006</c:v>
                </c:pt>
                <c:pt idx="1827">
                  <c:v>0.84600000000000009</c:v>
                </c:pt>
                <c:pt idx="1828">
                  <c:v>0.83000000000000007</c:v>
                </c:pt>
                <c:pt idx="1829">
                  <c:v>0.93699999999999994</c:v>
                </c:pt>
                <c:pt idx="1830">
                  <c:v>1.0349999999999999</c:v>
                </c:pt>
                <c:pt idx="1831">
                  <c:v>1.125</c:v>
                </c:pt>
                <c:pt idx="1832">
                  <c:v>1.6930000000000001</c:v>
                </c:pt>
                <c:pt idx="1833">
                  <c:v>2.8180000000000001</c:v>
                </c:pt>
                <c:pt idx="1834">
                  <c:v>2.56</c:v>
                </c:pt>
                <c:pt idx="1835">
                  <c:v>2.6829999999999998</c:v>
                </c:pt>
                <c:pt idx="1836">
                  <c:v>2.569</c:v>
                </c:pt>
                <c:pt idx="1837">
                  <c:v>1.7010000000000001</c:v>
                </c:pt>
                <c:pt idx="1838">
                  <c:v>0.97499999999999998</c:v>
                </c:pt>
                <c:pt idx="1839">
                  <c:v>1.4359999999999999</c:v>
                </c:pt>
                <c:pt idx="1840">
                  <c:v>0.999</c:v>
                </c:pt>
                <c:pt idx="1841">
                  <c:v>2.7440000000000002</c:v>
                </c:pt>
                <c:pt idx="1842">
                  <c:v>3.2310000000000003</c:v>
                </c:pt>
                <c:pt idx="1843">
                  <c:v>3.7939999999999996</c:v>
                </c:pt>
                <c:pt idx="1844">
                  <c:v>3.1269999999999998</c:v>
                </c:pt>
                <c:pt idx="1845">
                  <c:v>3.0739999999999998</c:v>
                </c:pt>
                <c:pt idx="1846">
                  <c:v>3.0750000000000002</c:v>
                </c:pt>
                <c:pt idx="1847">
                  <c:v>2.9059999999999997</c:v>
                </c:pt>
                <c:pt idx="1848">
                  <c:v>1.6620000000000001</c:v>
                </c:pt>
                <c:pt idx="1849">
                  <c:v>1.579</c:v>
                </c:pt>
                <c:pt idx="1850">
                  <c:v>1.6120000000000001</c:v>
                </c:pt>
                <c:pt idx="1851">
                  <c:v>1.2669999999999999</c:v>
                </c:pt>
                <c:pt idx="1852">
                  <c:v>1.343</c:v>
                </c:pt>
                <c:pt idx="1853">
                  <c:v>1.2470000000000001</c:v>
                </c:pt>
                <c:pt idx="1854">
                  <c:v>1.1619999999999999</c:v>
                </c:pt>
                <c:pt idx="1855">
                  <c:v>0.96400000000000008</c:v>
                </c:pt>
                <c:pt idx="1856">
                  <c:v>1.373</c:v>
                </c:pt>
                <c:pt idx="1857">
                  <c:v>1.8440000000000001</c:v>
                </c:pt>
                <c:pt idx="1858">
                  <c:v>2.1059999999999999</c:v>
                </c:pt>
                <c:pt idx="1859">
                  <c:v>1.7629999999999999</c:v>
                </c:pt>
                <c:pt idx="1860">
                  <c:v>1.8050000000000002</c:v>
                </c:pt>
                <c:pt idx="1861">
                  <c:v>1.135</c:v>
                </c:pt>
                <c:pt idx="1862">
                  <c:v>1.012</c:v>
                </c:pt>
                <c:pt idx="1863">
                  <c:v>0.94399999999999995</c:v>
                </c:pt>
                <c:pt idx="1864">
                  <c:v>0.94199999999999995</c:v>
                </c:pt>
                <c:pt idx="1865">
                  <c:v>1.0150000000000001</c:v>
                </c:pt>
                <c:pt idx="1866">
                  <c:v>1.7090000000000001</c:v>
                </c:pt>
                <c:pt idx="1867">
                  <c:v>1.6719999999999999</c:v>
                </c:pt>
                <c:pt idx="1868">
                  <c:v>1.1960000000000002</c:v>
                </c:pt>
                <c:pt idx="1869">
                  <c:v>0.94700000000000006</c:v>
                </c:pt>
                <c:pt idx="1870">
                  <c:v>1.2509999999999999</c:v>
                </c:pt>
                <c:pt idx="1871">
                  <c:v>1.012</c:v>
                </c:pt>
                <c:pt idx="1872">
                  <c:v>1.0589999999999999</c:v>
                </c:pt>
                <c:pt idx="1873">
                  <c:v>1.387</c:v>
                </c:pt>
                <c:pt idx="1874">
                  <c:v>1.0070000000000001</c:v>
                </c:pt>
                <c:pt idx="1875">
                  <c:v>1.6359999999999999</c:v>
                </c:pt>
                <c:pt idx="1876">
                  <c:v>2.206</c:v>
                </c:pt>
                <c:pt idx="1877">
                  <c:v>2.6079999999999997</c:v>
                </c:pt>
                <c:pt idx="1878">
                  <c:v>3.63</c:v>
                </c:pt>
                <c:pt idx="1879">
                  <c:v>4.0979999999999999</c:v>
                </c:pt>
                <c:pt idx="1880">
                  <c:v>4.2309999999999999</c:v>
                </c:pt>
                <c:pt idx="1881">
                  <c:v>3.9340000000000002</c:v>
                </c:pt>
                <c:pt idx="1882">
                  <c:v>3.8959999999999999</c:v>
                </c:pt>
                <c:pt idx="1883">
                  <c:v>3.694</c:v>
                </c:pt>
                <c:pt idx="1884">
                  <c:v>3.5</c:v>
                </c:pt>
                <c:pt idx="1885">
                  <c:v>3.274</c:v>
                </c:pt>
                <c:pt idx="1886">
                  <c:v>3.1160000000000001</c:v>
                </c:pt>
                <c:pt idx="1887">
                  <c:v>3.0819999999999999</c:v>
                </c:pt>
                <c:pt idx="1888">
                  <c:v>3.056</c:v>
                </c:pt>
                <c:pt idx="1889">
                  <c:v>3.2</c:v>
                </c:pt>
                <c:pt idx="1890">
                  <c:v>3.8380000000000001</c:v>
                </c:pt>
                <c:pt idx="1891">
                  <c:v>3.694</c:v>
                </c:pt>
                <c:pt idx="1892">
                  <c:v>3.242</c:v>
                </c:pt>
                <c:pt idx="1893">
                  <c:v>2.7600000000000002</c:v>
                </c:pt>
                <c:pt idx="1894">
                  <c:v>2.52</c:v>
                </c:pt>
                <c:pt idx="1895">
                  <c:v>1.075</c:v>
                </c:pt>
                <c:pt idx="1896">
                  <c:v>1.8760000000000001</c:v>
                </c:pt>
                <c:pt idx="1897">
                  <c:v>1.748</c:v>
                </c:pt>
                <c:pt idx="1898">
                  <c:v>1.5920000000000001</c:v>
                </c:pt>
                <c:pt idx="1899">
                  <c:v>1.802</c:v>
                </c:pt>
                <c:pt idx="1900">
                  <c:v>2.2600000000000002</c:v>
                </c:pt>
                <c:pt idx="1901">
                  <c:v>2.399</c:v>
                </c:pt>
                <c:pt idx="1902">
                  <c:v>3.101</c:v>
                </c:pt>
                <c:pt idx="1903">
                  <c:v>3.5960000000000001</c:v>
                </c:pt>
                <c:pt idx="1904">
                  <c:v>3.5310000000000001</c:v>
                </c:pt>
                <c:pt idx="1905">
                  <c:v>3.0840000000000001</c:v>
                </c:pt>
                <c:pt idx="1906">
                  <c:v>2.9969999999999999</c:v>
                </c:pt>
                <c:pt idx="1907">
                  <c:v>2.9690000000000003</c:v>
                </c:pt>
                <c:pt idx="1908">
                  <c:v>2.9079999999999999</c:v>
                </c:pt>
                <c:pt idx="1909">
                  <c:v>2.8860000000000001</c:v>
                </c:pt>
                <c:pt idx="1910">
                  <c:v>2.8940000000000001</c:v>
                </c:pt>
                <c:pt idx="1911">
                  <c:v>2.9370000000000003</c:v>
                </c:pt>
                <c:pt idx="1912">
                  <c:v>3.0100000000000002</c:v>
                </c:pt>
                <c:pt idx="1913">
                  <c:v>3.665</c:v>
                </c:pt>
                <c:pt idx="1914">
                  <c:v>4.298</c:v>
                </c:pt>
                <c:pt idx="1915">
                  <c:v>4.7249999999999996</c:v>
                </c:pt>
                <c:pt idx="1916">
                  <c:v>4.1770000000000005</c:v>
                </c:pt>
                <c:pt idx="1917">
                  <c:v>3.7749999999999999</c:v>
                </c:pt>
                <c:pt idx="1918">
                  <c:v>3.4990000000000001</c:v>
                </c:pt>
                <c:pt idx="1919">
                  <c:v>3.3959999999999999</c:v>
                </c:pt>
                <c:pt idx="1920">
                  <c:v>3.0449999999999999</c:v>
                </c:pt>
                <c:pt idx="1921">
                  <c:v>2.9980000000000002</c:v>
                </c:pt>
                <c:pt idx="1922">
                  <c:v>2.92</c:v>
                </c:pt>
                <c:pt idx="1923">
                  <c:v>2.9050000000000002</c:v>
                </c:pt>
                <c:pt idx="1924">
                  <c:v>2.9050000000000002</c:v>
                </c:pt>
                <c:pt idx="1925">
                  <c:v>3.0409999999999999</c:v>
                </c:pt>
                <c:pt idx="1926">
                  <c:v>3.5189999999999997</c:v>
                </c:pt>
                <c:pt idx="1927">
                  <c:v>4.0190000000000001</c:v>
                </c:pt>
                <c:pt idx="1928">
                  <c:v>4.3020000000000005</c:v>
                </c:pt>
                <c:pt idx="1929">
                  <c:v>4.1740000000000004</c:v>
                </c:pt>
                <c:pt idx="1930">
                  <c:v>3.754</c:v>
                </c:pt>
                <c:pt idx="1931">
                  <c:v>3.6689999999999996</c:v>
                </c:pt>
                <c:pt idx="1932">
                  <c:v>3.625</c:v>
                </c:pt>
                <c:pt idx="1933">
                  <c:v>3.5950000000000002</c:v>
                </c:pt>
                <c:pt idx="1934">
                  <c:v>3.5020000000000002</c:v>
                </c:pt>
                <c:pt idx="1935">
                  <c:v>3.6350000000000002</c:v>
                </c:pt>
                <c:pt idx="1936">
                  <c:v>3.69</c:v>
                </c:pt>
                <c:pt idx="1937">
                  <c:v>3.96</c:v>
                </c:pt>
                <c:pt idx="1938">
                  <c:v>4.24</c:v>
                </c:pt>
                <c:pt idx="1939">
                  <c:v>4.5</c:v>
                </c:pt>
                <c:pt idx="1940">
                  <c:v>3.8979999999999997</c:v>
                </c:pt>
                <c:pt idx="1941">
                  <c:v>3.218</c:v>
                </c:pt>
                <c:pt idx="1942">
                  <c:v>3.165</c:v>
                </c:pt>
                <c:pt idx="1943">
                  <c:v>2.9170000000000003</c:v>
                </c:pt>
                <c:pt idx="1944">
                  <c:v>2.9449999999999998</c:v>
                </c:pt>
                <c:pt idx="1945">
                  <c:v>2.91</c:v>
                </c:pt>
                <c:pt idx="1946">
                  <c:v>2.891</c:v>
                </c:pt>
                <c:pt idx="1947">
                  <c:v>2.8649999999999998</c:v>
                </c:pt>
                <c:pt idx="1948">
                  <c:v>2.8530000000000002</c:v>
                </c:pt>
                <c:pt idx="1949">
                  <c:v>3.0720000000000001</c:v>
                </c:pt>
                <c:pt idx="1950">
                  <c:v>3.2380000000000004</c:v>
                </c:pt>
                <c:pt idx="1951">
                  <c:v>3.9609999999999999</c:v>
                </c:pt>
                <c:pt idx="1952">
                  <c:v>4.05</c:v>
                </c:pt>
                <c:pt idx="1953">
                  <c:v>3.8909999999999996</c:v>
                </c:pt>
                <c:pt idx="1954">
                  <c:v>3.71</c:v>
                </c:pt>
                <c:pt idx="1955">
                  <c:v>3.6439999999999997</c:v>
                </c:pt>
                <c:pt idx="1956">
                  <c:v>3.1539999999999999</c:v>
                </c:pt>
                <c:pt idx="1957">
                  <c:v>3.2030000000000003</c:v>
                </c:pt>
                <c:pt idx="1958">
                  <c:v>3.2049999999999996</c:v>
                </c:pt>
                <c:pt idx="1959">
                  <c:v>3.2719999999999998</c:v>
                </c:pt>
                <c:pt idx="1960">
                  <c:v>3.3240000000000003</c:v>
                </c:pt>
                <c:pt idx="1961">
                  <c:v>3.7920000000000003</c:v>
                </c:pt>
                <c:pt idx="1962">
                  <c:v>4</c:v>
                </c:pt>
                <c:pt idx="1963">
                  <c:v>4.2770000000000001</c:v>
                </c:pt>
                <c:pt idx="1964">
                  <c:v>3.8899999999999997</c:v>
                </c:pt>
                <c:pt idx="1965">
                  <c:v>3.4969999999999999</c:v>
                </c:pt>
                <c:pt idx="1966">
                  <c:v>3.2890000000000001</c:v>
                </c:pt>
                <c:pt idx="1967">
                  <c:v>3.0629999999999997</c:v>
                </c:pt>
                <c:pt idx="1968">
                  <c:v>2.9039999999999999</c:v>
                </c:pt>
                <c:pt idx="1969">
                  <c:v>2.899</c:v>
                </c:pt>
                <c:pt idx="1970">
                  <c:v>2.9210000000000003</c:v>
                </c:pt>
                <c:pt idx="1971">
                  <c:v>2.887</c:v>
                </c:pt>
                <c:pt idx="1972">
                  <c:v>2.9</c:v>
                </c:pt>
                <c:pt idx="1973">
                  <c:v>3.0140000000000002</c:v>
                </c:pt>
                <c:pt idx="1974">
                  <c:v>3.7909999999999995</c:v>
                </c:pt>
                <c:pt idx="1975">
                  <c:v>4.1689999999999996</c:v>
                </c:pt>
                <c:pt idx="1976">
                  <c:v>4.3789999999999996</c:v>
                </c:pt>
                <c:pt idx="1977">
                  <c:v>4.109</c:v>
                </c:pt>
                <c:pt idx="1978">
                  <c:v>3.5710000000000002</c:v>
                </c:pt>
                <c:pt idx="1979">
                  <c:v>3.3069999999999999</c:v>
                </c:pt>
                <c:pt idx="1980">
                  <c:v>3.2090000000000005</c:v>
                </c:pt>
                <c:pt idx="1981">
                  <c:v>3.0289999999999999</c:v>
                </c:pt>
                <c:pt idx="1982">
                  <c:v>2.9899999999999998</c:v>
                </c:pt>
                <c:pt idx="1983">
                  <c:v>3.0070000000000001</c:v>
                </c:pt>
                <c:pt idx="1984">
                  <c:v>3.12</c:v>
                </c:pt>
                <c:pt idx="1985">
                  <c:v>3.6630000000000003</c:v>
                </c:pt>
                <c:pt idx="1986">
                  <c:v>4.0590000000000002</c:v>
                </c:pt>
                <c:pt idx="1987">
                  <c:v>4.2960000000000003</c:v>
                </c:pt>
                <c:pt idx="1988">
                  <c:v>3.8920000000000003</c:v>
                </c:pt>
                <c:pt idx="1989">
                  <c:v>3.4850000000000003</c:v>
                </c:pt>
                <c:pt idx="1990">
                  <c:v>3.4369999999999998</c:v>
                </c:pt>
                <c:pt idx="1991">
                  <c:v>3.2479999999999998</c:v>
                </c:pt>
                <c:pt idx="1992">
                  <c:v>3.2640000000000002</c:v>
                </c:pt>
                <c:pt idx="1993">
                  <c:v>2.9140000000000001</c:v>
                </c:pt>
                <c:pt idx="1994">
                  <c:v>2.8319999999999999</c:v>
                </c:pt>
                <c:pt idx="1995">
                  <c:v>2.7130000000000001</c:v>
                </c:pt>
                <c:pt idx="1996">
                  <c:v>2.702</c:v>
                </c:pt>
                <c:pt idx="1997">
                  <c:v>2.7559999999999998</c:v>
                </c:pt>
                <c:pt idx="1998">
                  <c:v>2.855</c:v>
                </c:pt>
                <c:pt idx="1999">
                  <c:v>2.992</c:v>
                </c:pt>
                <c:pt idx="2000">
                  <c:v>3.0209999999999999</c:v>
                </c:pt>
                <c:pt idx="2001">
                  <c:v>2.9</c:v>
                </c:pt>
                <c:pt idx="2002">
                  <c:v>2.819</c:v>
                </c:pt>
                <c:pt idx="2003">
                  <c:v>2.5390000000000001</c:v>
                </c:pt>
                <c:pt idx="2004">
                  <c:v>2.2909999999999999</c:v>
                </c:pt>
                <c:pt idx="2005">
                  <c:v>2.109</c:v>
                </c:pt>
                <c:pt idx="2006">
                  <c:v>1.597</c:v>
                </c:pt>
                <c:pt idx="2007">
                  <c:v>2.0070000000000001</c:v>
                </c:pt>
                <c:pt idx="2008">
                  <c:v>2.347</c:v>
                </c:pt>
                <c:pt idx="2009">
                  <c:v>2.8039999999999998</c:v>
                </c:pt>
                <c:pt idx="2010">
                  <c:v>3.3850000000000002</c:v>
                </c:pt>
                <c:pt idx="2011">
                  <c:v>3.9170000000000003</c:v>
                </c:pt>
                <c:pt idx="2012">
                  <c:v>3.7600000000000002</c:v>
                </c:pt>
                <c:pt idx="2013">
                  <c:v>3.3310000000000004</c:v>
                </c:pt>
                <c:pt idx="2014">
                  <c:v>3.2939999999999996</c:v>
                </c:pt>
                <c:pt idx="2015">
                  <c:v>2.9</c:v>
                </c:pt>
                <c:pt idx="2016">
                  <c:v>2.8739999999999997</c:v>
                </c:pt>
                <c:pt idx="2017">
                  <c:v>2.794</c:v>
                </c:pt>
                <c:pt idx="2018">
                  <c:v>2.6970000000000001</c:v>
                </c:pt>
                <c:pt idx="2019">
                  <c:v>2.6619999999999999</c:v>
                </c:pt>
                <c:pt idx="2020">
                  <c:v>2.4649999999999999</c:v>
                </c:pt>
                <c:pt idx="2021">
                  <c:v>2.6870000000000003</c:v>
                </c:pt>
                <c:pt idx="2022">
                  <c:v>2.7670000000000003</c:v>
                </c:pt>
                <c:pt idx="2023">
                  <c:v>2.8239999999999998</c:v>
                </c:pt>
                <c:pt idx="2024">
                  <c:v>2.8579999999999997</c:v>
                </c:pt>
                <c:pt idx="2025">
                  <c:v>2.6059999999999999</c:v>
                </c:pt>
                <c:pt idx="2026">
                  <c:v>2.4929999999999999</c:v>
                </c:pt>
                <c:pt idx="2027">
                  <c:v>2.5819999999999999</c:v>
                </c:pt>
                <c:pt idx="2028">
                  <c:v>2.206</c:v>
                </c:pt>
                <c:pt idx="2029">
                  <c:v>1.8460000000000001</c:v>
                </c:pt>
                <c:pt idx="2030">
                  <c:v>1.6969999999999998</c:v>
                </c:pt>
                <c:pt idx="2031">
                  <c:v>1.7649999999999999</c:v>
                </c:pt>
                <c:pt idx="2032">
                  <c:v>2.222</c:v>
                </c:pt>
                <c:pt idx="2033">
                  <c:v>3.0309999999999997</c:v>
                </c:pt>
                <c:pt idx="2034">
                  <c:v>3.5819999999999999</c:v>
                </c:pt>
                <c:pt idx="2035">
                  <c:v>4.0069999999999997</c:v>
                </c:pt>
                <c:pt idx="2036">
                  <c:v>3.964</c:v>
                </c:pt>
                <c:pt idx="2037">
                  <c:v>3.879</c:v>
                </c:pt>
                <c:pt idx="2038">
                  <c:v>3.806</c:v>
                </c:pt>
                <c:pt idx="2039">
                  <c:v>2.8250000000000002</c:v>
                </c:pt>
                <c:pt idx="2040">
                  <c:v>2.827</c:v>
                </c:pt>
                <c:pt idx="2041">
                  <c:v>2.83</c:v>
                </c:pt>
                <c:pt idx="2042">
                  <c:v>2.6879999999999997</c:v>
                </c:pt>
                <c:pt idx="2043">
                  <c:v>2.706</c:v>
                </c:pt>
                <c:pt idx="2044">
                  <c:v>3.0100000000000002</c:v>
                </c:pt>
                <c:pt idx="2045">
                  <c:v>3.931</c:v>
                </c:pt>
                <c:pt idx="2046">
                  <c:v>4.8</c:v>
                </c:pt>
                <c:pt idx="2047">
                  <c:v>4.8159999999999998</c:v>
                </c:pt>
                <c:pt idx="2048">
                  <c:v>4.0909999999999993</c:v>
                </c:pt>
                <c:pt idx="2049">
                  <c:v>3.6560000000000001</c:v>
                </c:pt>
                <c:pt idx="2050">
                  <c:v>3.3240000000000003</c:v>
                </c:pt>
                <c:pt idx="2051">
                  <c:v>3.048</c:v>
                </c:pt>
                <c:pt idx="2052">
                  <c:v>2.9670000000000001</c:v>
                </c:pt>
                <c:pt idx="2053">
                  <c:v>2.911</c:v>
                </c:pt>
                <c:pt idx="2054">
                  <c:v>2.8920000000000003</c:v>
                </c:pt>
                <c:pt idx="2055">
                  <c:v>2.9899999999999998</c:v>
                </c:pt>
                <c:pt idx="2056">
                  <c:v>3.2350000000000003</c:v>
                </c:pt>
                <c:pt idx="2057">
                  <c:v>4</c:v>
                </c:pt>
                <c:pt idx="2058">
                  <c:v>4.6989999999999998</c:v>
                </c:pt>
                <c:pt idx="2059">
                  <c:v>4.6270000000000007</c:v>
                </c:pt>
                <c:pt idx="2060">
                  <c:v>3.9979999999999998</c:v>
                </c:pt>
                <c:pt idx="2061">
                  <c:v>3.7939999999999996</c:v>
                </c:pt>
                <c:pt idx="2062">
                  <c:v>3.2399999999999998</c:v>
                </c:pt>
                <c:pt idx="2063">
                  <c:v>2.871</c:v>
                </c:pt>
                <c:pt idx="2064">
                  <c:v>2.8069999999999999</c:v>
                </c:pt>
                <c:pt idx="2065">
                  <c:v>2.7429999999999999</c:v>
                </c:pt>
                <c:pt idx="2066">
                  <c:v>2.7239999999999998</c:v>
                </c:pt>
                <c:pt idx="2067">
                  <c:v>2.7719999999999998</c:v>
                </c:pt>
                <c:pt idx="2068">
                  <c:v>2.9059999999999997</c:v>
                </c:pt>
                <c:pt idx="2069">
                  <c:v>3.8909999999999996</c:v>
                </c:pt>
                <c:pt idx="2070">
                  <c:v>4.6130000000000004</c:v>
                </c:pt>
                <c:pt idx="2071">
                  <c:v>5</c:v>
                </c:pt>
                <c:pt idx="2072">
                  <c:v>4.3029999999999999</c:v>
                </c:pt>
                <c:pt idx="2073">
                  <c:v>3.9939999999999998</c:v>
                </c:pt>
                <c:pt idx="2074">
                  <c:v>3.7399999999999998</c:v>
                </c:pt>
                <c:pt idx="2075">
                  <c:v>3.2290000000000001</c:v>
                </c:pt>
                <c:pt idx="2076">
                  <c:v>3.0710000000000002</c:v>
                </c:pt>
                <c:pt idx="2077">
                  <c:v>2.9980000000000002</c:v>
                </c:pt>
                <c:pt idx="2078">
                  <c:v>3</c:v>
                </c:pt>
                <c:pt idx="2079">
                  <c:v>3.0049999999999999</c:v>
                </c:pt>
                <c:pt idx="2080">
                  <c:v>3.2159999999999997</c:v>
                </c:pt>
                <c:pt idx="2081">
                  <c:v>3.746</c:v>
                </c:pt>
                <c:pt idx="2082">
                  <c:v>4.141</c:v>
                </c:pt>
                <c:pt idx="2083">
                  <c:v>4.101</c:v>
                </c:pt>
                <c:pt idx="2084">
                  <c:v>3.6399999999999997</c:v>
                </c:pt>
                <c:pt idx="2085">
                  <c:v>3.3560000000000003</c:v>
                </c:pt>
                <c:pt idx="2086">
                  <c:v>2.8899999999999997</c:v>
                </c:pt>
                <c:pt idx="2087">
                  <c:v>2.806</c:v>
                </c:pt>
                <c:pt idx="2088">
                  <c:v>2.6710000000000003</c:v>
                </c:pt>
                <c:pt idx="2089">
                  <c:v>2.6680000000000001</c:v>
                </c:pt>
                <c:pt idx="2090">
                  <c:v>2.6070000000000002</c:v>
                </c:pt>
                <c:pt idx="2091">
                  <c:v>2.609</c:v>
                </c:pt>
                <c:pt idx="2092">
                  <c:v>2.6949999999999998</c:v>
                </c:pt>
                <c:pt idx="2093">
                  <c:v>3.4159999999999995</c:v>
                </c:pt>
                <c:pt idx="2094">
                  <c:v>3.9560000000000004</c:v>
                </c:pt>
                <c:pt idx="2095">
                  <c:v>3.9780000000000002</c:v>
                </c:pt>
                <c:pt idx="2096">
                  <c:v>3.0880000000000001</c:v>
                </c:pt>
                <c:pt idx="2097">
                  <c:v>2.766</c:v>
                </c:pt>
                <c:pt idx="2098">
                  <c:v>2.6550000000000002</c:v>
                </c:pt>
                <c:pt idx="2099">
                  <c:v>2.7250000000000001</c:v>
                </c:pt>
                <c:pt idx="2100">
                  <c:v>2.605</c:v>
                </c:pt>
                <c:pt idx="2101">
                  <c:v>2.609</c:v>
                </c:pt>
                <c:pt idx="2102">
                  <c:v>2.8050000000000002</c:v>
                </c:pt>
                <c:pt idx="2103">
                  <c:v>3.0649999999999999</c:v>
                </c:pt>
                <c:pt idx="2104">
                  <c:v>3.1230000000000002</c:v>
                </c:pt>
                <c:pt idx="2105">
                  <c:v>3.5189999999999997</c:v>
                </c:pt>
                <c:pt idx="2106">
                  <c:v>4.0469999999999997</c:v>
                </c:pt>
                <c:pt idx="2107">
                  <c:v>4.181</c:v>
                </c:pt>
                <c:pt idx="2108">
                  <c:v>3.7659999999999996</c:v>
                </c:pt>
                <c:pt idx="2109">
                  <c:v>3.5070000000000001</c:v>
                </c:pt>
                <c:pt idx="2110">
                  <c:v>3.0720000000000001</c:v>
                </c:pt>
                <c:pt idx="2111">
                  <c:v>2.8730000000000002</c:v>
                </c:pt>
                <c:pt idx="2112">
                  <c:v>2.802</c:v>
                </c:pt>
                <c:pt idx="2113">
                  <c:v>2.73</c:v>
                </c:pt>
                <c:pt idx="2114">
                  <c:v>2.6379999999999999</c:v>
                </c:pt>
                <c:pt idx="2115">
                  <c:v>2.6779999999999999</c:v>
                </c:pt>
                <c:pt idx="2116">
                  <c:v>2.8530000000000002</c:v>
                </c:pt>
                <c:pt idx="2117">
                  <c:v>3.6</c:v>
                </c:pt>
                <c:pt idx="2118">
                  <c:v>4.306</c:v>
                </c:pt>
                <c:pt idx="2119">
                  <c:v>4.601</c:v>
                </c:pt>
                <c:pt idx="2120">
                  <c:v>4.2859999999999996</c:v>
                </c:pt>
                <c:pt idx="2121">
                  <c:v>3.9929999999999999</c:v>
                </c:pt>
                <c:pt idx="2122">
                  <c:v>3.8420000000000001</c:v>
                </c:pt>
                <c:pt idx="2123">
                  <c:v>3.3009999999999997</c:v>
                </c:pt>
                <c:pt idx="2124">
                  <c:v>3.0979999999999999</c:v>
                </c:pt>
                <c:pt idx="2125">
                  <c:v>2.9579999999999997</c:v>
                </c:pt>
                <c:pt idx="2126">
                  <c:v>2.907</c:v>
                </c:pt>
                <c:pt idx="2127">
                  <c:v>2.8929999999999998</c:v>
                </c:pt>
                <c:pt idx="2128">
                  <c:v>3.0430000000000001</c:v>
                </c:pt>
                <c:pt idx="2129">
                  <c:v>3.593</c:v>
                </c:pt>
                <c:pt idx="2130">
                  <c:v>4.0460000000000003</c:v>
                </c:pt>
                <c:pt idx="2131">
                  <c:v>4.0069999999999997</c:v>
                </c:pt>
                <c:pt idx="2132">
                  <c:v>3.5</c:v>
                </c:pt>
                <c:pt idx="2133">
                  <c:v>3.2469999999999999</c:v>
                </c:pt>
                <c:pt idx="2134">
                  <c:v>2.8940000000000001</c:v>
                </c:pt>
                <c:pt idx="2135">
                  <c:v>2.6909999999999998</c:v>
                </c:pt>
                <c:pt idx="2136">
                  <c:v>2.4769999999999999</c:v>
                </c:pt>
                <c:pt idx="2137">
                  <c:v>2.4449999999999998</c:v>
                </c:pt>
                <c:pt idx="2138">
                  <c:v>2.3050000000000002</c:v>
                </c:pt>
                <c:pt idx="2139">
                  <c:v>2.3449999999999998</c:v>
                </c:pt>
                <c:pt idx="2140">
                  <c:v>2.7239999999999998</c:v>
                </c:pt>
                <c:pt idx="2141">
                  <c:v>3.3090000000000002</c:v>
                </c:pt>
                <c:pt idx="2142">
                  <c:v>3.7950000000000004</c:v>
                </c:pt>
                <c:pt idx="2143">
                  <c:v>3.899</c:v>
                </c:pt>
                <c:pt idx="2144">
                  <c:v>3.7969999999999997</c:v>
                </c:pt>
                <c:pt idx="2145">
                  <c:v>3.593</c:v>
                </c:pt>
                <c:pt idx="2146">
                  <c:v>3.3319999999999999</c:v>
                </c:pt>
                <c:pt idx="2147">
                  <c:v>3.0019999999999998</c:v>
                </c:pt>
                <c:pt idx="2148">
                  <c:v>2.8090000000000002</c:v>
                </c:pt>
                <c:pt idx="2149">
                  <c:v>2.7629999999999999</c:v>
                </c:pt>
                <c:pt idx="2150">
                  <c:v>2.8289999999999997</c:v>
                </c:pt>
                <c:pt idx="2151">
                  <c:v>2.8359999999999999</c:v>
                </c:pt>
                <c:pt idx="2152">
                  <c:v>3.0430000000000001</c:v>
                </c:pt>
                <c:pt idx="2153">
                  <c:v>3.4670000000000001</c:v>
                </c:pt>
                <c:pt idx="2154">
                  <c:v>3.8979999999999997</c:v>
                </c:pt>
                <c:pt idx="2155">
                  <c:v>3.996</c:v>
                </c:pt>
                <c:pt idx="2156">
                  <c:v>3.7909999999999995</c:v>
                </c:pt>
                <c:pt idx="2157">
                  <c:v>3.5950000000000002</c:v>
                </c:pt>
                <c:pt idx="2158">
                  <c:v>3.2020000000000004</c:v>
                </c:pt>
                <c:pt idx="2159">
                  <c:v>2.7079999999999997</c:v>
                </c:pt>
                <c:pt idx="2160">
                  <c:v>2.8069999999999999</c:v>
                </c:pt>
                <c:pt idx="2161">
                  <c:v>2.8079999999999998</c:v>
                </c:pt>
                <c:pt idx="2162">
                  <c:v>2.69</c:v>
                </c:pt>
                <c:pt idx="2163">
                  <c:v>2.7</c:v>
                </c:pt>
                <c:pt idx="2164">
                  <c:v>2.798</c:v>
                </c:pt>
                <c:pt idx="2165">
                  <c:v>2.9870000000000001</c:v>
                </c:pt>
                <c:pt idx="2166">
                  <c:v>3.2090000000000005</c:v>
                </c:pt>
                <c:pt idx="2167">
                  <c:v>3.4420000000000002</c:v>
                </c:pt>
                <c:pt idx="2168">
                  <c:v>3.5100000000000002</c:v>
                </c:pt>
                <c:pt idx="2169">
                  <c:v>2.8899999999999997</c:v>
                </c:pt>
                <c:pt idx="2170">
                  <c:v>2.7090000000000001</c:v>
                </c:pt>
                <c:pt idx="2171">
                  <c:v>2.5989999999999998</c:v>
                </c:pt>
                <c:pt idx="2172">
                  <c:v>2.6070000000000002</c:v>
                </c:pt>
                <c:pt idx="2173">
                  <c:v>2.5289999999999999</c:v>
                </c:pt>
                <c:pt idx="2174">
                  <c:v>2.4809999999999999</c:v>
                </c:pt>
                <c:pt idx="2175">
                  <c:v>2.5649999999999999</c:v>
                </c:pt>
                <c:pt idx="2176">
                  <c:v>2.7989999999999999</c:v>
                </c:pt>
                <c:pt idx="2177">
                  <c:v>3.3659999999999997</c:v>
                </c:pt>
                <c:pt idx="2178">
                  <c:v>3.87</c:v>
                </c:pt>
                <c:pt idx="2179">
                  <c:v>3.96</c:v>
                </c:pt>
                <c:pt idx="2180">
                  <c:v>3.8979999999999997</c:v>
                </c:pt>
                <c:pt idx="2181">
                  <c:v>3.7960000000000003</c:v>
                </c:pt>
                <c:pt idx="2182">
                  <c:v>3.1859999999999999</c:v>
                </c:pt>
                <c:pt idx="2183">
                  <c:v>3.2920000000000003</c:v>
                </c:pt>
                <c:pt idx="2184">
                  <c:v>2.75</c:v>
                </c:pt>
                <c:pt idx="2185">
                  <c:v>2.677</c:v>
                </c:pt>
                <c:pt idx="2186">
                  <c:v>2.6670000000000003</c:v>
                </c:pt>
                <c:pt idx="2187">
                  <c:v>2.649</c:v>
                </c:pt>
                <c:pt idx="2188">
                  <c:v>2.6420000000000003</c:v>
                </c:pt>
                <c:pt idx="2189">
                  <c:v>2.665</c:v>
                </c:pt>
                <c:pt idx="2190">
                  <c:v>2.714</c:v>
                </c:pt>
                <c:pt idx="2191">
                  <c:v>2.9059999999999997</c:v>
                </c:pt>
                <c:pt idx="2192">
                  <c:v>2.956</c:v>
                </c:pt>
                <c:pt idx="2193">
                  <c:v>2.8540000000000001</c:v>
                </c:pt>
                <c:pt idx="2194">
                  <c:v>2.82</c:v>
                </c:pt>
                <c:pt idx="2195">
                  <c:v>2.722</c:v>
                </c:pt>
                <c:pt idx="2196">
                  <c:v>2.6019999999999999</c:v>
                </c:pt>
                <c:pt idx="2197">
                  <c:v>2.105</c:v>
                </c:pt>
                <c:pt idx="2198">
                  <c:v>2.0569999999999999</c:v>
                </c:pt>
                <c:pt idx="2199">
                  <c:v>2.331</c:v>
                </c:pt>
                <c:pt idx="2200">
                  <c:v>2.6</c:v>
                </c:pt>
                <c:pt idx="2201">
                  <c:v>2.96</c:v>
                </c:pt>
                <c:pt idx="2202">
                  <c:v>3.91</c:v>
                </c:pt>
                <c:pt idx="2203">
                  <c:v>4.2219999999999995</c:v>
                </c:pt>
                <c:pt idx="2204">
                  <c:v>3.992</c:v>
                </c:pt>
                <c:pt idx="2205">
                  <c:v>4.0510000000000002</c:v>
                </c:pt>
                <c:pt idx="2206">
                  <c:v>3.778</c:v>
                </c:pt>
                <c:pt idx="2207">
                  <c:v>3.4380000000000002</c:v>
                </c:pt>
                <c:pt idx="2208">
                  <c:v>3.1949999999999998</c:v>
                </c:pt>
                <c:pt idx="2209">
                  <c:v>2.988</c:v>
                </c:pt>
                <c:pt idx="2210">
                  <c:v>2.875</c:v>
                </c:pt>
                <c:pt idx="2211">
                  <c:v>2.8440000000000003</c:v>
                </c:pt>
                <c:pt idx="2212">
                  <c:v>3.1640000000000001</c:v>
                </c:pt>
                <c:pt idx="2213">
                  <c:v>4.1770000000000005</c:v>
                </c:pt>
                <c:pt idx="2214">
                  <c:v>4.9279999999999999</c:v>
                </c:pt>
                <c:pt idx="2215">
                  <c:v>5.4020000000000001</c:v>
                </c:pt>
                <c:pt idx="2216">
                  <c:v>5</c:v>
                </c:pt>
                <c:pt idx="2217">
                  <c:v>4.843</c:v>
                </c:pt>
                <c:pt idx="2218">
                  <c:v>4.4950000000000001</c:v>
                </c:pt>
                <c:pt idx="2219">
                  <c:v>3.8929999999999998</c:v>
                </c:pt>
                <c:pt idx="2220">
                  <c:v>3.6680000000000001</c:v>
                </c:pt>
                <c:pt idx="2221">
                  <c:v>3.2939999999999996</c:v>
                </c:pt>
                <c:pt idx="2222">
                  <c:v>3.0910000000000002</c:v>
                </c:pt>
                <c:pt idx="2223">
                  <c:v>3.1719999999999997</c:v>
                </c:pt>
                <c:pt idx="2224">
                  <c:v>3.2189999999999999</c:v>
                </c:pt>
                <c:pt idx="2225">
                  <c:v>3.746</c:v>
                </c:pt>
                <c:pt idx="2226">
                  <c:v>4.1779999999999999</c:v>
                </c:pt>
                <c:pt idx="2227">
                  <c:v>4.359</c:v>
                </c:pt>
                <c:pt idx="2228">
                  <c:v>3.8969999999999998</c:v>
                </c:pt>
                <c:pt idx="2229">
                  <c:v>3.5179999999999998</c:v>
                </c:pt>
                <c:pt idx="2230">
                  <c:v>3.1079999999999997</c:v>
                </c:pt>
                <c:pt idx="2231">
                  <c:v>3.157</c:v>
                </c:pt>
                <c:pt idx="2232">
                  <c:v>3.0129999999999999</c:v>
                </c:pt>
                <c:pt idx="2233">
                  <c:v>2.9289999999999998</c:v>
                </c:pt>
                <c:pt idx="2234">
                  <c:v>2.9470000000000001</c:v>
                </c:pt>
                <c:pt idx="2235">
                  <c:v>2.98</c:v>
                </c:pt>
                <c:pt idx="2236">
                  <c:v>3.1829999999999998</c:v>
                </c:pt>
                <c:pt idx="2237">
                  <c:v>4.117</c:v>
                </c:pt>
                <c:pt idx="2238">
                  <c:v>5.101</c:v>
                </c:pt>
                <c:pt idx="2239">
                  <c:v>5.2389999999999999</c:v>
                </c:pt>
                <c:pt idx="2240">
                  <c:v>5.0939999999999994</c:v>
                </c:pt>
                <c:pt idx="2241">
                  <c:v>4.33</c:v>
                </c:pt>
                <c:pt idx="2242">
                  <c:v>4.2329999999999997</c:v>
                </c:pt>
                <c:pt idx="2243">
                  <c:v>3.9159999999999995</c:v>
                </c:pt>
                <c:pt idx="2244">
                  <c:v>3.7719999999999998</c:v>
                </c:pt>
                <c:pt idx="2245">
                  <c:v>3.46</c:v>
                </c:pt>
                <c:pt idx="2246">
                  <c:v>3.4450000000000003</c:v>
                </c:pt>
                <c:pt idx="2247">
                  <c:v>3.4450000000000003</c:v>
                </c:pt>
                <c:pt idx="2248">
                  <c:v>3.7490000000000001</c:v>
                </c:pt>
                <c:pt idx="2249">
                  <c:v>4.1590000000000007</c:v>
                </c:pt>
                <c:pt idx="2250">
                  <c:v>4.5259999999999998</c:v>
                </c:pt>
                <c:pt idx="2251">
                  <c:v>4.7569999999999997</c:v>
                </c:pt>
                <c:pt idx="2252">
                  <c:v>4.0069999999999997</c:v>
                </c:pt>
                <c:pt idx="2253">
                  <c:v>3.8909999999999996</c:v>
                </c:pt>
                <c:pt idx="2254">
                  <c:v>3.3039999999999998</c:v>
                </c:pt>
                <c:pt idx="2255">
                  <c:v>3</c:v>
                </c:pt>
                <c:pt idx="2256">
                  <c:v>2.964</c:v>
                </c:pt>
                <c:pt idx="2257">
                  <c:v>2.839</c:v>
                </c:pt>
                <c:pt idx="2258">
                  <c:v>2.794</c:v>
                </c:pt>
                <c:pt idx="2259">
                  <c:v>2.7489999999999997</c:v>
                </c:pt>
                <c:pt idx="2260">
                  <c:v>2.9649999999999999</c:v>
                </c:pt>
                <c:pt idx="2261">
                  <c:v>3.71</c:v>
                </c:pt>
                <c:pt idx="2262">
                  <c:v>4.42</c:v>
                </c:pt>
                <c:pt idx="2263">
                  <c:v>4.8100000000000005</c:v>
                </c:pt>
                <c:pt idx="2264">
                  <c:v>4.4030000000000005</c:v>
                </c:pt>
                <c:pt idx="2265">
                  <c:v>3.9020000000000001</c:v>
                </c:pt>
                <c:pt idx="2266">
                  <c:v>3.6979999999999995</c:v>
                </c:pt>
                <c:pt idx="2267">
                  <c:v>3.403</c:v>
                </c:pt>
                <c:pt idx="2268">
                  <c:v>3.2890000000000001</c:v>
                </c:pt>
                <c:pt idx="2269">
                  <c:v>3.0059999999999998</c:v>
                </c:pt>
                <c:pt idx="2270">
                  <c:v>2.9530000000000003</c:v>
                </c:pt>
                <c:pt idx="2271">
                  <c:v>3.0010000000000003</c:v>
                </c:pt>
                <c:pt idx="2272">
                  <c:v>3.0059999999999998</c:v>
                </c:pt>
                <c:pt idx="2273">
                  <c:v>2.9899999999999998</c:v>
                </c:pt>
                <c:pt idx="2274">
                  <c:v>3.2689999999999997</c:v>
                </c:pt>
                <c:pt idx="2275">
                  <c:v>3.5</c:v>
                </c:pt>
                <c:pt idx="2276">
                  <c:v>2.9929999999999999</c:v>
                </c:pt>
                <c:pt idx="2277">
                  <c:v>2.7869999999999999</c:v>
                </c:pt>
                <c:pt idx="2278">
                  <c:v>2</c:v>
                </c:pt>
                <c:pt idx="2279">
                  <c:v>1.248</c:v>
                </c:pt>
                <c:pt idx="2280">
                  <c:v>0.98699999999999988</c:v>
                </c:pt>
                <c:pt idx="2281">
                  <c:v>0.90399999999999991</c:v>
                </c:pt>
                <c:pt idx="2282">
                  <c:v>1.49</c:v>
                </c:pt>
                <c:pt idx="2283">
                  <c:v>2.2000000000000002</c:v>
                </c:pt>
                <c:pt idx="2284">
                  <c:v>2.4550000000000001</c:v>
                </c:pt>
                <c:pt idx="2285">
                  <c:v>3.5960000000000001</c:v>
                </c:pt>
                <c:pt idx="2286">
                  <c:v>4.0969999999999995</c:v>
                </c:pt>
                <c:pt idx="2287">
                  <c:v>4.0810000000000004</c:v>
                </c:pt>
                <c:pt idx="2288">
                  <c:v>3.8259999999999996</c:v>
                </c:pt>
                <c:pt idx="2289">
                  <c:v>3.7590000000000003</c:v>
                </c:pt>
                <c:pt idx="2290">
                  <c:v>3.5460000000000003</c:v>
                </c:pt>
                <c:pt idx="2291">
                  <c:v>3.1070000000000002</c:v>
                </c:pt>
                <c:pt idx="2292">
                  <c:v>3.008</c:v>
                </c:pt>
                <c:pt idx="2293">
                  <c:v>2.8329999999999997</c:v>
                </c:pt>
                <c:pt idx="2294">
                  <c:v>2.819</c:v>
                </c:pt>
                <c:pt idx="2295">
                  <c:v>2.8079999999999998</c:v>
                </c:pt>
                <c:pt idx="2296">
                  <c:v>3.2119999999999997</c:v>
                </c:pt>
                <c:pt idx="2297">
                  <c:v>3.8049999999999997</c:v>
                </c:pt>
                <c:pt idx="2298">
                  <c:v>4.0979999999999999</c:v>
                </c:pt>
                <c:pt idx="2299">
                  <c:v>4.0869999999999997</c:v>
                </c:pt>
                <c:pt idx="2300">
                  <c:v>3.8039999999999998</c:v>
                </c:pt>
                <c:pt idx="2301">
                  <c:v>3.4270000000000005</c:v>
                </c:pt>
                <c:pt idx="2302">
                  <c:v>2.7789999999999999</c:v>
                </c:pt>
                <c:pt idx="2303">
                  <c:v>2.4989999999999997</c:v>
                </c:pt>
                <c:pt idx="2304">
                  <c:v>2.302</c:v>
                </c:pt>
                <c:pt idx="2305">
                  <c:v>1.831</c:v>
                </c:pt>
                <c:pt idx="2306">
                  <c:v>1.9170000000000003</c:v>
                </c:pt>
                <c:pt idx="2307">
                  <c:v>2.0870000000000002</c:v>
                </c:pt>
                <c:pt idx="2308">
                  <c:v>2.7069999999999999</c:v>
                </c:pt>
                <c:pt idx="2309">
                  <c:v>3.2049999999999996</c:v>
                </c:pt>
                <c:pt idx="2310">
                  <c:v>3.9969999999999999</c:v>
                </c:pt>
                <c:pt idx="2311">
                  <c:v>4.157</c:v>
                </c:pt>
                <c:pt idx="2312">
                  <c:v>4.0939999999999994</c:v>
                </c:pt>
                <c:pt idx="2313">
                  <c:v>3.9979999999999998</c:v>
                </c:pt>
                <c:pt idx="2314">
                  <c:v>4.0020000000000007</c:v>
                </c:pt>
                <c:pt idx="2315">
                  <c:v>3.8140000000000001</c:v>
                </c:pt>
                <c:pt idx="2316">
                  <c:v>3.5289999999999999</c:v>
                </c:pt>
                <c:pt idx="2317">
                  <c:v>3.2670000000000003</c:v>
                </c:pt>
                <c:pt idx="2318">
                  <c:v>3.2969999999999997</c:v>
                </c:pt>
                <c:pt idx="2319">
                  <c:v>3.2979999999999996</c:v>
                </c:pt>
                <c:pt idx="2320">
                  <c:v>3.6090000000000004</c:v>
                </c:pt>
                <c:pt idx="2321">
                  <c:v>3.9119999999999999</c:v>
                </c:pt>
                <c:pt idx="2322">
                  <c:v>3.9909999999999997</c:v>
                </c:pt>
                <c:pt idx="2323">
                  <c:v>3.996</c:v>
                </c:pt>
                <c:pt idx="2324">
                  <c:v>3.931</c:v>
                </c:pt>
                <c:pt idx="2325">
                  <c:v>3.9609999999999999</c:v>
                </c:pt>
                <c:pt idx="2326">
                  <c:v>3.7930000000000001</c:v>
                </c:pt>
                <c:pt idx="2327">
                  <c:v>3.2709999999999999</c:v>
                </c:pt>
                <c:pt idx="2328">
                  <c:v>3.2280000000000002</c:v>
                </c:pt>
                <c:pt idx="2329">
                  <c:v>3.2810000000000001</c:v>
                </c:pt>
                <c:pt idx="2330">
                  <c:v>3.15</c:v>
                </c:pt>
                <c:pt idx="2331">
                  <c:v>3.044</c:v>
                </c:pt>
                <c:pt idx="2332">
                  <c:v>3.17</c:v>
                </c:pt>
                <c:pt idx="2333">
                  <c:v>3.472</c:v>
                </c:pt>
                <c:pt idx="2334">
                  <c:v>3.7909999999999995</c:v>
                </c:pt>
                <c:pt idx="2335">
                  <c:v>3.9430000000000001</c:v>
                </c:pt>
                <c:pt idx="2336">
                  <c:v>3.899</c:v>
                </c:pt>
                <c:pt idx="2337">
                  <c:v>3.65</c:v>
                </c:pt>
                <c:pt idx="2338">
                  <c:v>3.4939999999999998</c:v>
                </c:pt>
                <c:pt idx="2339">
                  <c:v>3.0659999999999998</c:v>
                </c:pt>
                <c:pt idx="2340">
                  <c:v>2.95</c:v>
                </c:pt>
                <c:pt idx="2341">
                  <c:v>2.7809999999999997</c:v>
                </c:pt>
                <c:pt idx="2342">
                  <c:v>2.7530000000000001</c:v>
                </c:pt>
                <c:pt idx="2343">
                  <c:v>2.8280000000000003</c:v>
                </c:pt>
                <c:pt idx="2344">
                  <c:v>3.0019999999999998</c:v>
                </c:pt>
                <c:pt idx="2345">
                  <c:v>3.585</c:v>
                </c:pt>
                <c:pt idx="2346">
                  <c:v>3.9299999999999997</c:v>
                </c:pt>
                <c:pt idx="2347">
                  <c:v>4.1880000000000006</c:v>
                </c:pt>
                <c:pt idx="2348">
                  <c:v>4.1579999999999995</c:v>
                </c:pt>
                <c:pt idx="2349">
                  <c:v>4.2069999999999999</c:v>
                </c:pt>
                <c:pt idx="2350">
                  <c:v>3.9020000000000001</c:v>
                </c:pt>
                <c:pt idx="2351">
                  <c:v>3.3979999999999997</c:v>
                </c:pt>
                <c:pt idx="2352">
                  <c:v>3.1059999999999999</c:v>
                </c:pt>
                <c:pt idx="2353">
                  <c:v>3.1040000000000001</c:v>
                </c:pt>
                <c:pt idx="2354">
                  <c:v>2.754</c:v>
                </c:pt>
                <c:pt idx="2355">
                  <c:v>2.8460000000000001</c:v>
                </c:pt>
                <c:pt idx="2356">
                  <c:v>2.7789999999999999</c:v>
                </c:pt>
                <c:pt idx="2357">
                  <c:v>2.8479999999999999</c:v>
                </c:pt>
                <c:pt idx="2358">
                  <c:v>3.052</c:v>
                </c:pt>
                <c:pt idx="2359">
                  <c:v>3.0629999999999997</c:v>
                </c:pt>
                <c:pt idx="2360">
                  <c:v>2.944</c:v>
                </c:pt>
                <c:pt idx="2361">
                  <c:v>2.778</c:v>
                </c:pt>
                <c:pt idx="2362">
                  <c:v>2.6399999999999997</c:v>
                </c:pt>
                <c:pt idx="2363">
                  <c:v>2.4039999999999999</c:v>
                </c:pt>
                <c:pt idx="2364">
                  <c:v>2.0789999999999997</c:v>
                </c:pt>
                <c:pt idx="2365">
                  <c:v>1.298</c:v>
                </c:pt>
                <c:pt idx="2366">
                  <c:v>1.5</c:v>
                </c:pt>
                <c:pt idx="2367">
                  <c:v>2.0070000000000001</c:v>
                </c:pt>
                <c:pt idx="2368">
                  <c:v>2.444</c:v>
                </c:pt>
                <c:pt idx="2369">
                  <c:v>3.2399999999999998</c:v>
                </c:pt>
                <c:pt idx="2370">
                  <c:v>3.8240000000000003</c:v>
                </c:pt>
                <c:pt idx="2371">
                  <c:v>3.9530000000000003</c:v>
                </c:pt>
                <c:pt idx="2372">
                  <c:v>3.7570000000000001</c:v>
                </c:pt>
                <c:pt idx="2373">
                  <c:v>3.5200000000000005</c:v>
                </c:pt>
                <c:pt idx="2374">
                  <c:v>2.4079999999999999</c:v>
                </c:pt>
                <c:pt idx="2375">
                  <c:v>2.6030000000000002</c:v>
                </c:pt>
                <c:pt idx="2376">
                  <c:v>2.302</c:v>
                </c:pt>
                <c:pt idx="2377">
                  <c:v>2.036</c:v>
                </c:pt>
                <c:pt idx="2378">
                  <c:v>1.226</c:v>
                </c:pt>
                <c:pt idx="2379">
                  <c:v>1.9949999999999999</c:v>
                </c:pt>
                <c:pt idx="2380">
                  <c:v>2.6079999999999997</c:v>
                </c:pt>
                <c:pt idx="2381">
                  <c:v>3.8929999999999998</c:v>
                </c:pt>
                <c:pt idx="2382">
                  <c:v>3.8929999999999998</c:v>
                </c:pt>
                <c:pt idx="2383">
                  <c:v>3.8090000000000002</c:v>
                </c:pt>
                <c:pt idx="2384">
                  <c:v>3.5249999999999999</c:v>
                </c:pt>
                <c:pt idx="2385">
                  <c:v>3.089</c:v>
                </c:pt>
                <c:pt idx="2386">
                  <c:v>2.7570000000000001</c:v>
                </c:pt>
                <c:pt idx="2387">
                  <c:v>2.4010000000000002</c:v>
                </c:pt>
                <c:pt idx="2388">
                  <c:v>1.7909999999999999</c:v>
                </c:pt>
                <c:pt idx="2389">
                  <c:v>0.93699999999999994</c:v>
                </c:pt>
                <c:pt idx="2390">
                  <c:v>1.7920000000000003</c:v>
                </c:pt>
                <c:pt idx="2391">
                  <c:v>2.1629999999999998</c:v>
                </c:pt>
                <c:pt idx="2392">
                  <c:v>2.62</c:v>
                </c:pt>
                <c:pt idx="2393">
                  <c:v>3.226</c:v>
                </c:pt>
                <c:pt idx="2394">
                  <c:v>3.8319999999999999</c:v>
                </c:pt>
                <c:pt idx="2395">
                  <c:v>3.8740000000000001</c:v>
                </c:pt>
                <c:pt idx="2396">
                  <c:v>3.7950000000000004</c:v>
                </c:pt>
                <c:pt idx="2397">
                  <c:v>3.129</c:v>
                </c:pt>
                <c:pt idx="2398">
                  <c:v>2.4020000000000001</c:v>
                </c:pt>
                <c:pt idx="2399">
                  <c:v>2.4829999999999997</c:v>
                </c:pt>
                <c:pt idx="2400">
                  <c:v>2.3519999999999999</c:v>
                </c:pt>
                <c:pt idx="2401">
                  <c:v>2.355</c:v>
                </c:pt>
                <c:pt idx="2402">
                  <c:v>2.3530000000000002</c:v>
                </c:pt>
                <c:pt idx="2403">
                  <c:v>2.5629999999999997</c:v>
                </c:pt>
                <c:pt idx="2404">
                  <c:v>2.8120000000000003</c:v>
                </c:pt>
                <c:pt idx="2405">
                  <c:v>3.7909999999999995</c:v>
                </c:pt>
                <c:pt idx="2406">
                  <c:v>4.1520000000000001</c:v>
                </c:pt>
                <c:pt idx="2407">
                  <c:v>4.3499999999999996</c:v>
                </c:pt>
                <c:pt idx="2408">
                  <c:v>4.093</c:v>
                </c:pt>
                <c:pt idx="2409">
                  <c:v>3.7450000000000001</c:v>
                </c:pt>
                <c:pt idx="2410">
                  <c:v>3.4159999999999995</c:v>
                </c:pt>
                <c:pt idx="2411">
                  <c:v>3.1</c:v>
                </c:pt>
                <c:pt idx="2412">
                  <c:v>2.9660000000000002</c:v>
                </c:pt>
                <c:pt idx="2413">
                  <c:v>2.9980000000000002</c:v>
                </c:pt>
                <c:pt idx="2414">
                  <c:v>3.19</c:v>
                </c:pt>
                <c:pt idx="2415">
                  <c:v>3.1829999999999998</c:v>
                </c:pt>
                <c:pt idx="2416">
                  <c:v>3.53</c:v>
                </c:pt>
                <c:pt idx="2417">
                  <c:v>3.7950000000000004</c:v>
                </c:pt>
                <c:pt idx="2418">
                  <c:v>4.3100000000000005</c:v>
                </c:pt>
                <c:pt idx="2419">
                  <c:v>4.327</c:v>
                </c:pt>
                <c:pt idx="2420">
                  <c:v>3.8380000000000001</c:v>
                </c:pt>
                <c:pt idx="2421">
                  <c:v>3.7079999999999997</c:v>
                </c:pt>
                <c:pt idx="2422">
                  <c:v>3.0170000000000003</c:v>
                </c:pt>
                <c:pt idx="2423">
                  <c:v>2.5989999999999998</c:v>
                </c:pt>
                <c:pt idx="2424">
                  <c:v>2.4420000000000002</c:v>
                </c:pt>
                <c:pt idx="2425">
                  <c:v>2.302</c:v>
                </c:pt>
                <c:pt idx="2426">
                  <c:v>2.0499999999999998</c:v>
                </c:pt>
                <c:pt idx="2427">
                  <c:v>2.3010000000000002</c:v>
                </c:pt>
                <c:pt idx="2428">
                  <c:v>2.3090000000000002</c:v>
                </c:pt>
                <c:pt idx="2429">
                  <c:v>3.1019999999999999</c:v>
                </c:pt>
                <c:pt idx="2430">
                  <c:v>3.6439999999999997</c:v>
                </c:pt>
                <c:pt idx="2431">
                  <c:v>3.7950000000000004</c:v>
                </c:pt>
                <c:pt idx="2432">
                  <c:v>3.4020000000000001</c:v>
                </c:pt>
                <c:pt idx="2433">
                  <c:v>2.9289999999999998</c:v>
                </c:pt>
                <c:pt idx="2434">
                  <c:v>2.7350000000000003</c:v>
                </c:pt>
                <c:pt idx="2435">
                  <c:v>2.3649999999999998</c:v>
                </c:pt>
                <c:pt idx="2436">
                  <c:v>2.306</c:v>
                </c:pt>
                <c:pt idx="2437">
                  <c:v>2.34</c:v>
                </c:pt>
                <c:pt idx="2438">
                  <c:v>2.3050000000000002</c:v>
                </c:pt>
                <c:pt idx="2439">
                  <c:v>2.6059999999999999</c:v>
                </c:pt>
                <c:pt idx="2440">
                  <c:v>2.7559999999999998</c:v>
                </c:pt>
                <c:pt idx="2441">
                  <c:v>3.1339999999999999</c:v>
                </c:pt>
                <c:pt idx="2442">
                  <c:v>3.3780000000000001</c:v>
                </c:pt>
                <c:pt idx="2443">
                  <c:v>3.411</c:v>
                </c:pt>
                <c:pt idx="2444">
                  <c:v>3.1949999999999998</c:v>
                </c:pt>
                <c:pt idx="2445">
                  <c:v>2.7320000000000002</c:v>
                </c:pt>
                <c:pt idx="2446">
                  <c:v>2.3050000000000002</c:v>
                </c:pt>
                <c:pt idx="2447">
                  <c:v>1.8010000000000002</c:v>
                </c:pt>
                <c:pt idx="2448">
                  <c:v>1.6010000000000002</c:v>
                </c:pt>
                <c:pt idx="2449">
                  <c:v>1.7949999999999999</c:v>
                </c:pt>
                <c:pt idx="2450">
                  <c:v>1.98</c:v>
                </c:pt>
                <c:pt idx="2451">
                  <c:v>2.0019999999999998</c:v>
                </c:pt>
                <c:pt idx="2452">
                  <c:v>2.6760000000000002</c:v>
                </c:pt>
                <c:pt idx="2453">
                  <c:v>3.1949999999999998</c:v>
                </c:pt>
                <c:pt idx="2454">
                  <c:v>3.5950000000000002</c:v>
                </c:pt>
                <c:pt idx="2455">
                  <c:v>3.5990000000000002</c:v>
                </c:pt>
                <c:pt idx="2456">
                  <c:v>3.3479999999999999</c:v>
                </c:pt>
                <c:pt idx="2457">
                  <c:v>3.1059999999999999</c:v>
                </c:pt>
                <c:pt idx="2458">
                  <c:v>2.8959999999999999</c:v>
                </c:pt>
                <c:pt idx="2459">
                  <c:v>2.7010000000000001</c:v>
                </c:pt>
                <c:pt idx="2460">
                  <c:v>2.4449999999999998</c:v>
                </c:pt>
                <c:pt idx="2461">
                  <c:v>2.4020000000000001</c:v>
                </c:pt>
                <c:pt idx="2462">
                  <c:v>2.657</c:v>
                </c:pt>
                <c:pt idx="2463">
                  <c:v>2.7589999999999999</c:v>
                </c:pt>
                <c:pt idx="2464">
                  <c:v>3.0030000000000001</c:v>
                </c:pt>
                <c:pt idx="2465">
                  <c:v>3.593</c:v>
                </c:pt>
                <c:pt idx="2466">
                  <c:v>4</c:v>
                </c:pt>
                <c:pt idx="2467">
                  <c:v>4.2240000000000002</c:v>
                </c:pt>
                <c:pt idx="2468">
                  <c:v>3.8909999999999996</c:v>
                </c:pt>
                <c:pt idx="2469">
                  <c:v>3.6819999999999999</c:v>
                </c:pt>
                <c:pt idx="2470">
                  <c:v>3.2969999999999997</c:v>
                </c:pt>
                <c:pt idx="2471">
                  <c:v>3.0659999999999998</c:v>
                </c:pt>
                <c:pt idx="2472">
                  <c:v>2.6779999999999999</c:v>
                </c:pt>
                <c:pt idx="2473">
                  <c:v>2.6960000000000002</c:v>
                </c:pt>
                <c:pt idx="2474">
                  <c:v>2.6870000000000003</c:v>
                </c:pt>
                <c:pt idx="2475">
                  <c:v>2.669</c:v>
                </c:pt>
                <c:pt idx="2476">
                  <c:v>2.6760000000000002</c:v>
                </c:pt>
                <c:pt idx="2477">
                  <c:v>2.6930000000000001</c:v>
                </c:pt>
                <c:pt idx="2478">
                  <c:v>2.77</c:v>
                </c:pt>
                <c:pt idx="2479">
                  <c:v>2.8730000000000002</c:v>
                </c:pt>
                <c:pt idx="2480">
                  <c:v>2.823</c:v>
                </c:pt>
                <c:pt idx="2481">
                  <c:v>2.782</c:v>
                </c:pt>
                <c:pt idx="2482">
                  <c:v>2.7879999999999998</c:v>
                </c:pt>
                <c:pt idx="2483">
                  <c:v>2.5949999999999998</c:v>
                </c:pt>
                <c:pt idx="2484">
                  <c:v>2.7690000000000001</c:v>
                </c:pt>
                <c:pt idx="2485">
                  <c:v>2.7649999999999997</c:v>
                </c:pt>
                <c:pt idx="2486">
                  <c:v>2.7789999999999999</c:v>
                </c:pt>
                <c:pt idx="2487">
                  <c:v>2.8340000000000001</c:v>
                </c:pt>
                <c:pt idx="2488">
                  <c:v>3.0659999999999998</c:v>
                </c:pt>
                <c:pt idx="2489">
                  <c:v>3.69</c:v>
                </c:pt>
                <c:pt idx="2490">
                  <c:v>3.8740000000000001</c:v>
                </c:pt>
                <c:pt idx="2491">
                  <c:v>3.8369999999999997</c:v>
                </c:pt>
                <c:pt idx="2492">
                  <c:v>3.8549999999999995</c:v>
                </c:pt>
                <c:pt idx="2493">
                  <c:v>3.7450000000000001</c:v>
                </c:pt>
                <c:pt idx="2494">
                  <c:v>3.6950000000000003</c:v>
                </c:pt>
                <c:pt idx="2495">
                  <c:v>3.3880000000000003</c:v>
                </c:pt>
                <c:pt idx="2496">
                  <c:v>3.0510000000000002</c:v>
                </c:pt>
                <c:pt idx="2497">
                  <c:v>2.8820000000000001</c:v>
                </c:pt>
                <c:pt idx="2498">
                  <c:v>2.5979999999999999</c:v>
                </c:pt>
                <c:pt idx="2499">
                  <c:v>2.004</c:v>
                </c:pt>
                <c:pt idx="2500">
                  <c:v>1.9100000000000001</c:v>
                </c:pt>
                <c:pt idx="2501">
                  <c:v>1.7670000000000001</c:v>
                </c:pt>
                <c:pt idx="2502">
                  <c:v>1.7969999999999999</c:v>
                </c:pt>
                <c:pt idx="2503">
                  <c:v>2.0100000000000002</c:v>
                </c:pt>
                <c:pt idx="2504">
                  <c:v>1.9079999999999999</c:v>
                </c:pt>
                <c:pt idx="2505">
                  <c:v>1.3939999999999999</c:v>
                </c:pt>
                <c:pt idx="2506">
                  <c:v>0.94299999999999995</c:v>
                </c:pt>
                <c:pt idx="2507">
                  <c:v>1.3359999999999999</c:v>
                </c:pt>
                <c:pt idx="2508">
                  <c:v>0.75600000000000001</c:v>
                </c:pt>
                <c:pt idx="2509">
                  <c:v>2.5000000000000001E-2</c:v>
                </c:pt>
                <c:pt idx="2510">
                  <c:v>-0.10800000000000001</c:v>
                </c:pt>
                <c:pt idx="2511">
                  <c:v>-0.32300000000000001</c:v>
                </c:pt>
                <c:pt idx="2512">
                  <c:v>0.76800000000000002</c:v>
                </c:pt>
                <c:pt idx="2513">
                  <c:v>1.0029999999999999</c:v>
                </c:pt>
                <c:pt idx="2514">
                  <c:v>1.403</c:v>
                </c:pt>
                <c:pt idx="2515">
                  <c:v>1.3029999999999999</c:v>
                </c:pt>
                <c:pt idx="2516">
                  <c:v>1.204</c:v>
                </c:pt>
                <c:pt idx="2517">
                  <c:v>1.107</c:v>
                </c:pt>
                <c:pt idx="2518">
                  <c:v>0.92300000000000004</c:v>
                </c:pt>
                <c:pt idx="2519">
                  <c:v>0.39400000000000002</c:v>
                </c:pt>
                <c:pt idx="2520">
                  <c:v>0.755</c:v>
                </c:pt>
                <c:pt idx="2521">
                  <c:v>0.51400000000000001</c:v>
                </c:pt>
                <c:pt idx="2522">
                  <c:v>0.191</c:v>
                </c:pt>
                <c:pt idx="2523">
                  <c:v>0.755</c:v>
                </c:pt>
                <c:pt idx="2524">
                  <c:v>1.403</c:v>
                </c:pt>
                <c:pt idx="2525">
                  <c:v>0.91999999999999993</c:v>
                </c:pt>
                <c:pt idx="2526">
                  <c:v>1.407</c:v>
                </c:pt>
                <c:pt idx="2527">
                  <c:v>1.5960000000000001</c:v>
                </c:pt>
                <c:pt idx="2528">
                  <c:v>1.9010000000000002</c:v>
                </c:pt>
                <c:pt idx="2529">
                  <c:v>1.9010000000000002</c:v>
                </c:pt>
                <c:pt idx="2530">
                  <c:v>2.8739999999999997</c:v>
                </c:pt>
                <c:pt idx="2531">
                  <c:v>2.403</c:v>
                </c:pt>
                <c:pt idx="2532">
                  <c:v>1.5029999999999999</c:v>
                </c:pt>
                <c:pt idx="2533">
                  <c:v>1.6</c:v>
                </c:pt>
                <c:pt idx="2534">
                  <c:v>1.5310000000000001</c:v>
                </c:pt>
                <c:pt idx="2535">
                  <c:v>1.506</c:v>
                </c:pt>
                <c:pt idx="2536">
                  <c:v>2.3029999999999999</c:v>
                </c:pt>
                <c:pt idx="2537">
                  <c:v>3.1070000000000002</c:v>
                </c:pt>
                <c:pt idx="2538">
                  <c:v>3.1070000000000002</c:v>
                </c:pt>
                <c:pt idx="2539">
                  <c:v>3.3950000000000005</c:v>
                </c:pt>
                <c:pt idx="2540">
                  <c:v>3.2549999999999999</c:v>
                </c:pt>
                <c:pt idx="2541">
                  <c:v>3.1909999999999998</c:v>
                </c:pt>
                <c:pt idx="2542">
                  <c:v>3.0460000000000003</c:v>
                </c:pt>
                <c:pt idx="2543">
                  <c:v>2.85</c:v>
                </c:pt>
                <c:pt idx="2544">
                  <c:v>2.4010000000000002</c:v>
                </c:pt>
                <c:pt idx="2545">
                  <c:v>2.2069999999999999</c:v>
                </c:pt>
                <c:pt idx="2546">
                  <c:v>2.1079999999999997</c:v>
                </c:pt>
                <c:pt idx="2547">
                  <c:v>2.2000000000000002</c:v>
                </c:pt>
                <c:pt idx="2548">
                  <c:v>2.7949999999999999</c:v>
                </c:pt>
                <c:pt idx="2549">
                  <c:v>2.8210000000000002</c:v>
                </c:pt>
                <c:pt idx="2550">
                  <c:v>2.7440000000000002</c:v>
                </c:pt>
                <c:pt idx="2551">
                  <c:v>2.9899999999999998</c:v>
                </c:pt>
                <c:pt idx="2552">
                  <c:v>3.0170000000000003</c:v>
                </c:pt>
                <c:pt idx="2553">
                  <c:v>2.96</c:v>
                </c:pt>
                <c:pt idx="2554">
                  <c:v>2.9</c:v>
                </c:pt>
                <c:pt idx="2555">
                  <c:v>2.5010000000000003</c:v>
                </c:pt>
                <c:pt idx="2556">
                  <c:v>1.9570000000000001</c:v>
                </c:pt>
                <c:pt idx="2557">
                  <c:v>1.593</c:v>
                </c:pt>
                <c:pt idx="2558">
                  <c:v>0.92799999999999994</c:v>
                </c:pt>
                <c:pt idx="2559">
                  <c:v>0.93599999999999994</c:v>
                </c:pt>
                <c:pt idx="2560">
                  <c:v>1.78</c:v>
                </c:pt>
                <c:pt idx="2561">
                  <c:v>2.536</c:v>
                </c:pt>
                <c:pt idx="2562">
                  <c:v>3.2149999999999999</c:v>
                </c:pt>
                <c:pt idx="2563">
                  <c:v>3.3909999999999996</c:v>
                </c:pt>
                <c:pt idx="2564">
                  <c:v>3.3950000000000005</c:v>
                </c:pt>
                <c:pt idx="2565">
                  <c:v>3.3929999999999998</c:v>
                </c:pt>
                <c:pt idx="2566">
                  <c:v>3.0949999999999998</c:v>
                </c:pt>
                <c:pt idx="2567">
                  <c:v>2.9539999999999997</c:v>
                </c:pt>
                <c:pt idx="2568">
                  <c:v>2.8359999999999999</c:v>
                </c:pt>
                <c:pt idx="2569">
                  <c:v>2.7770000000000001</c:v>
                </c:pt>
                <c:pt idx="2570">
                  <c:v>2.726</c:v>
                </c:pt>
                <c:pt idx="2571">
                  <c:v>2.6970000000000001</c:v>
                </c:pt>
                <c:pt idx="2572">
                  <c:v>3.0910000000000002</c:v>
                </c:pt>
                <c:pt idx="2573">
                  <c:v>3.9939999999999998</c:v>
                </c:pt>
                <c:pt idx="2574">
                  <c:v>4.335</c:v>
                </c:pt>
                <c:pt idx="2575">
                  <c:v>4.5389999999999997</c:v>
                </c:pt>
                <c:pt idx="2576">
                  <c:v>4.1049999999999995</c:v>
                </c:pt>
                <c:pt idx="2577">
                  <c:v>3.9880000000000004</c:v>
                </c:pt>
                <c:pt idx="2578">
                  <c:v>3.7969999999999997</c:v>
                </c:pt>
                <c:pt idx="2579">
                  <c:v>3.59</c:v>
                </c:pt>
                <c:pt idx="2580">
                  <c:v>3.383</c:v>
                </c:pt>
                <c:pt idx="2581">
                  <c:v>3.1040000000000001</c:v>
                </c:pt>
                <c:pt idx="2582">
                  <c:v>3.0430000000000001</c:v>
                </c:pt>
                <c:pt idx="2583">
                  <c:v>3.0100000000000002</c:v>
                </c:pt>
                <c:pt idx="2584">
                  <c:v>3.085</c:v>
                </c:pt>
                <c:pt idx="2585">
                  <c:v>3.3920000000000003</c:v>
                </c:pt>
                <c:pt idx="2586">
                  <c:v>3.7950000000000004</c:v>
                </c:pt>
                <c:pt idx="2587">
                  <c:v>3.8</c:v>
                </c:pt>
                <c:pt idx="2588">
                  <c:v>3.7709999999999999</c:v>
                </c:pt>
                <c:pt idx="2589">
                  <c:v>3.4079999999999999</c:v>
                </c:pt>
                <c:pt idx="2590">
                  <c:v>3.1070000000000002</c:v>
                </c:pt>
                <c:pt idx="2591">
                  <c:v>3.0350000000000001</c:v>
                </c:pt>
                <c:pt idx="2592">
                  <c:v>3.0019999999999998</c:v>
                </c:pt>
                <c:pt idx="2593">
                  <c:v>2.9940000000000002</c:v>
                </c:pt>
                <c:pt idx="2594">
                  <c:v>3.0249999999999999</c:v>
                </c:pt>
                <c:pt idx="2595">
                  <c:v>3.0829999999999997</c:v>
                </c:pt>
                <c:pt idx="2596">
                  <c:v>3.181</c:v>
                </c:pt>
                <c:pt idx="2597">
                  <c:v>3.8899999999999997</c:v>
                </c:pt>
                <c:pt idx="2598">
                  <c:v>4.6880000000000006</c:v>
                </c:pt>
                <c:pt idx="2599">
                  <c:v>4.8380000000000001</c:v>
                </c:pt>
                <c:pt idx="2600">
                  <c:v>4.367</c:v>
                </c:pt>
                <c:pt idx="2601">
                  <c:v>3.8969999999999998</c:v>
                </c:pt>
                <c:pt idx="2602">
                  <c:v>3.7399999999999998</c:v>
                </c:pt>
                <c:pt idx="2603">
                  <c:v>3.71</c:v>
                </c:pt>
                <c:pt idx="2604">
                  <c:v>3.661</c:v>
                </c:pt>
                <c:pt idx="2605">
                  <c:v>3.4470000000000001</c:v>
                </c:pt>
                <c:pt idx="2606">
                  <c:v>3.3069999999999999</c:v>
                </c:pt>
                <c:pt idx="2607">
                  <c:v>3.3729999999999998</c:v>
                </c:pt>
                <c:pt idx="2608">
                  <c:v>3.6890000000000001</c:v>
                </c:pt>
                <c:pt idx="2609">
                  <c:v>3.8920000000000003</c:v>
                </c:pt>
                <c:pt idx="2610">
                  <c:v>4.1189999999999998</c:v>
                </c:pt>
                <c:pt idx="2611">
                  <c:v>4.4009999999999998</c:v>
                </c:pt>
                <c:pt idx="2612">
                  <c:v>4.306</c:v>
                </c:pt>
                <c:pt idx="2613">
                  <c:v>3.8049999999999997</c:v>
                </c:pt>
                <c:pt idx="2614">
                  <c:v>3.4159999999999995</c:v>
                </c:pt>
                <c:pt idx="2615">
                  <c:v>3.2030000000000003</c:v>
                </c:pt>
                <c:pt idx="2616">
                  <c:v>3.2950000000000004</c:v>
                </c:pt>
                <c:pt idx="2617">
                  <c:v>3.1429999999999998</c:v>
                </c:pt>
                <c:pt idx="2618">
                  <c:v>3.1619999999999999</c:v>
                </c:pt>
                <c:pt idx="2619">
                  <c:v>3.1710000000000003</c:v>
                </c:pt>
                <c:pt idx="2620">
                  <c:v>3.3200000000000003</c:v>
                </c:pt>
                <c:pt idx="2621">
                  <c:v>4.2030000000000003</c:v>
                </c:pt>
                <c:pt idx="2622">
                  <c:v>4.8409999999999993</c:v>
                </c:pt>
                <c:pt idx="2623">
                  <c:v>5.2</c:v>
                </c:pt>
                <c:pt idx="2624">
                  <c:v>4.3869999999999996</c:v>
                </c:pt>
                <c:pt idx="2625">
                  <c:v>3.847</c:v>
                </c:pt>
                <c:pt idx="2626">
                  <c:v>3.6320000000000001</c:v>
                </c:pt>
                <c:pt idx="2627">
                  <c:v>3.3860000000000001</c:v>
                </c:pt>
                <c:pt idx="2628">
                  <c:v>3.2399999999999998</c:v>
                </c:pt>
                <c:pt idx="2629">
                  <c:v>3.1070000000000002</c:v>
                </c:pt>
                <c:pt idx="2630">
                  <c:v>3.109</c:v>
                </c:pt>
                <c:pt idx="2631">
                  <c:v>3.3009999999999997</c:v>
                </c:pt>
                <c:pt idx="2632">
                  <c:v>3.6890000000000001</c:v>
                </c:pt>
                <c:pt idx="2633">
                  <c:v>3.9939999999999998</c:v>
                </c:pt>
                <c:pt idx="2634">
                  <c:v>4.5009999999999994</c:v>
                </c:pt>
                <c:pt idx="2635">
                  <c:v>4.6609999999999996</c:v>
                </c:pt>
                <c:pt idx="2636">
                  <c:v>4.4060000000000006</c:v>
                </c:pt>
                <c:pt idx="2637">
                  <c:v>3.5229999999999997</c:v>
                </c:pt>
                <c:pt idx="2638">
                  <c:v>2.9219999999999997</c:v>
                </c:pt>
                <c:pt idx="2639">
                  <c:v>2.93</c:v>
                </c:pt>
                <c:pt idx="2640">
                  <c:v>2.5049999999999999</c:v>
                </c:pt>
                <c:pt idx="2641">
                  <c:v>2.6520000000000001</c:v>
                </c:pt>
                <c:pt idx="2642">
                  <c:v>2.5249999999999999</c:v>
                </c:pt>
                <c:pt idx="2643">
                  <c:v>2.4050000000000002</c:v>
                </c:pt>
                <c:pt idx="2644">
                  <c:v>2.8250000000000002</c:v>
                </c:pt>
                <c:pt idx="2645">
                  <c:v>4.0020000000000007</c:v>
                </c:pt>
                <c:pt idx="2646">
                  <c:v>4.25</c:v>
                </c:pt>
                <c:pt idx="2647">
                  <c:v>4.2610000000000001</c:v>
                </c:pt>
                <c:pt idx="2648">
                  <c:v>3.8950000000000005</c:v>
                </c:pt>
                <c:pt idx="2649">
                  <c:v>3.4470000000000001</c:v>
                </c:pt>
                <c:pt idx="2650">
                  <c:v>3.1970000000000001</c:v>
                </c:pt>
                <c:pt idx="2651">
                  <c:v>2.8079999999999998</c:v>
                </c:pt>
                <c:pt idx="2652">
                  <c:v>2.1149999999999998</c:v>
                </c:pt>
                <c:pt idx="2653">
                  <c:v>2.0789999999999997</c:v>
                </c:pt>
                <c:pt idx="2654">
                  <c:v>1.984</c:v>
                </c:pt>
                <c:pt idx="2655">
                  <c:v>2.4039999999999999</c:v>
                </c:pt>
                <c:pt idx="2656">
                  <c:v>2.7079999999999997</c:v>
                </c:pt>
                <c:pt idx="2657">
                  <c:v>2.9140000000000001</c:v>
                </c:pt>
                <c:pt idx="2658">
                  <c:v>3.1019999999999999</c:v>
                </c:pt>
                <c:pt idx="2659">
                  <c:v>3.0640000000000001</c:v>
                </c:pt>
                <c:pt idx="2660">
                  <c:v>2.4010000000000002</c:v>
                </c:pt>
                <c:pt idx="2661">
                  <c:v>1.6260000000000001</c:v>
                </c:pt>
                <c:pt idx="2662">
                  <c:v>0.35499999999999998</c:v>
                </c:pt>
                <c:pt idx="2663">
                  <c:v>8.7999999999999995E-2</c:v>
                </c:pt>
                <c:pt idx="2664">
                  <c:v>0.8</c:v>
                </c:pt>
                <c:pt idx="2665">
                  <c:v>0.82200000000000006</c:v>
                </c:pt>
                <c:pt idx="2666">
                  <c:v>0.80299999999999994</c:v>
                </c:pt>
                <c:pt idx="2667">
                  <c:v>0.90800000000000003</c:v>
                </c:pt>
                <c:pt idx="2668">
                  <c:v>0.91799999999999993</c:v>
                </c:pt>
                <c:pt idx="2669">
                  <c:v>0.91899999999999993</c:v>
                </c:pt>
                <c:pt idx="2670">
                  <c:v>1.0720000000000001</c:v>
                </c:pt>
                <c:pt idx="2671">
                  <c:v>1.3089999999999999</c:v>
                </c:pt>
                <c:pt idx="2672">
                  <c:v>1.347</c:v>
                </c:pt>
                <c:pt idx="2673">
                  <c:v>0.95399999999999996</c:v>
                </c:pt>
                <c:pt idx="2674">
                  <c:v>0.91199999999999992</c:v>
                </c:pt>
                <c:pt idx="2675">
                  <c:v>0.90399999999999991</c:v>
                </c:pt>
                <c:pt idx="2676">
                  <c:v>0.80999999999999994</c:v>
                </c:pt>
                <c:pt idx="2677">
                  <c:v>0.502</c:v>
                </c:pt>
                <c:pt idx="2678">
                  <c:v>0.71100000000000008</c:v>
                </c:pt>
                <c:pt idx="2679">
                  <c:v>0.90500000000000003</c:v>
                </c:pt>
                <c:pt idx="2680">
                  <c:v>1.0720000000000001</c:v>
                </c:pt>
                <c:pt idx="2681">
                  <c:v>2.0789999999999997</c:v>
                </c:pt>
                <c:pt idx="2682">
                  <c:v>2.3010000000000002</c:v>
                </c:pt>
                <c:pt idx="2683">
                  <c:v>2.4500000000000002</c:v>
                </c:pt>
                <c:pt idx="2684">
                  <c:v>2.42</c:v>
                </c:pt>
                <c:pt idx="2685">
                  <c:v>2.415</c:v>
                </c:pt>
                <c:pt idx="2686">
                  <c:v>2.02</c:v>
                </c:pt>
                <c:pt idx="2687">
                  <c:v>0.90399999999999991</c:v>
                </c:pt>
                <c:pt idx="2688">
                  <c:v>0.89700000000000002</c:v>
                </c:pt>
                <c:pt idx="2689">
                  <c:v>0.83100000000000007</c:v>
                </c:pt>
                <c:pt idx="2690">
                  <c:v>0.89399999999999991</c:v>
                </c:pt>
                <c:pt idx="2691">
                  <c:v>1.0050000000000001</c:v>
                </c:pt>
                <c:pt idx="2692">
                  <c:v>0.90399999999999991</c:v>
                </c:pt>
                <c:pt idx="2693">
                  <c:v>0.90199999999999991</c:v>
                </c:pt>
                <c:pt idx="2694">
                  <c:v>0.80399999999999994</c:v>
                </c:pt>
                <c:pt idx="2695">
                  <c:v>0.88900000000000001</c:v>
                </c:pt>
                <c:pt idx="2696">
                  <c:v>0.8859999999999999</c:v>
                </c:pt>
                <c:pt idx="2697">
                  <c:v>0.29599999999999999</c:v>
                </c:pt>
                <c:pt idx="2698">
                  <c:v>0.65400000000000003</c:v>
                </c:pt>
                <c:pt idx="2699">
                  <c:v>0.372</c:v>
                </c:pt>
                <c:pt idx="2700">
                  <c:v>-0.76500000000000001</c:v>
                </c:pt>
                <c:pt idx="2701">
                  <c:v>-1.5029999999999999</c:v>
                </c:pt>
                <c:pt idx="2702">
                  <c:v>-0.91799999999999993</c:v>
                </c:pt>
                <c:pt idx="2703">
                  <c:v>-1.4999999999999999E-2</c:v>
                </c:pt>
                <c:pt idx="2704">
                  <c:v>0.76</c:v>
                </c:pt>
                <c:pt idx="2705">
                  <c:v>2.1079999999999997</c:v>
                </c:pt>
                <c:pt idx="2706">
                  <c:v>3.0629999999999997</c:v>
                </c:pt>
                <c:pt idx="2707">
                  <c:v>3.4539999999999997</c:v>
                </c:pt>
                <c:pt idx="2708">
                  <c:v>3.665</c:v>
                </c:pt>
                <c:pt idx="2709">
                  <c:v>3.71</c:v>
                </c:pt>
                <c:pt idx="2710">
                  <c:v>2.9950000000000001</c:v>
                </c:pt>
                <c:pt idx="2711">
                  <c:v>2.919</c:v>
                </c:pt>
                <c:pt idx="2712">
                  <c:v>2.7649999999999997</c:v>
                </c:pt>
                <c:pt idx="2713">
                  <c:v>2.742</c:v>
                </c:pt>
                <c:pt idx="2714">
                  <c:v>2.6480000000000001</c:v>
                </c:pt>
                <c:pt idx="2715">
                  <c:v>2.746</c:v>
                </c:pt>
                <c:pt idx="2716">
                  <c:v>3.0260000000000002</c:v>
                </c:pt>
                <c:pt idx="2717">
                  <c:v>3.883</c:v>
                </c:pt>
                <c:pt idx="2718">
                  <c:v>4.0890000000000004</c:v>
                </c:pt>
                <c:pt idx="2719">
                  <c:v>4.0860000000000003</c:v>
                </c:pt>
                <c:pt idx="2720">
                  <c:v>3.18</c:v>
                </c:pt>
                <c:pt idx="2721">
                  <c:v>2.4059999999999997</c:v>
                </c:pt>
                <c:pt idx="2722">
                  <c:v>1.282</c:v>
                </c:pt>
                <c:pt idx="2723">
                  <c:v>0.90700000000000003</c:v>
                </c:pt>
                <c:pt idx="2724">
                  <c:v>2.0010000000000003</c:v>
                </c:pt>
                <c:pt idx="2725">
                  <c:v>2.2440000000000002</c:v>
                </c:pt>
                <c:pt idx="2726">
                  <c:v>2.4899999999999998</c:v>
                </c:pt>
                <c:pt idx="2727">
                  <c:v>2.7709999999999999</c:v>
                </c:pt>
                <c:pt idx="2728">
                  <c:v>3.2189999999999999</c:v>
                </c:pt>
                <c:pt idx="2729">
                  <c:v>3.835</c:v>
                </c:pt>
                <c:pt idx="2730">
                  <c:v>4.33</c:v>
                </c:pt>
                <c:pt idx="2731">
                  <c:v>4.359</c:v>
                </c:pt>
                <c:pt idx="2732">
                  <c:v>4.4509999999999996</c:v>
                </c:pt>
                <c:pt idx="2733">
                  <c:v>4.4380000000000006</c:v>
                </c:pt>
                <c:pt idx="2734">
                  <c:v>3.8549999999999995</c:v>
                </c:pt>
                <c:pt idx="2735">
                  <c:v>3.4009999999999998</c:v>
                </c:pt>
                <c:pt idx="2736">
                  <c:v>3.1070000000000002</c:v>
                </c:pt>
                <c:pt idx="2737">
                  <c:v>3.12</c:v>
                </c:pt>
                <c:pt idx="2738">
                  <c:v>2.9980000000000002</c:v>
                </c:pt>
                <c:pt idx="2739">
                  <c:v>2.9969999999999999</c:v>
                </c:pt>
                <c:pt idx="2740">
                  <c:v>3.05</c:v>
                </c:pt>
                <c:pt idx="2741">
                  <c:v>3.7030000000000003</c:v>
                </c:pt>
                <c:pt idx="2742">
                  <c:v>4.117</c:v>
                </c:pt>
                <c:pt idx="2743">
                  <c:v>4.3</c:v>
                </c:pt>
                <c:pt idx="2744">
                  <c:v>4.194</c:v>
                </c:pt>
                <c:pt idx="2745">
                  <c:v>3.9810000000000003</c:v>
                </c:pt>
                <c:pt idx="2746">
                  <c:v>3.81</c:v>
                </c:pt>
                <c:pt idx="2747">
                  <c:v>3.5090000000000003</c:v>
                </c:pt>
                <c:pt idx="2748">
                  <c:v>3.3909999999999996</c:v>
                </c:pt>
                <c:pt idx="2749">
                  <c:v>3.1719999999999997</c:v>
                </c:pt>
                <c:pt idx="2750">
                  <c:v>3.1589999999999998</c:v>
                </c:pt>
                <c:pt idx="2751">
                  <c:v>3.246</c:v>
                </c:pt>
                <c:pt idx="2752">
                  <c:v>3.6549999999999998</c:v>
                </c:pt>
                <c:pt idx="2753">
                  <c:v>3.9929999999999999</c:v>
                </c:pt>
                <c:pt idx="2754">
                  <c:v>4.2949999999999999</c:v>
                </c:pt>
                <c:pt idx="2755">
                  <c:v>4.2939999999999996</c:v>
                </c:pt>
                <c:pt idx="2756">
                  <c:v>4.1979999999999995</c:v>
                </c:pt>
                <c:pt idx="2757">
                  <c:v>3.8420000000000001</c:v>
                </c:pt>
                <c:pt idx="2758">
                  <c:v>3.34</c:v>
                </c:pt>
                <c:pt idx="2759">
                  <c:v>3.0539999999999998</c:v>
                </c:pt>
                <c:pt idx="2760">
                  <c:v>3.0989999999999998</c:v>
                </c:pt>
                <c:pt idx="2761">
                  <c:v>3.0949999999999998</c:v>
                </c:pt>
                <c:pt idx="2762">
                  <c:v>3.0539999999999998</c:v>
                </c:pt>
                <c:pt idx="2763">
                  <c:v>3.044</c:v>
                </c:pt>
                <c:pt idx="2764">
                  <c:v>3.31</c:v>
                </c:pt>
                <c:pt idx="2765">
                  <c:v>4.2299999999999995</c:v>
                </c:pt>
                <c:pt idx="2766">
                  <c:v>4.6950000000000003</c:v>
                </c:pt>
                <c:pt idx="2767">
                  <c:v>5.3469999999999995</c:v>
                </c:pt>
                <c:pt idx="2768">
                  <c:v>4.6979999999999995</c:v>
                </c:pt>
                <c:pt idx="2769">
                  <c:v>4.5609999999999999</c:v>
                </c:pt>
                <c:pt idx="2770">
                  <c:v>4.4749999999999996</c:v>
                </c:pt>
                <c:pt idx="2771">
                  <c:v>4.4009999999999998</c:v>
                </c:pt>
                <c:pt idx="2772">
                  <c:v>4.2</c:v>
                </c:pt>
                <c:pt idx="2773">
                  <c:v>3.911</c:v>
                </c:pt>
                <c:pt idx="2774">
                  <c:v>3.8639999999999999</c:v>
                </c:pt>
                <c:pt idx="2775">
                  <c:v>3.8609999999999998</c:v>
                </c:pt>
                <c:pt idx="2776">
                  <c:v>4.1920000000000002</c:v>
                </c:pt>
                <c:pt idx="2777">
                  <c:v>4.3860000000000001</c:v>
                </c:pt>
                <c:pt idx="2778">
                  <c:v>4.4090000000000007</c:v>
                </c:pt>
                <c:pt idx="2779">
                  <c:v>4.4340000000000002</c:v>
                </c:pt>
                <c:pt idx="2780">
                  <c:v>4.2930000000000001</c:v>
                </c:pt>
                <c:pt idx="2781">
                  <c:v>3.91</c:v>
                </c:pt>
                <c:pt idx="2782">
                  <c:v>3.258</c:v>
                </c:pt>
                <c:pt idx="2783">
                  <c:v>3.2189999999999999</c:v>
                </c:pt>
                <c:pt idx="2784">
                  <c:v>3.1459999999999999</c:v>
                </c:pt>
                <c:pt idx="2785">
                  <c:v>3.1059999999999999</c:v>
                </c:pt>
                <c:pt idx="2786">
                  <c:v>3.1040000000000001</c:v>
                </c:pt>
                <c:pt idx="2787">
                  <c:v>3.1520000000000001</c:v>
                </c:pt>
                <c:pt idx="2788">
                  <c:v>3.2479999999999998</c:v>
                </c:pt>
                <c:pt idx="2789">
                  <c:v>4.1189999999999998</c:v>
                </c:pt>
                <c:pt idx="2790">
                  <c:v>4.4969999999999999</c:v>
                </c:pt>
                <c:pt idx="2791">
                  <c:v>4.593</c:v>
                </c:pt>
                <c:pt idx="2792">
                  <c:v>4.367</c:v>
                </c:pt>
                <c:pt idx="2793">
                  <c:v>4.2919999999999998</c:v>
                </c:pt>
                <c:pt idx="2794">
                  <c:v>4.0950000000000006</c:v>
                </c:pt>
                <c:pt idx="2795">
                  <c:v>3.5829999999999997</c:v>
                </c:pt>
                <c:pt idx="2796">
                  <c:v>3.4990000000000001</c:v>
                </c:pt>
                <c:pt idx="2797">
                  <c:v>3.2009999999999996</c:v>
                </c:pt>
                <c:pt idx="2798">
                  <c:v>3.29</c:v>
                </c:pt>
                <c:pt idx="2799">
                  <c:v>3.2890000000000001</c:v>
                </c:pt>
                <c:pt idx="2800">
                  <c:v>3.5049999999999999</c:v>
                </c:pt>
                <c:pt idx="2801">
                  <c:v>3.7960000000000003</c:v>
                </c:pt>
                <c:pt idx="2802">
                  <c:v>4.1970000000000001</c:v>
                </c:pt>
                <c:pt idx="2803">
                  <c:v>4.1909999999999998</c:v>
                </c:pt>
                <c:pt idx="2804">
                  <c:v>4.1079999999999997</c:v>
                </c:pt>
                <c:pt idx="2805">
                  <c:v>3.4869999999999997</c:v>
                </c:pt>
                <c:pt idx="2806">
                  <c:v>3.2</c:v>
                </c:pt>
                <c:pt idx="2807">
                  <c:v>3.1379999999999999</c:v>
                </c:pt>
                <c:pt idx="2808">
                  <c:v>3.1230000000000002</c:v>
                </c:pt>
                <c:pt idx="2809">
                  <c:v>3.0609999999999999</c:v>
                </c:pt>
                <c:pt idx="2810">
                  <c:v>3.0920000000000001</c:v>
                </c:pt>
                <c:pt idx="2811">
                  <c:v>3.141</c:v>
                </c:pt>
                <c:pt idx="2812">
                  <c:v>3.3520000000000003</c:v>
                </c:pt>
                <c:pt idx="2813">
                  <c:v>3.714</c:v>
                </c:pt>
                <c:pt idx="2814">
                  <c:v>4.54</c:v>
                </c:pt>
                <c:pt idx="2815">
                  <c:v>4.694</c:v>
                </c:pt>
                <c:pt idx="2816">
                  <c:v>4.4990000000000006</c:v>
                </c:pt>
                <c:pt idx="2817">
                  <c:v>4.29</c:v>
                </c:pt>
                <c:pt idx="2818">
                  <c:v>4.1899999999999995</c:v>
                </c:pt>
                <c:pt idx="2819">
                  <c:v>3.899</c:v>
                </c:pt>
                <c:pt idx="2820">
                  <c:v>3.5460000000000003</c:v>
                </c:pt>
                <c:pt idx="2821">
                  <c:v>3.3619999999999997</c:v>
                </c:pt>
                <c:pt idx="2822">
                  <c:v>3.3049999999999997</c:v>
                </c:pt>
                <c:pt idx="2823">
                  <c:v>3.2759999999999998</c:v>
                </c:pt>
                <c:pt idx="2824">
                  <c:v>3.3780000000000001</c:v>
                </c:pt>
                <c:pt idx="2825">
                  <c:v>4.0289999999999999</c:v>
                </c:pt>
                <c:pt idx="2826">
                  <c:v>4.391</c:v>
                </c:pt>
                <c:pt idx="2827">
                  <c:v>4.2990000000000004</c:v>
                </c:pt>
                <c:pt idx="2828">
                  <c:v>3.7969999999999997</c:v>
                </c:pt>
                <c:pt idx="2829">
                  <c:v>3.2649999999999997</c:v>
                </c:pt>
                <c:pt idx="2830">
                  <c:v>3.1079999999999997</c:v>
                </c:pt>
                <c:pt idx="2831">
                  <c:v>3.3609999999999998</c:v>
                </c:pt>
                <c:pt idx="2832">
                  <c:v>2.8440000000000003</c:v>
                </c:pt>
                <c:pt idx="2833">
                  <c:v>2.988</c:v>
                </c:pt>
                <c:pt idx="2834">
                  <c:v>2.9859999999999998</c:v>
                </c:pt>
                <c:pt idx="2835">
                  <c:v>3.016</c:v>
                </c:pt>
                <c:pt idx="2836">
                  <c:v>3.0579999999999998</c:v>
                </c:pt>
                <c:pt idx="2837">
                  <c:v>3.246</c:v>
                </c:pt>
                <c:pt idx="2838">
                  <c:v>3.3719999999999999</c:v>
                </c:pt>
                <c:pt idx="2839">
                  <c:v>3.2689999999999997</c:v>
                </c:pt>
                <c:pt idx="2840">
                  <c:v>3.2560000000000002</c:v>
                </c:pt>
                <c:pt idx="2841">
                  <c:v>2.8809999999999998</c:v>
                </c:pt>
                <c:pt idx="2842">
                  <c:v>2.6819999999999999</c:v>
                </c:pt>
                <c:pt idx="2843">
                  <c:v>2.5430000000000001</c:v>
                </c:pt>
                <c:pt idx="2844">
                  <c:v>2.3090000000000002</c:v>
                </c:pt>
                <c:pt idx="2845">
                  <c:v>2.524</c:v>
                </c:pt>
                <c:pt idx="2846">
                  <c:v>2.504</c:v>
                </c:pt>
                <c:pt idx="2847">
                  <c:v>2.746</c:v>
                </c:pt>
                <c:pt idx="2848">
                  <c:v>2.919</c:v>
                </c:pt>
                <c:pt idx="2849">
                  <c:v>3.254</c:v>
                </c:pt>
                <c:pt idx="2850">
                  <c:v>3.4929999999999999</c:v>
                </c:pt>
                <c:pt idx="2851">
                  <c:v>3.4790000000000001</c:v>
                </c:pt>
                <c:pt idx="2852">
                  <c:v>3.4899999999999998</c:v>
                </c:pt>
                <c:pt idx="2853">
                  <c:v>3.2930000000000001</c:v>
                </c:pt>
                <c:pt idx="2854">
                  <c:v>3.0469999999999997</c:v>
                </c:pt>
                <c:pt idx="2855">
                  <c:v>2.9289999999999998</c:v>
                </c:pt>
                <c:pt idx="2856">
                  <c:v>2.6019999999999999</c:v>
                </c:pt>
                <c:pt idx="2857">
                  <c:v>2.206</c:v>
                </c:pt>
                <c:pt idx="2858">
                  <c:v>1.3130000000000002</c:v>
                </c:pt>
                <c:pt idx="2859">
                  <c:v>0.96300000000000008</c:v>
                </c:pt>
                <c:pt idx="2860">
                  <c:v>1.006</c:v>
                </c:pt>
                <c:pt idx="2861">
                  <c:v>1.6800000000000002</c:v>
                </c:pt>
                <c:pt idx="2862">
                  <c:v>0.96</c:v>
                </c:pt>
                <c:pt idx="2863">
                  <c:v>0.95600000000000007</c:v>
                </c:pt>
                <c:pt idx="2864">
                  <c:v>0.87100000000000011</c:v>
                </c:pt>
                <c:pt idx="2865">
                  <c:v>0.32300000000000001</c:v>
                </c:pt>
                <c:pt idx="2866">
                  <c:v>-0.19</c:v>
                </c:pt>
                <c:pt idx="2867">
                  <c:v>-0.11799999999999999</c:v>
                </c:pt>
                <c:pt idx="2868">
                  <c:v>-7.0010000000000003</c:v>
                </c:pt>
                <c:pt idx="2869">
                  <c:v>-7.492</c:v>
                </c:pt>
                <c:pt idx="2870">
                  <c:v>-7.1959999999999997</c:v>
                </c:pt>
                <c:pt idx="2871">
                  <c:v>-4.9969999999999999</c:v>
                </c:pt>
                <c:pt idx="2872">
                  <c:v>-0.6</c:v>
                </c:pt>
                <c:pt idx="2873">
                  <c:v>-0.121</c:v>
                </c:pt>
                <c:pt idx="2874">
                  <c:v>0.8859999999999999</c:v>
                </c:pt>
                <c:pt idx="2875">
                  <c:v>1.008</c:v>
                </c:pt>
                <c:pt idx="2876">
                  <c:v>0.8869999999999999</c:v>
                </c:pt>
                <c:pt idx="2877">
                  <c:v>-5.4000000000000006E-2</c:v>
                </c:pt>
                <c:pt idx="2878">
                  <c:v>-7.0010000000000003</c:v>
                </c:pt>
                <c:pt idx="2879">
                  <c:v>-2.694</c:v>
                </c:pt>
                <c:pt idx="2880">
                  <c:v>-2.5</c:v>
                </c:pt>
                <c:pt idx="2881">
                  <c:v>-3.0110000000000001</c:v>
                </c:pt>
                <c:pt idx="2882">
                  <c:v>-3.0030000000000001</c:v>
                </c:pt>
                <c:pt idx="2883">
                  <c:v>-2.4899999999999998</c:v>
                </c:pt>
                <c:pt idx="2884">
                  <c:v>-3.0049999999999999</c:v>
                </c:pt>
                <c:pt idx="2885">
                  <c:v>-6.2949999999999999</c:v>
                </c:pt>
                <c:pt idx="2886">
                  <c:v>-5.3849999999999998</c:v>
                </c:pt>
                <c:pt idx="2887">
                  <c:v>-6.702</c:v>
                </c:pt>
                <c:pt idx="2888">
                  <c:v>-6.5</c:v>
                </c:pt>
                <c:pt idx="2889">
                  <c:v>-6.7080000000000002</c:v>
                </c:pt>
                <c:pt idx="2890">
                  <c:v>-6.6849999999999996</c:v>
                </c:pt>
                <c:pt idx="2891">
                  <c:v>-6.0389999999999997</c:v>
                </c:pt>
                <c:pt idx="2892">
                  <c:v>-6.1139999999999999</c:v>
                </c:pt>
                <c:pt idx="2893">
                  <c:v>-2.722</c:v>
                </c:pt>
                <c:pt idx="2894">
                  <c:v>-1.2010000000000001</c:v>
                </c:pt>
                <c:pt idx="2895">
                  <c:v>-0.12</c:v>
                </c:pt>
                <c:pt idx="2896">
                  <c:v>0.74199999999999999</c:v>
                </c:pt>
                <c:pt idx="2897">
                  <c:v>1.401</c:v>
                </c:pt>
                <c:pt idx="2898">
                  <c:v>2.5780000000000003</c:v>
                </c:pt>
                <c:pt idx="2899">
                  <c:v>2.4899999999999998</c:v>
                </c:pt>
                <c:pt idx="2900">
                  <c:v>2.298</c:v>
                </c:pt>
                <c:pt idx="2901">
                  <c:v>2.2090000000000001</c:v>
                </c:pt>
                <c:pt idx="2902">
                  <c:v>1.2050000000000001</c:v>
                </c:pt>
                <c:pt idx="2903">
                  <c:v>1.347</c:v>
                </c:pt>
                <c:pt idx="2904">
                  <c:v>1.2010000000000001</c:v>
                </c:pt>
                <c:pt idx="2905">
                  <c:v>1.0409999999999999</c:v>
                </c:pt>
                <c:pt idx="2906">
                  <c:v>1.2029999999999998</c:v>
                </c:pt>
                <c:pt idx="2907">
                  <c:v>0.96899999999999997</c:v>
                </c:pt>
                <c:pt idx="2908">
                  <c:v>2.5030000000000001</c:v>
                </c:pt>
                <c:pt idx="2909">
                  <c:v>3.3950000000000005</c:v>
                </c:pt>
                <c:pt idx="2910">
                  <c:v>3.8969999999999998</c:v>
                </c:pt>
                <c:pt idx="2911">
                  <c:v>3.9979999999999998</c:v>
                </c:pt>
                <c:pt idx="2912">
                  <c:v>3.5840000000000005</c:v>
                </c:pt>
                <c:pt idx="2913">
                  <c:v>3.4850000000000003</c:v>
                </c:pt>
                <c:pt idx="2914">
                  <c:v>3.347</c:v>
                </c:pt>
                <c:pt idx="2915">
                  <c:v>3.1040000000000001</c:v>
                </c:pt>
                <c:pt idx="2916">
                  <c:v>3.0780000000000003</c:v>
                </c:pt>
                <c:pt idx="2917">
                  <c:v>3.04</c:v>
                </c:pt>
                <c:pt idx="2918">
                  <c:v>3.0409999999999999</c:v>
                </c:pt>
                <c:pt idx="2919">
                  <c:v>3.0430000000000001</c:v>
                </c:pt>
                <c:pt idx="2920">
                  <c:v>3.1019999999999999</c:v>
                </c:pt>
                <c:pt idx="2921">
                  <c:v>3.4969999999999999</c:v>
                </c:pt>
                <c:pt idx="2922">
                  <c:v>3.8520000000000003</c:v>
                </c:pt>
                <c:pt idx="2923">
                  <c:v>3.8570000000000002</c:v>
                </c:pt>
                <c:pt idx="2924">
                  <c:v>3.5229999999999997</c:v>
                </c:pt>
                <c:pt idx="2925">
                  <c:v>3.3340000000000005</c:v>
                </c:pt>
                <c:pt idx="2926">
                  <c:v>2.8460000000000001</c:v>
                </c:pt>
                <c:pt idx="2927">
                  <c:v>2.859</c:v>
                </c:pt>
                <c:pt idx="2928">
                  <c:v>2.7429999999999999</c:v>
                </c:pt>
                <c:pt idx="2929">
                  <c:v>2.7480000000000002</c:v>
                </c:pt>
                <c:pt idx="2930">
                  <c:v>2.85</c:v>
                </c:pt>
                <c:pt idx="2931">
                  <c:v>3.0350000000000001</c:v>
                </c:pt>
                <c:pt idx="2932">
                  <c:v>3.1949999999999998</c:v>
                </c:pt>
                <c:pt idx="2933">
                  <c:v>3.9509999999999996</c:v>
                </c:pt>
                <c:pt idx="2934">
                  <c:v>4.4990000000000006</c:v>
                </c:pt>
                <c:pt idx="2935">
                  <c:v>4.5</c:v>
                </c:pt>
                <c:pt idx="2936">
                  <c:v>3.9729999999999999</c:v>
                </c:pt>
                <c:pt idx="2937">
                  <c:v>3.8969999999999998</c:v>
                </c:pt>
                <c:pt idx="2938">
                  <c:v>3.8479999999999999</c:v>
                </c:pt>
                <c:pt idx="2939">
                  <c:v>3.4270000000000005</c:v>
                </c:pt>
                <c:pt idx="2940">
                  <c:v>3.3939999999999997</c:v>
                </c:pt>
                <c:pt idx="2941">
                  <c:v>3.4009999999999998</c:v>
                </c:pt>
                <c:pt idx="2942">
                  <c:v>3.2829999999999999</c:v>
                </c:pt>
                <c:pt idx="2943">
                  <c:v>3.1789999999999998</c:v>
                </c:pt>
                <c:pt idx="2944">
                  <c:v>3.2429999999999999</c:v>
                </c:pt>
                <c:pt idx="2945">
                  <c:v>3.4899999999999998</c:v>
                </c:pt>
                <c:pt idx="2946">
                  <c:v>3.7659999999999996</c:v>
                </c:pt>
                <c:pt idx="2947">
                  <c:v>3.8939999999999997</c:v>
                </c:pt>
                <c:pt idx="2948">
                  <c:v>3.6970000000000001</c:v>
                </c:pt>
                <c:pt idx="2949">
                  <c:v>3.052</c:v>
                </c:pt>
                <c:pt idx="2950">
                  <c:v>2.8600000000000003</c:v>
                </c:pt>
                <c:pt idx="2951">
                  <c:v>2.6909999999999998</c:v>
                </c:pt>
                <c:pt idx="2952">
                  <c:v>2.6260000000000003</c:v>
                </c:pt>
                <c:pt idx="2953">
                  <c:v>2.4569999999999999</c:v>
                </c:pt>
                <c:pt idx="2954">
                  <c:v>2.4820000000000002</c:v>
                </c:pt>
                <c:pt idx="2955">
                  <c:v>2.58</c:v>
                </c:pt>
                <c:pt idx="2956">
                  <c:v>2.7570000000000001</c:v>
                </c:pt>
                <c:pt idx="2957">
                  <c:v>3.3229999999999995</c:v>
                </c:pt>
                <c:pt idx="2958">
                  <c:v>3.8939999999999997</c:v>
                </c:pt>
                <c:pt idx="2959">
                  <c:v>3.9909999999999997</c:v>
                </c:pt>
                <c:pt idx="2960">
                  <c:v>3.9140000000000001</c:v>
                </c:pt>
                <c:pt idx="2961">
                  <c:v>3.8939999999999997</c:v>
                </c:pt>
                <c:pt idx="2962">
                  <c:v>3.8950000000000005</c:v>
                </c:pt>
                <c:pt idx="2963">
                  <c:v>3.4170000000000003</c:v>
                </c:pt>
                <c:pt idx="2964">
                  <c:v>3.194</c:v>
                </c:pt>
                <c:pt idx="2965">
                  <c:v>3.0460000000000003</c:v>
                </c:pt>
                <c:pt idx="2966">
                  <c:v>3.04</c:v>
                </c:pt>
                <c:pt idx="2967">
                  <c:v>2.9790000000000001</c:v>
                </c:pt>
                <c:pt idx="2968">
                  <c:v>3.44</c:v>
                </c:pt>
                <c:pt idx="2969">
                  <c:v>3.6970000000000001</c:v>
                </c:pt>
                <c:pt idx="2970">
                  <c:v>3.8969999999999998</c:v>
                </c:pt>
                <c:pt idx="2971">
                  <c:v>3.8950000000000005</c:v>
                </c:pt>
                <c:pt idx="2972">
                  <c:v>3.6539999999999999</c:v>
                </c:pt>
                <c:pt idx="2973">
                  <c:v>3.2229999999999999</c:v>
                </c:pt>
                <c:pt idx="2974">
                  <c:v>2.6970000000000001</c:v>
                </c:pt>
                <c:pt idx="2975">
                  <c:v>2.8969999999999998</c:v>
                </c:pt>
                <c:pt idx="2976">
                  <c:v>2.8820000000000001</c:v>
                </c:pt>
                <c:pt idx="2977">
                  <c:v>2.8420000000000001</c:v>
                </c:pt>
                <c:pt idx="2978">
                  <c:v>2.8609999999999998</c:v>
                </c:pt>
                <c:pt idx="2979">
                  <c:v>2.94</c:v>
                </c:pt>
                <c:pt idx="2980">
                  <c:v>3.0989999999999998</c:v>
                </c:pt>
                <c:pt idx="2981">
                  <c:v>3.7170000000000001</c:v>
                </c:pt>
                <c:pt idx="2982">
                  <c:v>4.3819999999999997</c:v>
                </c:pt>
                <c:pt idx="2983">
                  <c:v>4.8979999999999997</c:v>
                </c:pt>
                <c:pt idx="2984">
                  <c:v>4.9909999999999997</c:v>
                </c:pt>
                <c:pt idx="2985">
                  <c:v>4.79</c:v>
                </c:pt>
                <c:pt idx="2986">
                  <c:v>4.6379999999999999</c:v>
                </c:pt>
                <c:pt idx="2987">
                  <c:v>4.2</c:v>
                </c:pt>
                <c:pt idx="2988">
                  <c:v>4.0090000000000003</c:v>
                </c:pt>
                <c:pt idx="2989">
                  <c:v>3.6970000000000001</c:v>
                </c:pt>
                <c:pt idx="2990">
                  <c:v>3.5369999999999999</c:v>
                </c:pt>
                <c:pt idx="2991">
                  <c:v>3.4899999999999998</c:v>
                </c:pt>
                <c:pt idx="2992">
                  <c:v>3.7670000000000003</c:v>
                </c:pt>
                <c:pt idx="2993">
                  <c:v>4.0329999999999995</c:v>
                </c:pt>
                <c:pt idx="2994">
                  <c:v>4.2090000000000005</c:v>
                </c:pt>
                <c:pt idx="2995">
                  <c:v>4.1159999999999997</c:v>
                </c:pt>
                <c:pt idx="2996">
                  <c:v>3.8979999999999997</c:v>
                </c:pt>
                <c:pt idx="2997">
                  <c:v>3.9270000000000005</c:v>
                </c:pt>
                <c:pt idx="2998">
                  <c:v>3.4899999999999998</c:v>
                </c:pt>
                <c:pt idx="2999">
                  <c:v>3.7039999999999997</c:v>
                </c:pt>
                <c:pt idx="3000">
                  <c:v>3.2469999999999999</c:v>
                </c:pt>
                <c:pt idx="3001">
                  <c:v>3.1040000000000001</c:v>
                </c:pt>
                <c:pt idx="3002">
                  <c:v>3.0710000000000002</c:v>
                </c:pt>
                <c:pt idx="3003">
                  <c:v>3.0569999999999999</c:v>
                </c:pt>
                <c:pt idx="3004">
                  <c:v>3.0859999999999999</c:v>
                </c:pt>
                <c:pt idx="3005">
                  <c:v>3.0920000000000001</c:v>
                </c:pt>
                <c:pt idx="3006">
                  <c:v>3.1139999999999999</c:v>
                </c:pt>
                <c:pt idx="3007">
                  <c:v>3.3920000000000003</c:v>
                </c:pt>
                <c:pt idx="3008">
                  <c:v>3.306</c:v>
                </c:pt>
                <c:pt idx="3009">
                  <c:v>3.153</c:v>
                </c:pt>
                <c:pt idx="3010">
                  <c:v>3.0640000000000001</c:v>
                </c:pt>
                <c:pt idx="3011">
                  <c:v>3.0789999999999997</c:v>
                </c:pt>
                <c:pt idx="3012">
                  <c:v>3.0100000000000002</c:v>
                </c:pt>
                <c:pt idx="3013">
                  <c:v>2.96</c:v>
                </c:pt>
                <c:pt idx="3014">
                  <c:v>2.8929999999999998</c:v>
                </c:pt>
                <c:pt idx="3015">
                  <c:v>2.8280000000000003</c:v>
                </c:pt>
                <c:pt idx="3016">
                  <c:v>3.1019999999999999</c:v>
                </c:pt>
                <c:pt idx="3017">
                  <c:v>3.3820000000000001</c:v>
                </c:pt>
                <c:pt idx="3018">
                  <c:v>3.7939999999999996</c:v>
                </c:pt>
                <c:pt idx="3019">
                  <c:v>3.9899999999999998</c:v>
                </c:pt>
                <c:pt idx="3020">
                  <c:v>3.95</c:v>
                </c:pt>
                <c:pt idx="3021">
                  <c:v>3.8920000000000003</c:v>
                </c:pt>
                <c:pt idx="3022">
                  <c:v>3.3929999999999998</c:v>
                </c:pt>
                <c:pt idx="3023">
                  <c:v>2.831</c:v>
                </c:pt>
                <c:pt idx="3024">
                  <c:v>2.673</c:v>
                </c:pt>
                <c:pt idx="3025">
                  <c:v>2.6480000000000001</c:v>
                </c:pt>
                <c:pt idx="3026">
                  <c:v>2.617</c:v>
                </c:pt>
                <c:pt idx="3027">
                  <c:v>2.6829999999999998</c:v>
                </c:pt>
                <c:pt idx="3028">
                  <c:v>2.625</c:v>
                </c:pt>
                <c:pt idx="3029">
                  <c:v>2.5430000000000001</c:v>
                </c:pt>
                <c:pt idx="3030">
                  <c:v>2.6659999999999999</c:v>
                </c:pt>
                <c:pt idx="3031">
                  <c:v>2.8660000000000001</c:v>
                </c:pt>
                <c:pt idx="3032">
                  <c:v>3.0059999999999998</c:v>
                </c:pt>
                <c:pt idx="3033">
                  <c:v>3.0329999999999999</c:v>
                </c:pt>
                <c:pt idx="3034">
                  <c:v>3.0179999999999998</c:v>
                </c:pt>
                <c:pt idx="3035">
                  <c:v>2.95</c:v>
                </c:pt>
                <c:pt idx="3036">
                  <c:v>2.706</c:v>
                </c:pt>
                <c:pt idx="3037">
                  <c:v>2.4</c:v>
                </c:pt>
                <c:pt idx="3038">
                  <c:v>2.415</c:v>
                </c:pt>
                <c:pt idx="3039">
                  <c:v>2.5510000000000002</c:v>
                </c:pt>
                <c:pt idx="3040">
                  <c:v>2.7399999999999998</c:v>
                </c:pt>
                <c:pt idx="3041">
                  <c:v>2.98</c:v>
                </c:pt>
                <c:pt idx="3042">
                  <c:v>3.1179999999999999</c:v>
                </c:pt>
                <c:pt idx="3043">
                  <c:v>3.2130000000000001</c:v>
                </c:pt>
                <c:pt idx="3044">
                  <c:v>3.2009999999999996</c:v>
                </c:pt>
                <c:pt idx="3045">
                  <c:v>3.1260000000000003</c:v>
                </c:pt>
                <c:pt idx="3046">
                  <c:v>2.7</c:v>
                </c:pt>
                <c:pt idx="3047">
                  <c:v>2.7480000000000002</c:v>
                </c:pt>
                <c:pt idx="3048">
                  <c:v>2.6100000000000003</c:v>
                </c:pt>
                <c:pt idx="3049">
                  <c:v>2.581</c:v>
                </c:pt>
                <c:pt idx="3050">
                  <c:v>2.4729999999999999</c:v>
                </c:pt>
                <c:pt idx="3051">
                  <c:v>2.5140000000000002</c:v>
                </c:pt>
                <c:pt idx="3052">
                  <c:v>2.7909999999999999</c:v>
                </c:pt>
                <c:pt idx="3053">
                  <c:v>3.2</c:v>
                </c:pt>
                <c:pt idx="3054">
                  <c:v>3.6060000000000003</c:v>
                </c:pt>
                <c:pt idx="3055">
                  <c:v>4.0020000000000007</c:v>
                </c:pt>
                <c:pt idx="3056">
                  <c:v>3.9929999999999999</c:v>
                </c:pt>
                <c:pt idx="3057">
                  <c:v>3.8969999999999998</c:v>
                </c:pt>
                <c:pt idx="3058">
                  <c:v>3.9979999999999998</c:v>
                </c:pt>
                <c:pt idx="3059">
                  <c:v>4.0549999999999997</c:v>
                </c:pt>
                <c:pt idx="3060">
                  <c:v>3.6740000000000004</c:v>
                </c:pt>
                <c:pt idx="3061">
                  <c:v>3.2060000000000004</c:v>
                </c:pt>
                <c:pt idx="3062">
                  <c:v>3.1440000000000001</c:v>
                </c:pt>
                <c:pt idx="3063">
                  <c:v>3.105</c:v>
                </c:pt>
                <c:pt idx="3064">
                  <c:v>3.2409999999999997</c:v>
                </c:pt>
                <c:pt idx="3065">
                  <c:v>3.4</c:v>
                </c:pt>
                <c:pt idx="3066">
                  <c:v>3.88</c:v>
                </c:pt>
                <c:pt idx="3067">
                  <c:v>3.7619999999999996</c:v>
                </c:pt>
                <c:pt idx="3068">
                  <c:v>3.7990000000000004</c:v>
                </c:pt>
                <c:pt idx="3069">
                  <c:v>3.5070000000000001</c:v>
                </c:pt>
                <c:pt idx="3070">
                  <c:v>3.2439999999999998</c:v>
                </c:pt>
                <c:pt idx="3071">
                  <c:v>3.081</c:v>
                </c:pt>
                <c:pt idx="3072">
                  <c:v>3.056</c:v>
                </c:pt>
                <c:pt idx="3073">
                  <c:v>2.95</c:v>
                </c:pt>
                <c:pt idx="3074">
                  <c:v>2.8940000000000001</c:v>
                </c:pt>
                <c:pt idx="3075">
                  <c:v>2.9899999999999998</c:v>
                </c:pt>
                <c:pt idx="3076">
                  <c:v>3.2069999999999999</c:v>
                </c:pt>
                <c:pt idx="3077">
                  <c:v>4.2829999999999995</c:v>
                </c:pt>
                <c:pt idx="3078">
                  <c:v>5.0449999999999999</c:v>
                </c:pt>
                <c:pt idx="3079">
                  <c:v>5.4990000000000006</c:v>
                </c:pt>
                <c:pt idx="3080">
                  <c:v>4.8650000000000002</c:v>
                </c:pt>
                <c:pt idx="3081">
                  <c:v>4.4749999999999996</c:v>
                </c:pt>
                <c:pt idx="3082">
                  <c:v>4.383</c:v>
                </c:pt>
                <c:pt idx="3083">
                  <c:v>4.0630000000000006</c:v>
                </c:pt>
                <c:pt idx="3084">
                  <c:v>3.8</c:v>
                </c:pt>
                <c:pt idx="3085">
                  <c:v>3.5569999999999999</c:v>
                </c:pt>
                <c:pt idx="3086">
                  <c:v>3.62</c:v>
                </c:pt>
                <c:pt idx="3087">
                  <c:v>3.444</c:v>
                </c:pt>
                <c:pt idx="3088">
                  <c:v>3.964</c:v>
                </c:pt>
                <c:pt idx="3089">
                  <c:v>4.49</c:v>
                </c:pt>
                <c:pt idx="3090">
                  <c:v>4.7450000000000001</c:v>
                </c:pt>
                <c:pt idx="3091">
                  <c:v>4.9119999999999999</c:v>
                </c:pt>
                <c:pt idx="3092">
                  <c:v>4.6929999999999996</c:v>
                </c:pt>
                <c:pt idx="3093">
                  <c:v>3.9899999999999998</c:v>
                </c:pt>
                <c:pt idx="3094">
                  <c:v>3.4060000000000001</c:v>
                </c:pt>
                <c:pt idx="3095">
                  <c:v>3.2060000000000004</c:v>
                </c:pt>
                <c:pt idx="3096">
                  <c:v>3.0989999999999998</c:v>
                </c:pt>
                <c:pt idx="3097">
                  <c:v>3.0750000000000002</c:v>
                </c:pt>
                <c:pt idx="3098">
                  <c:v>3.0720000000000001</c:v>
                </c:pt>
                <c:pt idx="3099">
                  <c:v>3.1030000000000002</c:v>
                </c:pt>
                <c:pt idx="3100">
                  <c:v>3.3109999999999999</c:v>
                </c:pt>
                <c:pt idx="3101">
                  <c:v>4.2039999999999997</c:v>
                </c:pt>
                <c:pt idx="3102">
                  <c:v>4.9979999999999993</c:v>
                </c:pt>
                <c:pt idx="3103">
                  <c:v>4.907</c:v>
                </c:pt>
                <c:pt idx="3104">
                  <c:v>4.3860000000000001</c:v>
                </c:pt>
                <c:pt idx="3105">
                  <c:v>3.9159999999999995</c:v>
                </c:pt>
                <c:pt idx="3106">
                  <c:v>3.9219999999999997</c:v>
                </c:pt>
                <c:pt idx="3107">
                  <c:v>3.6130000000000004</c:v>
                </c:pt>
                <c:pt idx="3108">
                  <c:v>3.6119999999999997</c:v>
                </c:pt>
                <c:pt idx="3109">
                  <c:v>3.4520000000000004</c:v>
                </c:pt>
                <c:pt idx="3110">
                  <c:v>3.4119999999999999</c:v>
                </c:pt>
                <c:pt idx="3111">
                  <c:v>3.5009999999999999</c:v>
                </c:pt>
                <c:pt idx="3112">
                  <c:v>4.1079999999999997</c:v>
                </c:pt>
                <c:pt idx="3113">
                  <c:v>4.4009999999999998</c:v>
                </c:pt>
                <c:pt idx="3114">
                  <c:v>4.8040000000000003</c:v>
                </c:pt>
                <c:pt idx="3115">
                  <c:v>4.7350000000000003</c:v>
                </c:pt>
                <c:pt idx="3116">
                  <c:v>4.8040000000000003</c:v>
                </c:pt>
                <c:pt idx="3117">
                  <c:v>4.2939999999999996</c:v>
                </c:pt>
                <c:pt idx="3118">
                  <c:v>3.2600000000000002</c:v>
                </c:pt>
                <c:pt idx="3119">
                  <c:v>3.1160000000000001</c:v>
                </c:pt>
                <c:pt idx="3120">
                  <c:v>3.0409999999999999</c:v>
                </c:pt>
                <c:pt idx="3121">
                  <c:v>2.95</c:v>
                </c:pt>
                <c:pt idx="3122">
                  <c:v>2.9170000000000003</c:v>
                </c:pt>
                <c:pt idx="3123">
                  <c:v>2.9590000000000001</c:v>
                </c:pt>
                <c:pt idx="3124">
                  <c:v>3.089</c:v>
                </c:pt>
                <c:pt idx="3125">
                  <c:v>3.4909999999999997</c:v>
                </c:pt>
                <c:pt idx="3126">
                  <c:v>4.3100000000000005</c:v>
                </c:pt>
                <c:pt idx="3127">
                  <c:v>4.4489999999999998</c:v>
                </c:pt>
                <c:pt idx="3128">
                  <c:v>4.1929999999999996</c:v>
                </c:pt>
                <c:pt idx="3129">
                  <c:v>3.8540000000000001</c:v>
                </c:pt>
                <c:pt idx="3130">
                  <c:v>3.7469999999999999</c:v>
                </c:pt>
                <c:pt idx="3131">
                  <c:v>3.532</c:v>
                </c:pt>
                <c:pt idx="3132">
                  <c:v>3.4380000000000002</c:v>
                </c:pt>
                <c:pt idx="3133">
                  <c:v>3.2640000000000002</c:v>
                </c:pt>
                <c:pt idx="3134">
                  <c:v>3.3820000000000001</c:v>
                </c:pt>
                <c:pt idx="3135">
                  <c:v>3.319</c:v>
                </c:pt>
                <c:pt idx="3136">
                  <c:v>3.4799999999999995</c:v>
                </c:pt>
                <c:pt idx="3137">
                  <c:v>3.5750000000000002</c:v>
                </c:pt>
                <c:pt idx="3138">
                  <c:v>3.4939999999999998</c:v>
                </c:pt>
                <c:pt idx="3139">
                  <c:v>3.3109999999999999</c:v>
                </c:pt>
                <c:pt idx="3140">
                  <c:v>3.15</c:v>
                </c:pt>
                <c:pt idx="3141">
                  <c:v>2.7600000000000002</c:v>
                </c:pt>
                <c:pt idx="3142">
                  <c:v>2.601</c:v>
                </c:pt>
                <c:pt idx="3143">
                  <c:v>2.605</c:v>
                </c:pt>
                <c:pt idx="3144">
                  <c:v>2.7229999999999999</c:v>
                </c:pt>
                <c:pt idx="3145">
                  <c:v>2.7290000000000001</c:v>
                </c:pt>
                <c:pt idx="3146">
                  <c:v>2.7269999999999999</c:v>
                </c:pt>
                <c:pt idx="3147">
                  <c:v>2.7079999999999997</c:v>
                </c:pt>
                <c:pt idx="3148">
                  <c:v>2.9</c:v>
                </c:pt>
                <c:pt idx="3149">
                  <c:v>3.4369999999999998</c:v>
                </c:pt>
                <c:pt idx="3150">
                  <c:v>4.1950000000000003</c:v>
                </c:pt>
                <c:pt idx="3151">
                  <c:v>4.391</c:v>
                </c:pt>
                <c:pt idx="3152">
                  <c:v>4.2</c:v>
                </c:pt>
                <c:pt idx="3153">
                  <c:v>4.2949999999999999</c:v>
                </c:pt>
                <c:pt idx="3154">
                  <c:v>4.202</c:v>
                </c:pt>
                <c:pt idx="3155">
                  <c:v>3.6030000000000002</c:v>
                </c:pt>
                <c:pt idx="3156">
                  <c:v>3.1619999999999999</c:v>
                </c:pt>
                <c:pt idx="3157">
                  <c:v>3.0859999999999999</c:v>
                </c:pt>
                <c:pt idx="3158">
                  <c:v>3.0449999999999999</c:v>
                </c:pt>
                <c:pt idx="3159">
                  <c:v>3.1379999999999999</c:v>
                </c:pt>
                <c:pt idx="3160">
                  <c:v>3.6459999999999999</c:v>
                </c:pt>
                <c:pt idx="3161">
                  <c:v>4.0649999999999995</c:v>
                </c:pt>
                <c:pt idx="3162">
                  <c:v>4.2</c:v>
                </c:pt>
                <c:pt idx="3163">
                  <c:v>4.2619999999999996</c:v>
                </c:pt>
                <c:pt idx="3164">
                  <c:v>4.2930000000000001</c:v>
                </c:pt>
                <c:pt idx="3165">
                  <c:v>4.2930000000000001</c:v>
                </c:pt>
                <c:pt idx="3166">
                  <c:v>3.5909999999999997</c:v>
                </c:pt>
                <c:pt idx="3167">
                  <c:v>2.9899999999999998</c:v>
                </c:pt>
                <c:pt idx="3168">
                  <c:v>2.9660000000000002</c:v>
                </c:pt>
                <c:pt idx="3169">
                  <c:v>2.9050000000000002</c:v>
                </c:pt>
                <c:pt idx="3170">
                  <c:v>2.8519999999999999</c:v>
                </c:pt>
                <c:pt idx="3171">
                  <c:v>2.8120000000000003</c:v>
                </c:pt>
                <c:pt idx="3172">
                  <c:v>2.8730000000000002</c:v>
                </c:pt>
                <c:pt idx="3173">
                  <c:v>2.9050000000000002</c:v>
                </c:pt>
                <c:pt idx="3174">
                  <c:v>3.0910000000000002</c:v>
                </c:pt>
                <c:pt idx="3175">
                  <c:v>3.5020000000000002</c:v>
                </c:pt>
                <c:pt idx="3176">
                  <c:v>3.5450000000000004</c:v>
                </c:pt>
                <c:pt idx="3177">
                  <c:v>3.2</c:v>
                </c:pt>
                <c:pt idx="3178">
                  <c:v>3.1040000000000001</c:v>
                </c:pt>
                <c:pt idx="3179">
                  <c:v>3.028</c:v>
                </c:pt>
                <c:pt idx="3180">
                  <c:v>2.875</c:v>
                </c:pt>
                <c:pt idx="3181">
                  <c:v>2.7090000000000001</c:v>
                </c:pt>
                <c:pt idx="3182">
                  <c:v>2.7069999999999999</c:v>
                </c:pt>
                <c:pt idx="3183">
                  <c:v>2.7440000000000002</c:v>
                </c:pt>
                <c:pt idx="3184">
                  <c:v>2.9899999999999998</c:v>
                </c:pt>
                <c:pt idx="3185">
                  <c:v>3.4790000000000001</c:v>
                </c:pt>
                <c:pt idx="3186">
                  <c:v>4</c:v>
                </c:pt>
                <c:pt idx="3187">
                  <c:v>4.1909999999999998</c:v>
                </c:pt>
                <c:pt idx="3188">
                  <c:v>4.1880000000000006</c:v>
                </c:pt>
                <c:pt idx="3189">
                  <c:v>4</c:v>
                </c:pt>
                <c:pt idx="3190">
                  <c:v>3.1079999999999997</c:v>
                </c:pt>
                <c:pt idx="3191">
                  <c:v>2.766</c:v>
                </c:pt>
                <c:pt idx="3192">
                  <c:v>2.6539999999999999</c:v>
                </c:pt>
                <c:pt idx="3193">
                  <c:v>2.5649999999999999</c:v>
                </c:pt>
                <c:pt idx="3194">
                  <c:v>2.5629999999999997</c:v>
                </c:pt>
                <c:pt idx="3195">
                  <c:v>2.52</c:v>
                </c:pt>
                <c:pt idx="3196">
                  <c:v>2.5</c:v>
                </c:pt>
                <c:pt idx="3197">
                  <c:v>2.556</c:v>
                </c:pt>
                <c:pt idx="3198">
                  <c:v>2.5460000000000003</c:v>
                </c:pt>
                <c:pt idx="3199">
                  <c:v>2.5339999999999998</c:v>
                </c:pt>
                <c:pt idx="3200">
                  <c:v>2.6040000000000001</c:v>
                </c:pt>
                <c:pt idx="3201">
                  <c:v>2.504</c:v>
                </c:pt>
                <c:pt idx="3202">
                  <c:v>2.6480000000000001</c:v>
                </c:pt>
                <c:pt idx="3203">
                  <c:v>2.702</c:v>
                </c:pt>
                <c:pt idx="3204">
                  <c:v>2.4300000000000002</c:v>
                </c:pt>
                <c:pt idx="3205">
                  <c:v>2.1059999999999999</c:v>
                </c:pt>
                <c:pt idx="3206">
                  <c:v>2.0989999999999998</c:v>
                </c:pt>
                <c:pt idx="3207">
                  <c:v>2.3899999999999997</c:v>
                </c:pt>
                <c:pt idx="3208">
                  <c:v>2.7629999999999999</c:v>
                </c:pt>
                <c:pt idx="3209">
                  <c:v>3.2069999999999999</c:v>
                </c:pt>
                <c:pt idx="3210">
                  <c:v>3.5960000000000001</c:v>
                </c:pt>
                <c:pt idx="3211">
                  <c:v>3.9549999999999996</c:v>
                </c:pt>
                <c:pt idx="3212">
                  <c:v>4.0990000000000002</c:v>
                </c:pt>
                <c:pt idx="3213">
                  <c:v>3.8170000000000002</c:v>
                </c:pt>
                <c:pt idx="3214">
                  <c:v>3.1459999999999999</c:v>
                </c:pt>
                <c:pt idx="3215">
                  <c:v>3.032</c:v>
                </c:pt>
                <c:pt idx="3216">
                  <c:v>2.7429999999999999</c:v>
                </c:pt>
                <c:pt idx="3217">
                  <c:v>2.718</c:v>
                </c:pt>
                <c:pt idx="3218">
                  <c:v>2.67</c:v>
                </c:pt>
                <c:pt idx="3219">
                  <c:v>2.7160000000000002</c:v>
                </c:pt>
                <c:pt idx="3220">
                  <c:v>2.9769999999999999</c:v>
                </c:pt>
                <c:pt idx="3221">
                  <c:v>3.5380000000000003</c:v>
                </c:pt>
                <c:pt idx="3222">
                  <c:v>4.4020000000000001</c:v>
                </c:pt>
                <c:pt idx="3223">
                  <c:v>4.6100000000000003</c:v>
                </c:pt>
                <c:pt idx="3224">
                  <c:v>4.3950000000000005</c:v>
                </c:pt>
                <c:pt idx="3225">
                  <c:v>4.194</c:v>
                </c:pt>
                <c:pt idx="3226">
                  <c:v>4.0069999999999997</c:v>
                </c:pt>
                <c:pt idx="3227">
                  <c:v>3.5659999999999998</c:v>
                </c:pt>
                <c:pt idx="3228">
                  <c:v>3.504</c:v>
                </c:pt>
                <c:pt idx="3229">
                  <c:v>3.3479999999999999</c:v>
                </c:pt>
                <c:pt idx="3230">
                  <c:v>3.2979999999999996</c:v>
                </c:pt>
                <c:pt idx="3231">
                  <c:v>3.3140000000000001</c:v>
                </c:pt>
                <c:pt idx="3232">
                  <c:v>3.774</c:v>
                </c:pt>
                <c:pt idx="3233">
                  <c:v>4.282</c:v>
                </c:pt>
                <c:pt idx="3234">
                  <c:v>4.5729999999999995</c:v>
                </c:pt>
                <c:pt idx="3235">
                  <c:v>4.42</c:v>
                </c:pt>
                <c:pt idx="3236">
                  <c:v>4.2290000000000001</c:v>
                </c:pt>
                <c:pt idx="3237">
                  <c:v>4.0220000000000002</c:v>
                </c:pt>
                <c:pt idx="3238">
                  <c:v>3.1079999999999997</c:v>
                </c:pt>
                <c:pt idx="3239">
                  <c:v>2.95</c:v>
                </c:pt>
                <c:pt idx="3240">
                  <c:v>2.8010000000000002</c:v>
                </c:pt>
                <c:pt idx="3241">
                  <c:v>2.67</c:v>
                </c:pt>
                <c:pt idx="3242">
                  <c:v>2.653</c:v>
                </c:pt>
                <c:pt idx="3243">
                  <c:v>2.6379999999999999</c:v>
                </c:pt>
                <c:pt idx="3244">
                  <c:v>2.7930000000000001</c:v>
                </c:pt>
                <c:pt idx="3245">
                  <c:v>3.181</c:v>
                </c:pt>
                <c:pt idx="3246">
                  <c:v>3.996</c:v>
                </c:pt>
                <c:pt idx="3247">
                  <c:v>4.1349999999999998</c:v>
                </c:pt>
                <c:pt idx="3248">
                  <c:v>3.8420000000000001</c:v>
                </c:pt>
                <c:pt idx="3249">
                  <c:v>3.4530000000000003</c:v>
                </c:pt>
                <c:pt idx="3250">
                  <c:v>3.4840000000000004</c:v>
                </c:pt>
                <c:pt idx="3251">
                  <c:v>3.1879999999999997</c:v>
                </c:pt>
                <c:pt idx="3252">
                  <c:v>3.1059999999999999</c:v>
                </c:pt>
                <c:pt idx="3253">
                  <c:v>3.1579999999999999</c:v>
                </c:pt>
                <c:pt idx="3254">
                  <c:v>3.2329999999999997</c:v>
                </c:pt>
                <c:pt idx="3255">
                  <c:v>3.4520000000000004</c:v>
                </c:pt>
                <c:pt idx="3256">
                  <c:v>3.7039999999999997</c:v>
                </c:pt>
                <c:pt idx="3257">
                  <c:v>4.0999999999999996</c:v>
                </c:pt>
                <c:pt idx="3258">
                  <c:v>4.2939999999999996</c:v>
                </c:pt>
                <c:pt idx="3259">
                  <c:v>4.2770000000000001</c:v>
                </c:pt>
                <c:pt idx="3260">
                  <c:v>4.1500000000000004</c:v>
                </c:pt>
                <c:pt idx="3261">
                  <c:v>3.7009999999999996</c:v>
                </c:pt>
                <c:pt idx="3262">
                  <c:v>3.1920000000000002</c:v>
                </c:pt>
                <c:pt idx="3263">
                  <c:v>2.9660000000000002</c:v>
                </c:pt>
                <c:pt idx="3264">
                  <c:v>2.77</c:v>
                </c:pt>
                <c:pt idx="3265">
                  <c:v>2.7170000000000001</c:v>
                </c:pt>
                <c:pt idx="3266">
                  <c:v>2.645</c:v>
                </c:pt>
                <c:pt idx="3267">
                  <c:v>2.649</c:v>
                </c:pt>
                <c:pt idx="3268">
                  <c:v>2.758</c:v>
                </c:pt>
                <c:pt idx="3269">
                  <c:v>3.6189999999999998</c:v>
                </c:pt>
                <c:pt idx="3270">
                  <c:v>4.0999999999999996</c:v>
                </c:pt>
                <c:pt idx="3271">
                  <c:v>4.0999999999999996</c:v>
                </c:pt>
                <c:pt idx="3272">
                  <c:v>3.8950000000000005</c:v>
                </c:pt>
                <c:pt idx="3273">
                  <c:v>3.3540000000000001</c:v>
                </c:pt>
                <c:pt idx="3274">
                  <c:v>3.2939999999999996</c:v>
                </c:pt>
                <c:pt idx="3275">
                  <c:v>3.1030000000000002</c:v>
                </c:pt>
                <c:pt idx="3276">
                  <c:v>3.0209999999999999</c:v>
                </c:pt>
                <c:pt idx="3277">
                  <c:v>2.9140000000000001</c:v>
                </c:pt>
                <c:pt idx="3278">
                  <c:v>2.8220000000000001</c:v>
                </c:pt>
                <c:pt idx="3279">
                  <c:v>2.948</c:v>
                </c:pt>
                <c:pt idx="3280">
                  <c:v>3.4770000000000003</c:v>
                </c:pt>
                <c:pt idx="3281">
                  <c:v>3.8340000000000005</c:v>
                </c:pt>
                <c:pt idx="3282">
                  <c:v>4.0979999999999999</c:v>
                </c:pt>
                <c:pt idx="3283">
                  <c:v>3.79</c:v>
                </c:pt>
                <c:pt idx="3284">
                  <c:v>3.4020000000000001</c:v>
                </c:pt>
                <c:pt idx="3285">
                  <c:v>3.101</c:v>
                </c:pt>
                <c:pt idx="3286">
                  <c:v>2.6680000000000001</c:v>
                </c:pt>
                <c:pt idx="3287">
                  <c:v>2.6040000000000001</c:v>
                </c:pt>
                <c:pt idx="3288">
                  <c:v>2.431</c:v>
                </c:pt>
                <c:pt idx="3289">
                  <c:v>2.2429999999999999</c:v>
                </c:pt>
                <c:pt idx="3290">
                  <c:v>2.0680000000000001</c:v>
                </c:pt>
                <c:pt idx="3291">
                  <c:v>2.246</c:v>
                </c:pt>
                <c:pt idx="3292">
                  <c:v>2.6059999999999999</c:v>
                </c:pt>
                <c:pt idx="3293">
                  <c:v>3.2679999999999998</c:v>
                </c:pt>
                <c:pt idx="3294">
                  <c:v>4.04</c:v>
                </c:pt>
                <c:pt idx="3295">
                  <c:v>4.298</c:v>
                </c:pt>
                <c:pt idx="3296">
                  <c:v>3.7930000000000001</c:v>
                </c:pt>
                <c:pt idx="3297">
                  <c:v>3.3140000000000001</c:v>
                </c:pt>
                <c:pt idx="3298">
                  <c:v>3.1749999999999998</c:v>
                </c:pt>
                <c:pt idx="3299">
                  <c:v>3.1019999999999999</c:v>
                </c:pt>
                <c:pt idx="3300">
                  <c:v>2.9989999999999997</c:v>
                </c:pt>
                <c:pt idx="3301">
                  <c:v>3.1</c:v>
                </c:pt>
                <c:pt idx="3302">
                  <c:v>3.0780000000000003</c:v>
                </c:pt>
                <c:pt idx="3303">
                  <c:v>3.6100000000000003</c:v>
                </c:pt>
                <c:pt idx="3304">
                  <c:v>3.7979999999999996</c:v>
                </c:pt>
                <c:pt idx="3305">
                  <c:v>3.9450000000000003</c:v>
                </c:pt>
                <c:pt idx="3306">
                  <c:v>3.9539999999999997</c:v>
                </c:pt>
                <c:pt idx="3307">
                  <c:v>3.9909999999999997</c:v>
                </c:pt>
                <c:pt idx="3308">
                  <c:v>3.8950000000000005</c:v>
                </c:pt>
                <c:pt idx="3309">
                  <c:v>3.786</c:v>
                </c:pt>
                <c:pt idx="3310">
                  <c:v>3.226</c:v>
                </c:pt>
                <c:pt idx="3311">
                  <c:v>3</c:v>
                </c:pt>
                <c:pt idx="3312">
                  <c:v>2.8600000000000003</c:v>
                </c:pt>
                <c:pt idx="3313">
                  <c:v>2.6670000000000003</c:v>
                </c:pt>
                <c:pt idx="3314">
                  <c:v>2.6309999999999998</c:v>
                </c:pt>
                <c:pt idx="3315">
                  <c:v>2.597</c:v>
                </c:pt>
                <c:pt idx="3316">
                  <c:v>2.7600000000000002</c:v>
                </c:pt>
                <c:pt idx="3317">
                  <c:v>3.09</c:v>
                </c:pt>
                <c:pt idx="3318">
                  <c:v>3.9909999999999997</c:v>
                </c:pt>
                <c:pt idx="3319">
                  <c:v>4.1549999999999994</c:v>
                </c:pt>
                <c:pt idx="3320">
                  <c:v>3.9899999999999998</c:v>
                </c:pt>
                <c:pt idx="3321">
                  <c:v>3.8950000000000005</c:v>
                </c:pt>
                <c:pt idx="3322">
                  <c:v>3.9799999999999995</c:v>
                </c:pt>
                <c:pt idx="3323">
                  <c:v>3.7719999999999998</c:v>
                </c:pt>
                <c:pt idx="3324">
                  <c:v>3.6380000000000003</c:v>
                </c:pt>
                <c:pt idx="3325">
                  <c:v>3.5049999999999999</c:v>
                </c:pt>
                <c:pt idx="3326">
                  <c:v>3.4590000000000005</c:v>
                </c:pt>
                <c:pt idx="3327">
                  <c:v>3.1059999999999999</c:v>
                </c:pt>
                <c:pt idx="3328">
                  <c:v>3.601</c:v>
                </c:pt>
                <c:pt idx="3329">
                  <c:v>3.85</c:v>
                </c:pt>
                <c:pt idx="3330">
                  <c:v>3.8969999999999998</c:v>
                </c:pt>
                <c:pt idx="3331">
                  <c:v>3.6040000000000001</c:v>
                </c:pt>
                <c:pt idx="3332">
                  <c:v>3.7</c:v>
                </c:pt>
                <c:pt idx="3333">
                  <c:v>3.6979999999999995</c:v>
                </c:pt>
                <c:pt idx="3334">
                  <c:v>3.2759999999999998</c:v>
                </c:pt>
                <c:pt idx="3335">
                  <c:v>2.4020000000000001</c:v>
                </c:pt>
                <c:pt idx="3336">
                  <c:v>2.4260000000000002</c:v>
                </c:pt>
                <c:pt idx="3337">
                  <c:v>2.4739999999999998</c:v>
                </c:pt>
                <c:pt idx="3338">
                  <c:v>2.6710000000000003</c:v>
                </c:pt>
                <c:pt idx="3339">
                  <c:v>2.593</c:v>
                </c:pt>
                <c:pt idx="3340">
                  <c:v>2.4079999999999999</c:v>
                </c:pt>
                <c:pt idx="3341">
                  <c:v>2.65</c:v>
                </c:pt>
                <c:pt idx="3342">
                  <c:v>2.6059999999999999</c:v>
                </c:pt>
                <c:pt idx="3343">
                  <c:v>2.7</c:v>
                </c:pt>
                <c:pt idx="3344">
                  <c:v>2.5300000000000002</c:v>
                </c:pt>
                <c:pt idx="3345">
                  <c:v>2.399</c:v>
                </c:pt>
                <c:pt idx="3346">
                  <c:v>2.411</c:v>
                </c:pt>
                <c:pt idx="3347">
                  <c:v>2.383</c:v>
                </c:pt>
                <c:pt idx="3348">
                  <c:v>2.2829999999999999</c:v>
                </c:pt>
                <c:pt idx="3349">
                  <c:v>2.1440000000000001</c:v>
                </c:pt>
                <c:pt idx="3350">
                  <c:v>2.173</c:v>
                </c:pt>
                <c:pt idx="3351">
                  <c:v>2.3920000000000003</c:v>
                </c:pt>
                <c:pt idx="3352">
                  <c:v>2.5640000000000001</c:v>
                </c:pt>
                <c:pt idx="3353">
                  <c:v>2.9</c:v>
                </c:pt>
                <c:pt idx="3354">
                  <c:v>3.3340000000000005</c:v>
                </c:pt>
                <c:pt idx="3355">
                  <c:v>3.35</c:v>
                </c:pt>
                <c:pt idx="3356">
                  <c:v>3.3079999999999998</c:v>
                </c:pt>
                <c:pt idx="3357">
                  <c:v>3.4119999999999999</c:v>
                </c:pt>
                <c:pt idx="3358">
                  <c:v>3.0049999999999999</c:v>
                </c:pt>
                <c:pt idx="3359">
                  <c:v>2.3660000000000001</c:v>
                </c:pt>
                <c:pt idx="3360">
                  <c:v>1.8120000000000001</c:v>
                </c:pt>
                <c:pt idx="3361">
                  <c:v>1.4119999999999999</c:v>
                </c:pt>
                <c:pt idx="3362">
                  <c:v>1.218</c:v>
                </c:pt>
                <c:pt idx="3363">
                  <c:v>1.165</c:v>
                </c:pt>
                <c:pt idx="3364">
                  <c:v>1.1519999999999999</c:v>
                </c:pt>
                <c:pt idx="3365">
                  <c:v>1.198</c:v>
                </c:pt>
                <c:pt idx="3366">
                  <c:v>1.236</c:v>
                </c:pt>
                <c:pt idx="3367">
                  <c:v>1.3699999999999999</c:v>
                </c:pt>
                <c:pt idx="3368">
                  <c:v>1.2070000000000001</c:v>
                </c:pt>
                <c:pt idx="3369">
                  <c:v>1.002</c:v>
                </c:pt>
                <c:pt idx="3370">
                  <c:v>1.1859999999999999</c:v>
                </c:pt>
                <c:pt idx="3371">
                  <c:v>1.2289999999999999</c:v>
                </c:pt>
                <c:pt idx="3372">
                  <c:v>1.1930000000000001</c:v>
                </c:pt>
                <c:pt idx="3373">
                  <c:v>1.028</c:v>
                </c:pt>
                <c:pt idx="3374">
                  <c:v>1.1930000000000001</c:v>
                </c:pt>
                <c:pt idx="3375">
                  <c:v>1.6920000000000002</c:v>
                </c:pt>
                <c:pt idx="3376">
                  <c:v>2.3050000000000002</c:v>
                </c:pt>
                <c:pt idx="3377">
                  <c:v>2.8120000000000003</c:v>
                </c:pt>
                <c:pt idx="3378">
                  <c:v>3.2909999999999995</c:v>
                </c:pt>
                <c:pt idx="3379">
                  <c:v>3.5070000000000001</c:v>
                </c:pt>
                <c:pt idx="3380">
                  <c:v>3.532</c:v>
                </c:pt>
                <c:pt idx="3381">
                  <c:v>3.6109999999999998</c:v>
                </c:pt>
                <c:pt idx="3382">
                  <c:v>3.343</c:v>
                </c:pt>
                <c:pt idx="3383">
                  <c:v>2.984</c:v>
                </c:pt>
                <c:pt idx="3384">
                  <c:v>2.8010000000000002</c:v>
                </c:pt>
                <c:pt idx="3385">
                  <c:v>2.69</c:v>
                </c:pt>
                <c:pt idx="3386">
                  <c:v>2.601</c:v>
                </c:pt>
                <c:pt idx="3387">
                  <c:v>2.6859999999999999</c:v>
                </c:pt>
                <c:pt idx="3388">
                  <c:v>2.738</c:v>
                </c:pt>
                <c:pt idx="3389">
                  <c:v>3.5490000000000004</c:v>
                </c:pt>
                <c:pt idx="3390">
                  <c:v>4</c:v>
                </c:pt>
                <c:pt idx="3391">
                  <c:v>4.2200000000000006</c:v>
                </c:pt>
                <c:pt idx="3392">
                  <c:v>3.8820000000000001</c:v>
                </c:pt>
                <c:pt idx="3393">
                  <c:v>3.7020000000000004</c:v>
                </c:pt>
                <c:pt idx="3394">
                  <c:v>3.6990000000000003</c:v>
                </c:pt>
                <c:pt idx="3395">
                  <c:v>3.6960000000000002</c:v>
                </c:pt>
                <c:pt idx="3396">
                  <c:v>3.7909999999999995</c:v>
                </c:pt>
                <c:pt idx="3397">
                  <c:v>3.6930000000000001</c:v>
                </c:pt>
                <c:pt idx="3398">
                  <c:v>3.694</c:v>
                </c:pt>
                <c:pt idx="3399">
                  <c:v>3.62</c:v>
                </c:pt>
                <c:pt idx="3400">
                  <c:v>3.871</c:v>
                </c:pt>
                <c:pt idx="3401">
                  <c:v>4.3650000000000002</c:v>
                </c:pt>
                <c:pt idx="3402">
                  <c:v>4.4359999999999999</c:v>
                </c:pt>
                <c:pt idx="3403">
                  <c:v>4.1950000000000003</c:v>
                </c:pt>
                <c:pt idx="3404">
                  <c:v>4.1210000000000004</c:v>
                </c:pt>
                <c:pt idx="3405">
                  <c:v>4.0840000000000005</c:v>
                </c:pt>
                <c:pt idx="3406">
                  <c:v>3.407</c:v>
                </c:pt>
                <c:pt idx="3407">
                  <c:v>3.2240000000000002</c:v>
                </c:pt>
                <c:pt idx="3408">
                  <c:v>3.2170000000000001</c:v>
                </c:pt>
                <c:pt idx="3409">
                  <c:v>2.972</c:v>
                </c:pt>
                <c:pt idx="3410">
                  <c:v>2.8050000000000002</c:v>
                </c:pt>
                <c:pt idx="3411">
                  <c:v>2.8039999999999998</c:v>
                </c:pt>
                <c:pt idx="3412">
                  <c:v>2.9710000000000001</c:v>
                </c:pt>
                <c:pt idx="3413">
                  <c:v>3.6990000000000003</c:v>
                </c:pt>
                <c:pt idx="3414">
                  <c:v>4.1779999999999999</c:v>
                </c:pt>
                <c:pt idx="3415">
                  <c:v>4.1399999999999997</c:v>
                </c:pt>
                <c:pt idx="3416">
                  <c:v>4.1890000000000001</c:v>
                </c:pt>
                <c:pt idx="3417">
                  <c:v>3.8049999999999997</c:v>
                </c:pt>
                <c:pt idx="3418">
                  <c:v>3.694</c:v>
                </c:pt>
                <c:pt idx="3419">
                  <c:v>3.3969999999999998</c:v>
                </c:pt>
                <c:pt idx="3420">
                  <c:v>3.05</c:v>
                </c:pt>
                <c:pt idx="3421">
                  <c:v>3.101</c:v>
                </c:pt>
                <c:pt idx="3422">
                  <c:v>2.91</c:v>
                </c:pt>
                <c:pt idx="3423">
                  <c:v>2.9059999999999997</c:v>
                </c:pt>
                <c:pt idx="3424">
                  <c:v>3.1840000000000002</c:v>
                </c:pt>
                <c:pt idx="3425">
                  <c:v>3.375</c:v>
                </c:pt>
                <c:pt idx="3426">
                  <c:v>3.7109999999999999</c:v>
                </c:pt>
                <c:pt idx="3427">
                  <c:v>3.5640000000000001</c:v>
                </c:pt>
                <c:pt idx="3428">
                  <c:v>3.5</c:v>
                </c:pt>
                <c:pt idx="3429">
                  <c:v>3.0989999999999998</c:v>
                </c:pt>
                <c:pt idx="3430">
                  <c:v>2.8410000000000002</c:v>
                </c:pt>
                <c:pt idx="3431">
                  <c:v>2.7149999999999999</c:v>
                </c:pt>
                <c:pt idx="3432">
                  <c:v>2.4449999999999998</c:v>
                </c:pt>
                <c:pt idx="3433">
                  <c:v>2.0089999999999999</c:v>
                </c:pt>
                <c:pt idx="3434">
                  <c:v>2.0129999999999999</c:v>
                </c:pt>
                <c:pt idx="3435">
                  <c:v>2.1559999999999997</c:v>
                </c:pt>
                <c:pt idx="3436">
                  <c:v>2.6030000000000002</c:v>
                </c:pt>
                <c:pt idx="3437">
                  <c:v>3.0100000000000002</c:v>
                </c:pt>
                <c:pt idx="3438">
                  <c:v>3.6930000000000001</c:v>
                </c:pt>
                <c:pt idx="3439">
                  <c:v>3.7549999999999999</c:v>
                </c:pt>
                <c:pt idx="3440">
                  <c:v>3.4969999999999999</c:v>
                </c:pt>
                <c:pt idx="3441">
                  <c:v>3.198</c:v>
                </c:pt>
                <c:pt idx="3442">
                  <c:v>3.2350000000000003</c:v>
                </c:pt>
                <c:pt idx="3443">
                  <c:v>3.0089999999999999</c:v>
                </c:pt>
                <c:pt idx="3444">
                  <c:v>2.88</c:v>
                </c:pt>
                <c:pt idx="3445">
                  <c:v>2.9790000000000001</c:v>
                </c:pt>
                <c:pt idx="3446">
                  <c:v>3.2960000000000003</c:v>
                </c:pt>
                <c:pt idx="3447">
                  <c:v>3.2130000000000001</c:v>
                </c:pt>
                <c:pt idx="3448">
                  <c:v>3.6909999999999998</c:v>
                </c:pt>
                <c:pt idx="3449">
                  <c:v>3.992</c:v>
                </c:pt>
                <c:pt idx="3450">
                  <c:v>4.0570000000000004</c:v>
                </c:pt>
                <c:pt idx="3451">
                  <c:v>4.0840000000000005</c:v>
                </c:pt>
                <c:pt idx="3452">
                  <c:v>4.0060000000000002</c:v>
                </c:pt>
                <c:pt idx="3453">
                  <c:v>4.0979999999999999</c:v>
                </c:pt>
                <c:pt idx="3454">
                  <c:v>3.6909999999999998</c:v>
                </c:pt>
                <c:pt idx="3455">
                  <c:v>3.3409999999999997</c:v>
                </c:pt>
                <c:pt idx="3456">
                  <c:v>3.198</c:v>
                </c:pt>
                <c:pt idx="3457">
                  <c:v>2.8069999999999999</c:v>
                </c:pt>
                <c:pt idx="3458">
                  <c:v>2.8</c:v>
                </c:pt>
                <c:pt idx="3459">
                  <c:v>2.7969999999999997</c:v>
                </c:pt>
                <c:pt idx="3460">
                  <c:v>2.6970000000000001</c:v>
                </c:pt>
                <c:pt idx="3461">
                  <c:v>2.4590000000000001</c:v>
                </c:pt>
                <c:pt idx="3462">
                  <c:v>2.4929999999999999</c:v>
                </c:pt>
                <c:pt idx="3463">
                  <c:v>2.585</c:v>
                </c:pt>
                <c:pt idx="3464">
                  <c:v>2.5789999999999997</c:v>
                </c:pt>
                <c:pt idx="3465">
                  <c:v>2.5590000000000002</c:v>
                </c:pt>
                <c:pt idx="3466">
                  <c:v>2.6019999999999999</c:v>
                </c:pt>
                <c:pt idx="3467">
                  <c:v>2.516</c:v>
                </c:pt>
                <c:pt idx="3468">
                  <c:v>2.1739999999999999</c:v>
                </c:pt>
                <c:pt idx="3469">
                  <c:v>1.9969999999999999</c:v>
                </c:pt>
                <c:pt idx="3470">
                  <c:v>1.9989999999999999</c:v>
                </c:pt>
                <c:pt idx="3471">
                  <c:v>2.1120000000000001</c:v>
                </c:pt>
                <c:pt idx="3472">
                  <c:v>2.7079999999999997</c:v>
                </c:pt>
                <c:pt idx="3473">
                  <c:v>2.9899999999999998</c:v>
                </c:pt>
                <c:pt idx="3474">
                  <c:v>3.3920000000000003</c:v>
                </c:pt>
                <c:pt idx="3475">
                  <c:v>3.6700000000000004</c:v>
                </c:pt>
                <c:pt idx="3476">
                  <c:v>3.6689999999999996</c:v>
                </c:pt>
                <c:pt idx="3477">
                  <c:v>3.6979999999999995</c:v>
                </c:pt>
                <c:pt idx="3478">
                  <c:v>3.1079999999999997</c:v>
                </c:pt>
                <c:pt idx="3479">
                  <c:v>2.8120000000000003</c:v>
                </c:pt>
                <c:pt idx="3480">
                  <c:v>2.5379999999999998</c:v>
                </c:pt>
                <c:pt idx="3481">
                  <c:v>2.4059999999999997</c:v>
                </c:pt>
                <c:pt idx="3482">
                  <c:v>2.351</c:v>
                </c:pt>
                <c:pt idx="3483">
                  <c:v>2.427</c:v>
                </c:pt>
                <c:pt idx="3484">
                  <c:v>2.6390000000000002</c:v>
                </c:pt>
                <c:pt idx="3485">
                  <c:v>3.3939999999999997</c:v>
                </c:pt>
                <c:pt idx="3486">
                  <c:v>3.7930000000000001</c:v>
                </c:pt>
                <c:pt idx="3487">
                  <c:v>3.8299999999999996</c:v>
                </c:pt>
                <c:pt idx="3488">
                  <c:v>3.6479999999999997</c:v>
                </c:pt>
                <c:pt idx="3489">
                  <c:v>3.4009999999999998</c:v>
                </c:pt>
                <c:pt idx="3490">
                  <c:v>3.3079999999999998</c:v>
                </c:pt>
                <c:pt idx="3491">
                  <c:v>3.0859999999999999</c:v>
                </c:pt>
                <c:pt idx="3492">
                  <c:v>2.8319999999999999</c:v>
                </c:pt>
                <c:pt idx="3493">
                  <c:v>2.7120000000000002</c:v>
                </c:pt>
                <c:pt idx="3494">
                  <c:v>2.7530000000000001</c:v>
                </c:pt>
                <c:pt idx="3495">
                  <c:v>2.863</c:v>
                </c:pt>
                <c:pt idx="3496">
                  <c:v>3.464</c:v>
                </c:pt>
                <c:pt idx="3497">
                  <c:v>3.8850000000000002</c:v>
                </c:pt>
                <c:pt idx="3498">
                  <c:v>4.1970000000000001</c:v>
                </c:pt>
                <c:pt idx="3499">
                  <c:v>4.1950000000000003</c:v>
                </c:pt>
                <c:pt idx="3500">
                  <c:v>3.9990000000000001</c:v>
                </c:pt>
                <c:pt idx="3501">
                  <c:v>3.996</c:v>
                </c:pt>
                <c:pt idx="3502">
                  <c:v>3.5200000000000005</c:v>
                </c:pt>
                <c:pt idx="3503">
                  <c:v>3.5909999999999997</c:v>
                </c:pt>
                <c:pt idx="3504">
                  <c:v>3.1030000000000002</c:v>
                </c:pt>
                <c:pt idx="3505">
                  <c:v>2.7600000000000002</c:v>
                </c:pt>
                <c:pt idx="3506">
                  <c:v>2.6</c:v>
                </c:pt>
                <c:pt idx="3507">
                  <c:v>2.4579999999999997</c:v>
                </c:pt>
                <c:pt idx="3508">
                  <c:v>2.44</c:v>
                </c:pt>
                <c:pt idx="3509">
                  <c:v>2.6100000000000003</c:v>
                </c:pt>
                <c:pt idx="3510">
                  <c:v>2.9140000000000001</c:v>
                </c:pt>
                <c:pt idx="3511">
                  <c:v>3.0129999999999999</c:v>
                </c:pt>
                <c:pt idx="3512">
                  <c:v>2.9359999999999999</c:v>
                </c:pt>
                <c:pt idx="3513">
                  <c:v>2.6100000000000003</c:v>
                </c:pt>
                <c:pt idx="3514">
                  <c:v>2.4690000000000003</c:v>
                </c:pt>
                <c:pt idx="3515">
                  <c:v>2.2039999999999997</c:v>
                </c:pt>
                <c:pt idx="3516">
                  <c:v>1.5269999999999999</c:v>
                </c:pt>
                <c:pt idx="3517">
                  <c:v>1.3380000000000001</c:v>
                </c:pt>
                <c:pt idx="3518">
                  <c:v>1.49</c:v>
                </c:pt>
                <c:pt idx="3519">
                  <c:v>2.0089999999999999</c:v>
                </c:pt>
                <c:pt idx="3520">
                  <c:v>2.7309999999999999</c:v>
                </c:pt>
                <c:pt idx="3521">
                  <c:v>3.4299999999999997</c:v>
                </c:pt>
                <c:pt idx="3522">
                  <c:v>3.7130000000000001</c:v>
                </c:pt>
                <c:pt idx="3523">
                  <c:v>3.597</c:v>
                </c:pt>
                <c:pt idx="3524">
                  <c:v>3.4340000000000002</c:v>
                </c:pt>
                <c:pt idx="3525">
                  <c:v>3.3979999999999997</c:v>
                </c:pt>
                <c:pt idx="3526">
                  <c:v>2.468</c:v>
                </c:pt>
                <c:pt idx="3527">
                  <c:v>2.0720000000000001</c:v>
                </c:pt>
                <c:pt idx="3528">
                  <c:v>1.6079999999999999</c:v>
                </c:pt>
                <c:pt idx="3529">
                  <c:v>1.8660000000000001</c:v>
                </c:pt>
                <c:pt idx="3530">
                  <c:v>1.6579999999999999</c:v>
                </c:pt>
                <c:pt idx="3531">
                  <c:v>1.425</c:v>
                </c:pt>
                <c:pt idx="3532">
                  <c:v>0.99099999999999999</c:v>
                </c:pt>
                <c:pt idx="3533">
                  <c:v>1.4359999999999999</c:v>
                </c:pt>
                <c:pt idx="3534">
                  <c:v>1.827</c:v>
                </c:pt>
                <c:pt idx="3535">
                  <c:v>1.9039999999999999</c:v>
                </c:pt>
                <c:pt idx="3536">
                  <c:v>1.718</c:v>
                </c:pt>
                <c:pt idx="3537">
                  <c:v>1.165</c:v>
                </c:pt>
                <c:pt idx="3538">
                  <c:v>1.163</c:v>
                </c:pt>
                <c:pt idx="3539">
                  <c:v>1.5070000000000001</c:v>
                </c:pt>
                <c:pt idx="3540">
                  <c:v>1.018</c:v>
                </c:pt>
                <c:pt idx="3541">
                  <c:v>1.008</c:v>
                </c:pt>
                <c:pt idx="3542">
                  <c:v>1.014</c:v>
                </c:pt>
                <c:pt idx="3543">
                  <c:v>1.008</c:v>
                </c:pt>
                <c:pt idx="3544">
                  <c:v>2.1949999999999998</c:v>
                </c:pt>
                <c:pt idx="3545">
                  <c:v>3.105</c:v>
                </c:pt>
                <c:pt idx="3546">
                  <c:v>3.6950000000000003</c:v>
                </c:pt>
                <c:pt idx="3547">
                  <c:v>3.8659999999999997</c:v>
                </c:pt>
                <c:pt idx="3548">
                  <c:v>3.8649999999999998</c:v>
                </c:pt>
                <c:pt idx="3549">
                  <c:v>4.0659999999999998</c:v>
                </c:pt>
                <c:pt idx="3550">
                  <c:v>3.6920000000000002</c:v>
                </c:pt>
                <c:pt idx="3551">
                  <c:v>2.9020000000000001</c:v>
                </c:pt>
                <c:pt idx="3552">
                  <c:v>2.83</c:v>
                </c:pt>
                <c:pt idx="3553">
                  <c:v>2.6269999999999998</c:v>
                </c:pt>
                <c:pt idx="3554">
                  <c:v>2.56</c:v>
                </c:pt>
                <c:pt idx="3555">
                  <c:v>2.56</c:v>
                </c:pt>
                <c:pt idx="3556">
                  <c:v>2.6399999999999997</c:v>
                </c:pt>
                <c:pt idx="3557">
                  <c:v>3.597</c:v>
                </c:pt>
                <c:pt idx="3558">
                  <c:v>4.2700000000000005</c:v>
                </c:pt>
                <c:pt idx="3559">
                  <c:v>4.306</c:v>
                </c:pt>
                <c:pt idx="3560">
                  <c:v>4.2709999999999999</c:v>
                </c:pt>
                <c:pt idx="3561">
                  <c:v>4.1820000000000004</c:v>
                </c:pt>
                <c:pt idx="3562">
                  <c:v>4.1319999999999997</c:v>
                </c:pt>
                <c:pt idx="3563">
                  <c:v>3.7990000000000004</c:v>
                </c:pt>
                <c:pt idx="3564">
                  <c:v>3.7409999999999997</c:v>
                </c:pt>
                <c:pt idx="3565">
                  <c:v>3.5579999999999998</c:v>
                </c:pt>
                <c:pt idx="3566">
                  <c:v>3.6320000000000001</c:v>
                </c:pt>
                <c:pt idx="3567">
                  <c:v>3.7909999999999995</c:v>
                </c:pt>
                <c:pt idx="3568">
                  <c:v>4.218</c:v>
                </c:pt>
                <c:pt idx="3569">
                  <c:v>4.4079999999999995</c:v>
                </c:pt>
                <c:pt idx="3570">
                  <c:v>4.6150000000000002</c:v>
                </c:pt>
                <c:pt idx="3571">
                  <c:v>4.3759999999999994</c:v>
                </c:pt>
                <c:pt idx="3572">
                  <c:v>4.202</c:v>
                </c:pt>
                <c:pt idx="3573">
                  <c:v>4.0909999999999993</c:v>
                </c:pt>
                <c:pt idx="3574">
                  <c:v>3.2689999999999997</c:v>
                </c:pt>
                <c:pt idx="3575">
                  <c:v>3.5810000000000004</c:v>
                </c:pt>
                <c:pt idx="3576">
                  <c:v>3.2549999999999999</c:v>
                </c:pt>
                <c:pt idx="3577">
                  <c:v>3.093</c:v>
                </c:pt>
                <c:pt idx="3578">
                  <c:v>2.8769999999999998</c:v>
                </c:pt>
                <c:pt idx="3579">
                  <c:v>2.8410000000000002</c:v>
                </c:pt>
                <c:pt idx="3580">
                  <c:v>3.13</c:v>
                </c:pt>
                <c:pt idx="3581">
                  <c:v>3.8049999999999997</c:v>
                </c:pt>
                <c:pt idx="3582">
                  <c:v>4.96</c:v>
                </c:pt>
                <c:pt idx="3583">
                  <c:v>5.2229999999999999</c:v>
                </c:pt>
                <c:pt idx="3584">
                  <c:v>5.008</c:v>
                </c:pt>
                <c:pt idx="3585">
                  <c:v>4.5020000000000007</c:v>
                </c:pt>
                <c:pt idx="3586">
                  <c:v>4.3259999999999996</c:v>
                </c:pt>
                <c:pt idx="3587">
                  <c:v>3.5</c:v>
                </c:pt>
                <c:pt idx="3588">
                  <c:v>3.109</c:v>
                </c:pt>
                <c:pt idx="3589">
                  <c:v>3.0300000000000002</c:v>
                </c:pt>
                <c:pt idx="3590">
                  <c:v>3.0949999999999998</c:v>
                </c:pt>
                <c:pt idx="3591">
                  <c:v>3.157</c:v>
                </c:pt>
                <c:pt idx="3592">
                  <c:v>3.5100000000000002</c:v>
                </c:pt>
                <c:pt idx="3593">
                  <c:v>3.9909999999999997</c:v>
                </c:pt>
                <c:pt idx="3594">
                  <c:v>4.1959999999999997</c:v>
                </c:pt>
                <c:pt idx="3595">
                  <c:v>4.0060000000000002</c:v>
                </c:pt>
                <c:pt idx="3596">
                  <c:v>3.9210000000000003</c:v>
                </c:pt>
                <c:pt idx="3597">
                  <c:v>3.444</c:v>
                </c:pt>
                <c:pt idx="3598">
                  <c:v>2.8440000000000003</c:v>
                </c:pt>
                <c:pt idx="3599">
                  <c:v>2.8679999999999999</c:v>
                </c:pt>
                <c:pt idx="3600">
                  <c:v>2.8380000000000001</c:v>
                </c:pt>
                <c:pt idx="3601">
                  <c:v>2.7280000000000002</c:v>
                </c:pt>
                <c:pt idx="3602">
                  <c:v>2.7090000000000001</c:v>
                </c:pt>
                <c:pt idx="3603">
                  <c:v>2.7370000000000001</c:v>
                </c:pt>
                <c:pt idx="3604">
                  <c:v>2.8329999999999997</c:v>
                </c:pt>
                <c:pt idx="3605">
                  <c:v>3.2090000000000005</c:v>
                </c:pt>
                <c:pt idx="3606">
                  <c:v>3.907</c:v>
                </c:pt>
                <c:pt idx="3607">
                  <c:v>3.9939999999999998</c:v>
                </c:pt>
                <c:pt idx="3608">
                  <c:v>3.5130000000000003</c:v>
                </c:pt>
                <c:pt idx="3609">
                  <c:v>3.008</c:v>
                </c:pt>
                <c:pt idx="3610">
                  <c:v>2.9609999999999999</c:v>
                </c:pt>
                <c:pt idx="3611">
                  <c:v>2.9750000000000001</c:v>
                </c:pt>
                <c:pt idx="3612">
                  <c:v>2.87</c:v>
                </c:pt>
                <c:pt idx="3613">
                  <c:v>2.8370000000000002</c:v>
                </c:pt>
                <c:pt idx="3614">
                  <c:v>2.9980000000000002</c:v>
                </c:pt>
                <c:pt idx="3615">
                  <c:v>2.9899999999999998</c:v>
                </c:pt>
                <c:pt idx="3616">
                  <c:v>3.5289999999999999</c:v>
                </c:pt>
                <c:pt idx="3617">
                  <c:v>3.8950000000000005</c:v>
                </c:pt>
                <c:pt idx="3618">
                  <c:v>4.2110000000000003</c:v>
                </c:pt>
                <c:pt idx="3619">
                  <c:v>4.1450000000000005</c:v>
                </c:pt>
                <c:pt idx="3620">
                  <c:v>4.1749999999999998</c:v>
                </c:pt>
                <c:pt idx="3621">
                  <c:v>4.0510000000000002</c:v>
                </c:pt>
                <c:pt idx="3622">
                  <c:v>3.12</c:v>
                </c:pt>
                <c:pt idx="3623">
                  <c:v>3.0510000000000002</c:v>
                </c:pt>
                <c:pt idx="3624">
                  <c:v>2.8850000000000002</c:v>
                </c:pt>
                <c:pt idx="3625">
                  <c:v>2.8940000000000001</c:v>
                </c:pt>
                <c:pt idx="3626">
                  <c:v>2.91</c:v>
                </c:pt>
                <c:pt idx="3627">
                  <c:v>2.88</c:v>
                </c:pt>
                <c:pt idx="3628">
                  <c:v>2.8809999999999998</c:v>
                </c:pt>
                <c:pt idx="3629">
                  <c:v>3.4430000000000001</c:v>
                </c:pt>
                <c:pt idx="3630">
                  <c:v>3.9350000000000001</c:v>
                </c:pt>
                <c:pt idx="3631">
                  <c:v>4.1280000000000001</c:v>
                </c:pt>
                <c:pt idx="3632">
                  <c:v>3.8029999999999999</c:v>
                </c:pt>
                <c:pt idx="3633">
                  <c:v>3.3240000000000003</c:v>
                </c:pt>
                <c:pt idx="3634">
                  <c:v>3.3</c:v>
                </c:pt>
                <c:pt idx="3635">
                  <c:v>3.101</c:v>
                </c:pt>
                <c:pt idx="3636">
                  <c:v>3.1859999999999999</c:v>
                </c:pt>
                <c:pt idx="3637">
                  <c:v>3.1339999999999999</c:v>
                </c:pt>
                <c:pt idx="3638">
                  <c:v>3.4079999999999999</c:v>
                </c:pt>
                <c:pt idx="3639">
                  <c:v>3.508</c:v>
                </c:pt>
                <c:pt idx="3640">
                  <c:v>4.0960000000000001</c:v>
                </c:pt>
                <c:pt idx="3641">
                  <c:v>4.492</c:v>
                </c:pt>
                <c:pt idx="3642">
                  <c:v>5</c:v>
                </c:pt>
                <c:pt idx="3643">
                  <c:v>4.6880000000000006</c:v>
                </c:pt>
                <c:pt idx="3644">
                  <c:v>4.4909999999999997</c:v>
                </c:pt>
                <c:pt idx="3645">
                  <c:v>4.4950000000000001</c:v>
                </c:pt>
                <c:pt idx="3646">
                  <c:v>3.9939999999999998</c:v>
                </c:pt>
                <c:pt idx="3647">
                  <c:v>3.0409999999999999</c:v>
                </c:pt>
                <c:pt idx="3648">
                  <c:v>2.9319999999999999</c:v>
                </c:pt>
                <c:pt idx="3649">
                  <c:v>2.8380000000000001</c:v>
                </c:pt>
                <c:pt idx="3650">
                  <c:v>2.8039999999999998</c:v>
                </c:pt>
                <c:pt idx="3651">
                  <c:v>2.8319999999999999</c:v>
                </c:pt>
                <c:pt idx="3652">
                  <c:v>2.8359999999999999</c:v>
                </c:pt>
                <c:pt idx="3653">
                  <c:v>3.5329999999999999</c:v>
                </c:pt>
                <c:pt idx="3654">
                  <c:v>4.024</c:v>
                </c:pt>
                <c:pt idx="3655">
                  <c:v>4.1500000000000004</c:v>
                </c:pt>
                <c:pt idx="3656">
                  <c:v>3.996</c:v>
                </c:pt>
                <c:pt idx="3657">
                  <c:v>3.867</c:v>
                </c:pt>
                <c:pt idx="3658">
                  <c:v>3.7890000000000001</c:v>
                </c:pt>
                <c:pt idx="3659">
                  <c:v>3.7340000000000004</c:v>
                </c:pt>
                <c:pt idx="3660">
                  <c:v>3.508</c:v>
                </c:pt>
                <c:pt idx="3661">
                  <c:v>3.3619999999999997</c:v>
                </c:pt>
                <c:pt idx="3662">
                  <c:v>3.4820000000000002</c:v>
                </c:pt>
                <c:pt idx="3663">
                  <c:v>3.5960000000000001</c:v>
                </c:pt>
                <c:pt idx="3664">
                  <c:v>3.97</c:v>
                </c:pt>
                <c:pt idx="3665">
                  <c:v>4.2780000000000005</c:v>
                </c:pt>
                <c:pt idx="3666">
                  <c:v>4.49</c:v>
                </c:pt>
                <c:pt idx="3667">
                  <c:v>4.3520000000000003</c:v>
                </c:pt>
                <c:pt idx="3668">
                  <c:v>4.1979999999999995</c:v>
                </c:pt>
                <c:pt idx="3669">
                  <c:v>4.1959999999999997</c:v>
                </c:pt>
                <c:pt idx="3670">
                  <c:v>3.6640000000000001</c:v>
                </c:pt>
                <c:pt idx="3671">
                  <c:v>3.008</c:v>
                </c:pt>
                <c:pt idx="3672">
                  <c:v>3.0760000000000001</c:v>
                </c:pt>
                <c:pt idx="3673">
                  <c:v>2.8739999999999997</c:v>
                </c:pt>
                <c:pt idx="3674">
                  <c:v>2.706</c:v>
                </c:pt>
                <c:pt idx="3675">
                  <c:v>2.649</c:v>
                </c:pt>
                <c:pt idx="3676">
                  <c:v>2.5</c:v>
                </c:pt>
                <c:pt idx="3677">
                  <c:v>2.6510000000000002</c:v>
                </c:pt>
                <c:pt idx="3678">
                  <c:v>2.6890000000000001</c:v>
                </c:pt>
                <c:pt idx="3679">
                  <c:v>3.0789999999999997</c:v>
                </c:pt>
                <c:pt idx="3680">
                  <c:v>3.125</c:v>
                </c:pt>
                <c:pt idx="3681">
                  <c:v>2.831</c:v>
                </c:pt>
                <c:pt idx="3682">
                  <c:v>2.7030000000000003</c:v>
                </c:pt>
                <c:pt idx="3683">
                  <c:v>2.649</c:v>
                </c:pt>
                <c:pt idx="3684">
                  <c:v>2.6930000000000001</c:v>
                </c:pt>
                <c:pt idx="3685">
                  <c:v>2.6710000000000003</c:v>
                </c:pt>
                <c:pt idx="3686">
                  <c:v>2.6970000000000001</c:v>
                </c:pt>
                <c:pt idx="3687">
                  <c:v>2.8289999999999997</c:v>
                </c:pt>
                <c:pt idx="3688">
                  <c:v>3.3939999999999997</c:v>
                </c:pt>
                <c:pt idx="3689">
                  <c:v>3.7299999999999995</c:v>
                </c:pt>
                <c:pt idx="3690">
                  <c:v>3.8159999999999998</c:v>
                </c:pt>
                <c:pt idx="3691">
                  <c:v>3.6960000000000002</c:v>
                </c:pt>
                <c:pt idx="3692">
                  <c:v>3.6970000000000001</c:v>
                </c:pt>
                <c:pt idx="3693">
                  <c:v>3.8570000000000002</c:v>
                </c:pt>
                <c:pt idx="3694">
                  <c:v>3.5909999999999997</c:v>
                </c:pt>
                <c:pt idx="3695">
                  <c:v>2.9929999999999999</c:v>
                </c:pt>
                <c:pt idx="3696">
                  <c:v>2.6930000000000001</c:v>
                </c:pt>
                <c:pt idx="3697">
                  <c:v>2.3239999999999998</c:v>
                </c:pt>
                <c:pt idx="3698">
                  <c:v>2.254</c:v>
                </c:pt>
                <c:pt idx="3699">
                  <c:v>2.1579999999999999</c:v>
                </c:pt>
                <c:pt idx="3700">
                  <c:v>1.95</c:v>
                </c:pt>
                <c:pt idx="3701">
                  <c:v>1.9850000000000001</c:v>
                </c:pt>
                <c:pt idx="3702">
                  <c:v>2.0329999999999999</c:v>
                </c:pt>
                <c:pt idx="3703">
                  <c:v>2.2549999999999999</c:v>
                </c:pt>
                <c:pt idx="3704">
                  <c:v>2.379</c:v>
                </c:pt>
                <c:pt idx="3705">
                  <c:v>2.2989999999999999</c:v>
                </c:pt>
                <c:pt idx="3706">
                  <c:v>2.306</c:v>
                </c:pt>
                <c:pt idx="3707">
                  <c:v>1.9339999999999999</c:v>
                </c:pt>
                <c:pt idx="3708">
                  <c:v>1.508</c:v>
                </c:pt>
                <c:pt idx="3709">
                  <c:v>0.998</c:v>
                </c:pt>
                <c:pt idx="3710">
                  <c:v>1.0409999999999999</c:v>
                </c:pt>
                <c:pt idx="3711">
                  <c:v>0.34300000000000003</c:v>
                </c:pt>
                <c:pt idx="3712">
                  <c:v>1.0230000000000001</c:v>
                </c:pt>
                <c:pt idx="3713">
                  <c:v>2.5760000000000001</c:v>
                </c:pt>
                <c:pt idx="3714">
                  <c:v>3.1059999999999999</c:v>
                </c:pt>
                <c:pt idx="3715">
                  <c:v>3.4909999999999997</c:v>
                </c:pt>
                <c:pt idx="3716">
                  <c:v>3.4990000000000001</c:v>
                </c:pt>
                <c:pt idx="3717">
                  <c:v>3.9909999999999997</c:v>
                </c:pt>
                <c:pt idx="3718">
                  <c:v>3.4899999999999998</c:v>
                </c:pt>
                <c:pt idx="3719">
                  <c:v>2.8920000000000003</c:v>
                </c:pt>
                <c:pt idx="3720">
                  <c:v>2.472</c:v>
                </c:pt>
                <c:pt idx="3721">
                  <c:v>2.3090000000000002</c:v>
                </c:pt>
                <c:pt idx="3722">
                  <c:v>2.222</c:v>
                </c:pt>
                <c:pt idx="3723">
                  <c:v>2.2190000000000003</c:v>
                </c:pt>
                <c:pt idx="3724">
                  <c:v>2.3090000000000002</c:v>
                </c:pt>
                <c:pt idx="3725">
                  <c:v>2.41</c:v>
                </c:pt>
                <c:pt idx="3726">
                  <c:v>2.4620000000000002</c:v>
                </c:pt>
                <c:pt idx="3727">
                  <c:v>2.702</c:v>
                </c:pt>
                <c:pt idx="3728">
                  <c:v>2.7120000000000002</c:v>
                </c:pt>
                <c:pt idx="3729">
                  <c:v>2.4350000000000001</c:v>
                </c:pt>
                <c:pt idx="3730">
                  <c:v>2.5309999999999997</c:v>
                </c:pt>
                <c:pt idx="3731">
                  <c:v>2.452</c:v>
                </c:pt>
                <c:pt idx="3732">
                  <c:v>2.411</c:v>
                </c:pt>
                <c:pt idx="3733">
                  <c:v>2.3079999999999998</c:v>
                </c:pt>
                <c:pt idx="3734">
                  <c:v>2.3839999999999999</c:v>
                </c:pt>
                <c:pt idx="3735">
                  <c:v>2.6859999999999999</c:v>
                </c:pt>
                <c:pt idx="3736">
                  <c:v>3.0019999999999998</c:v>
                </c:pt>
                <c:pt idx="3737">
                  <c:v>3.5939999999999999</c:v>
                </c:pt>
                <c:pt idx="3738">
                  <c:v>3.9009999999999998</c:v>
                </c:pt>
                <c:pt idx="3739">
                  <c:v>3.9649999999999999</c:v>
                </c:pt>
                <c:pt idx="3740">
                  <c:v>3.8609999999999998</c:v>
                </c:pt>
                <c:pt idx="3741">
                  <c:v>3.8420000000000001</c:v>
                </c:pt>
                <c:pt idx="3742">
                  <c:v>3.0140000000000002</c:v>
                </c:pt>
                <c:pt idx="3743">
                  <c:v>2.4219999999999997</c:v>
                </c:pt>
                <c:pt idx="3744">
                  <c:v>1.9300000000000002</c:v>
                </c:pt>
                <c:pt idx="3745">
                  <c:v>1.4490000000000001</c:v>
                </c:pt>
                <c:pt idx="3746">
                  <c:v>1.0539999999999998</c:v>
                </c:pt>
                <c:pt idx="3747">
                  <c:v>1.022</c:v>
                </c:pt>
                <c:pt idx="3748">
                  <c:v>1.3380000000000001</c:v>
                </c:pt>
                <c:pt idx="3749">
                  <c:v>2.9219999999999997</c:v>
                </c:pt>
                <c:pt idx="3750">
                  <c:v>3.036</c:v>
                </c:pt>
                <c:pt idx="3751">
                  <c:v>3.6079999999999997</c:v>
                </c:pt>
                <c:pt idx="3752">
                  <c:v>3.0110000000000001</c:v>
                </c:pt>
                <c:pt idx="3753">
                  <c:v>2.8090000000000002</c:v>
                </c:pt>
                <c:pt idx="3754">
                  <c:v>2.7269999999999999</c:v>
                </c:pt>
                <c:pt idx="3755">
                  <c:v>2.5949999999999998</c:v>
                </c:pt>
                <c:pt idx="3756">
                  <c:v>2.3449999999999998</c:v>
                </c:pt>
                <c:pt idx="3757">
                  <c:v>2.2670000000000003</c:v>
                </c:pt>
                <c:pt idx="3758">
                  <c:v>1.9940000000000002</c:v>
                </c:pt>
                <c:pt idx="3759">
                  <c:v>1.8620000000000001</c:v>
                </c:pt>
                <c:pt idx="3760">
                  <c:v>2.004</c:v>
                </c:pt>
                <c:pt idx="3761">
                  <c:v>2.2719999999999998</c:v>
                </c:pt>
                <c:pt idx="3762">
                  <c:v>2.3079999999999998</c:v>
                </c:pt>
                <c:pt idx="3763">
                  <c:v>2.1920000000000002</c:v>
                </c:pt>
                <c:pt idx="3764">
                  <c:v>2.044</c:v>
                </c:pt>
                <c:pt idx="3765">
                  <c:v>2.0230000000000001</c:v>
                </c:pt>
                <c:pt idx="3766">
                  <c:v>0.43899999999999995</c:v>
                </c:pt>
                <c:pt idx="3767">
                  <c:v>1.0669999999999999</c:v>
                </c:pt>
                <c:pt idx="3768">
                  <c:v>0.88000000000000012</c:v>
                </c:pt>
                <c:pt idx="3769">
                  <c:v>0.68200000000000005</c:v>
                </c:pt>
                <c:pt idx="3770">
                  <c:v>0.21000000000000002</c:v>
                </c:pt>
                <c:pt idx="3771">
                  <c:v>0.17399999999999999</c:v>
                </c:pt>
                <c:pt idx="3772">
                  <c:v>0.52600000000000002</c:v>
                </c:pt>
                <c:pt idx="3773">
                  <c:v>1.2330000000000001</c:v>
                </c:pt>
                <c:pt idx="3774">
                  <c:v>2.3069999999999999</c:v>
                </c:pt>
                <c:pt idx="3775">
                  <c:v>1.8059999999999998</c:v>
                </c:pt>
                <c:pt idx="3776">
                  <c:v>1.0050000000000001</c:v>
                </c:pt>
                <c:pt idx="3777">
                  <c:v>0.96599999999999997</c:v>
                </c:pt>
                <c:pt idx="3778">
                  <c:v>1.03</c:v>
                </c:pt>
                <c:pt idx="3779">
                  <c:v>0.96500000000000008</c:v>
                </c:pt>
                <c:pt idx="3780">
                  <c:v>1.0189999999999999</c:v>
                </c:pt>
                <c:pt idx="3781">
                  <c:v>0.89700000000000002</c:v>
                </c:pt>
                <c:pt idx="3782">
                  <c:v>0.97100000000000009</c:v>
                </c:pt>
                <c:pt idx="3783">
                  <c:v>1.0169999999999999</c:v>
                </c:pt>
                <c:pt idx="3784">
                  <c:v>1.1789999999999998</c:v>
                </c:pt>
                <c:pt idx="3785">
                  <c:v>2.0369999999999999</c:v>
                </c:pt>
                <c:pt idx="3786">
                  <c:v>2.5780000000000003</c:v>
                </c:pt>
                <c:pt idx="3787">
                  <c:v>2.4079999999999999</c:v>
                </c:pt>
                <c:pt idx="3788">
                  <c:v>2.556</c:v>
                </c:pt>
                <c:pt idx="3789">
                  <c:v>2.5449999999999999</c:v>
                </c:pt>
                <c:pt idx="3790">
                  <c:v>1.893</c:v>
                </c:pt>
                <c:pt idx="3791">
                  <c:v>1.409</c:v>
                </c:pt>
                <c:pt idx="3792">
                  <c:v>1.02</c:v>
                </c:pt>
                <c:pt idx="3793">
                  <c:v>0.99099999999999999</c:v>
                </c:pt>
                <c:pt idx="3794">
                  <c:v>0.98599999999999999</c:v>
                </c:pt>
                <c:pt idx="3795">
                  <c:v>0.99199999999999999</c:v>
                </c:pt>
                <c:pt idx="3796">
                  <c:v>1.9059999999999999</c:v>
                </c:pt>
                <c:pt idx="3797">
                  <c:v>3.2770000000000001</c:v>
                </c:pt>
                <c:pt idx="3798">
                  <c:v>3.5509999999999997</c:v>
                </c:pt>
                <c:pt idx="3799">
                  <c:v>3.5509999999999997</c:v>
                </c:pt>
                <c:pt idx="3800">
                  <c:v>3.3649999999999998</c:v>
                </c:pt>
                <c:pt idx="3801">
                  <c:v>3.2250000000000001</c:v>
                </c:pt>
                <c:pt idx="3802">
                  <c:v>3.2450000000000001</c:v>
                </c:pt>
                <c:pt idx="3803">
                  <c:v>3.113</c:v>
                </c:pt>
                <c:pt idx="3804">
                  <c:v>3</c:v>
                </c:pt>
                <c:pt idx="3805">
                  <c:v>2.988</c:v>
                </c:pt>
                <c:pt idx="3806">
                  <c:v>3.0019999999999998</c:v>
                </c:pt>
                <c:pt idx="3807">
                  <c:v>3.165</c:v>
                </c:pt>
                <c:pt idx="3808">
                  <c:v>3.4790000000000001</c:v>
                </c:pt>
                <c:pt idx="3809">
                  <c:v>3.8009999999999997</c:v>
                </c:pt>
                <c:pt idx="3810">
                  <c:v>4.391</c:v>
                </c:pt>
                <c:pt idx="3811">
                  <c:v>4.1869999999999994</c:v>
                </c:pt>
                <c:pt idx="3812">
                  <c:v>3.7600000000000002</c:v>
                </c:pt>
                <c:pt idx="3813">
                  <c:v>3.6130000000000004</c:v>
                </c:pt>
                <c:pt idx="3814">
                  <c:v>3.0750000000000002</c:v>
                </c:pt>
                <c:pt idx="3815">
                  <c:v>2.8180000000000001</c:v>
                </c:pt>
                <c:pt idx="3816">
                  <c:v>2.7920000000000003</c:v>
                </c:pt>
                <c:pt idx="3817">
                  <c:v>2.5880000000000001</c:v>
                </c:pt>
                <c:pt idx="3818">
                  <c:v>2.4630000000000001</c:v>
                </c:pt>
                <c:pt idx="3819">
                  <c:v>2.4899999999999998</c:v>
                </c:pt>
                <c:pt idx="3820">
                  <c:v>2.8210000000000002</c:v>
                </c:pt>
                <c:pt idx="3821">
                  <c:v>3.3289999999999997</c:v>
                </c:pt>
                <c:pt idx="3822">
                  <c:v>3.9380000000000002</c:v>
                </c:pt>
                <c:pt idx="3823">
                  <c:v>4.2590000000000003</c:v>
                </c:pt>
                <c:pt idx="3824">
                  <c:v>4.0590000000000002</c:v>
                </c:pt>
                <c:pt idx="3825">
                  <c:v>4.0220000000000002</c:v>
                </c:pt>
                <c:pt idx="3826">
                  <c:v>4.0810000000000004</c:v>
                </c:pt>
                <c:pt idx="3827">
                  <c:v>3.6380000000000003</c:v>
                </c:pt>
                <c:pt idx="3828">
                  <c:v>3.383</c:v>
                </c:pt>
                <c:pt idx="3829">
                  <c:v>3.105</c:v>
                </c:pt>
                <c:pt idx="3830">
                  <c:v>2.9089999999999998</c:v>
                </c:pt>
                <c:pt idx="3831">
                  <c:v>2.9690000000000003</c:v>
                </c:pt>
                <c:pt idx="3832">
                  <c:v>3.1440000000000001</c:v>
                </c:pt>
                <c:pt idx="3833">
                  <c:v>3.3200000000000003</c:v>
                </c:pt>
                <c:pt idx="3834">
                  <c:v>3.5070000000000001</c:v>
                </c:pt>
                <c:pt idx="3835">
                  <c:v>3.4969999999999999</c:v>
                </c:pt>
                <c:pt idx="3836">
                  <c:v>3.59</c:v>
                </c:pt>
                <c:pt idx="3837">
                  <c:v>3.786</c:v>
                </c:pt>
                <c:pt idx="3838">
                  <c:v>3.601</c:v>
                </c:pt>
                <c:pt idx="3839">
                  <c:v>3.4649999999999999</c:v>
                </c:pt>
                <c:pt idx="3840">
                  <c:v>3.1920000000000002</c:v>
                </c:pt>
                <c:pt idx="3841">
                  <c:v>2.8899999999999997</c:v>
                </c:pt>
                <c:pt idx="3842">
                  <c:v>2.7679999999999998</c:v>
                </c:pt>
                <c:pt idx="3843">
                  <c:v>2.706</c:v>
                </c:pt>
                <c:pt idx="3844">
                  <c:v>2.7050000000000001</c:v>
                </c:pt>
                <c:pt idx="3845">
                  <c:v>2.7789999999999999</c:v>
                </c:pt>
                <c:pt idx="3846">
                  <c:v>2.9710000000000001</c:v>
                </c:pt>
                <c:pt idx="3847">
                  <c:v>3.09</c:v>
                </c:pt>
                <c:pt idx="3848">
                  <c:v>3.194</c:v>
                </c:pt>
                <c:pt idx="3849">
                  <c:v>2.9899999999999998</c:v>
                </c:pt>
                <c:pt idx="3850">
                  <c:v>2.9940000000000002</c:v>
                </c:pt>
                <c:pt idx="3851">
                  <c:v>2.835</c:v>
                </c:pt>
                <c:pt idx="3852">
                  <c:v>2.5859999999999999</c:v>
                </c:pt>
                <c:pt idx="3853">
                  <c:v>2.5010000000000003</c:v>
                </c:pt>
                <c:pt idx="3854">
                  <c:v>2.5030000000000001</c:v>
                </c:pt>
                <c:pt idx="3855">
                  <c:v>2.66</c:v>
                </c:pt>
                <c:pt idx="3856">
                  <c:v>2.91</c:v>
                </c:pt>
                <c:pt idx="3857">
                  <c:v>3.5409999999999995</c:v>
                </c:pt>
                <c:pt idx="3858">
                  <c:v>3.8240000000000003</c:v>
                </c:pt>
                <c:pt idx="3859">
                  <c:v>3.8780000000000001</c:v>
                </c:pt>
                <c:pt idx="3860">
                  <c:v>3.8280000000000003</c:v>
                </c:pt>
                <c:pt idx="3861">
                  <c:v>3.968</c:v>
                </c:pt>
                <c:pt idx="3862">
                  <c:v>3.694</c:v>
                </c:pt>
                <c:pt idx="3863">
                  <c:v>2.91</c:v>
                </c:pt>
                <c:pt idx="3864">
                  <c:v>2.512</c:v>
                </c:pt>
                <c:pt idx="3865">
                  <c:v>2.1779999999999999</c:v>
                </c:pt>
                <c:pt idx="3866">
                  <c:v>1.8</c:v>
                </c:pt>
                <c:pt idx="3867">
                  <c:v>1.5390000000000001</c:v>
                </c:pt>
                <c:pt idx="3868">
                  <c:v>1.26</c:v>
                </c:pt>
                <c:pt idx="3869">
                  <c:v>1.284</c:v>
                </c:pt>
                <c:pt idx="3870">
                  <c:v>1.6489999999999998</c:v>
                </c:pt>
                <c:pt idx="3871">
                  <c:v>1.8</c:v>
                </c:pt>
                <c:pt idx="3872">
                  <c:v>1.875</c:v>
                </c:pt>
                <c:pt idx="3873">
                  <c:v>1.895</c:v>
                </c:pt>
                <c:pt idx="3874">
                  <c:v>2.0579999999999998</c:v>
                </c:pt>
                <c:pt idx="3875">
                  <c:v>1.0189999999999999</c:v>
                </c:pt>
                <c:pt idx="3876">
                  <c:v>0.83499999999999996</c:v>
                </c:pt>
                <c:pt idx="3877">
                  <c:v>1.034</c:v>
                </c:pt>
                <c:pt idx="3878">
                  <c:v>1.018</c:v>
                </c:pt>
                <c:pt idx="3879">
                  <c:v>1.887</c:v>
                </c:pt>
                <c:pt idx="3880">
                  <c:v>2.3579999999999997</c:v>
                </c:pt>
                <c:pt idx="3881">
                  <c:v>3.036</c:v>
                </c:pt>
                <c:pt idx="3882">
                  <c:v>3.3130000000000002</c:v>
                </c:pt>
                <c:pt idx="3883">
                  <c:v>3.3619999999999997</c:v>
                </c:pt>
                <c:pt idx="3884">
                  <c:v>3.34</c:v>
                </c:pt>
                <c:pt idx="3885">
                  <c:v>3.37</c:v>
                </c:pt>
                <c:pt idx="3886">
                  <c:v>2.8609999999999998</c:v>
                </c:pt>
                <c:pt idx="3887">
                  <c:v>2.5019999999999998</c:v>
                </c:pt>
                <c:pt idx="3888">
                  <c:v>2.0659999999999998</c:v>
                </c:pt>
                <c:pt idx="3889">
                  <c:v>1.8149999999999999</c:v>
                </c:pt>
                <c:pt idx="3890">
                  <c:v>1.46</c:v>
                </c:pt>
                <c:pt idx="3891">
                  <c:v>1.5660000000000001</c:v>
                </c:pt>
                <c:pt idx="3892">
                  <c:v>2.0369999999999999</c:v>
                </c:pt>
                <c:pt idx="3893">
                  <c:v>3.008</c:v>
                </c:pt>
                <c:pt idx="3894">
                  <c:v>3.6040000000000001</c:v>
                </c:pt>
                <c:pt idx="3895">
                  <c:v>3.6450000000000005</c:v>
                </c:pt>
                <c:pt idx="3896">
                  <c:v>3.4490000000000003</c:v>
                </c:pt>
                <c:pt idx="3897">
                  <c:v>2.8809999999999998</c:v>
                </c:pt>
                <c:pt idx="3898">
                  <c:v>2.6829999999999998</c:v>
                </c:pt>
                <c:pt idx="3899">
                  <c:v>1.8510000000000002</c:v>
                </c:pt>
                <c:pt idx="3900">
                  <c:v>1.131</c:v>
                </c:pt>
                <c:pt idx="3901">
                  <c:v>1.0920000000000001</c:v>
                </c:pt>
                <c:pt idx="3902">
                  <c:v>1.1720000000000002</c:v>
                </c:pt>
                <c:pt idx="3903">
                  <c:v>1.0009999999999999</c:v>
                </c:pt>
                <c:pt idx="3904">
                  <c:v>1.9769999999999999</c:v>
                </c:pt>
                <c:pt idx="3905">
                  <c:v>2.8980000000000001</c:v>
                </c:pt>
                <c:pt idx="3906">
                  <c:v>3.5909999999999997</c:v>
                </c:pt>
                <c:pt idx="3907">
                  <c:v>3.5909999999999997</c:v>
                </c:pt>
                <c:pt idx="3908">
                  <c:v>3.5430000000000001</c:v>
                </c:pt>
                <c:pt idx="3909">
                  <c:v>3.6990000000000003</c:v>
                </c:pt>
                <c:pt idx="3910">
                  <c:v>2.9969999999999999</c:v>
                </c:pt>
                <c:pt idx="3911">
                  <c:v>2.806</c:v>
                </c:pt>
                <c:pt idx="3912">
                  <c:v>2.7</c:v>
                </c:pt>
                <c:pt idx="3913">
                  <c:v>2.4630000000000001</c:v>
                </c:pt>
                <c:pt idx="3914">
                  <c:v>2.347</c:v>
                </c:pt>
                <c:pt idx="3915">
                  <c:v>2.395</c:v>
                </c:pt>
                <c:pt idx="3916">
                  <c:v>2.5499999999999998</c:v>
                </c:pt>
                <c:pt idx="3917">
                  <c:v>3.3119999999999998</c:v>
                </c:pt>
                <c:pt idx="3918">
                  <c:v>3.9470000000000001</c:v>
                </c:pt>
                <c:pt idx="3919">
                  <c:v>4</c:v>
                </c:pt>
                <c:pt idx="3920">
                  <c:v>3.3899999999999997</c:v>
                </c:pt>
                <c:pt idx="3921">
                  <c:v>2.992</c:v>
                </c:pt>
                <c:pt idx="3922">
                  <c:v>2.9649999999999999</c:v>
                </c:pt>
                <c:pt idx="3923">
                  <c:v>2.8069999999999999</c:v>
                </c:pt>
                <c:pt idx="3924">
                  <c:v>2.843</c:v>
                </c:pt>
                <c:pt idx="3925">
                  <c:v>2.8460000000000001</c:v>
                </c:pt>
                <c:pt idx="3926">
                  <c:v>2.9170000000000003</c:v>
                </c:pt>
                <c:pt idx="3927">
                  <c:v>3.3979999999999997</c:v>
                </c:pt>
                <c:pt idx="3928">
                  <c:v>3.69</c:v>
                </c:pt>
                <c:pt idx="3929">
                  <c:v>3.8520000000000003</c:v>
                </c:pt>
                <c:pt idx="3930">
                  <c:v>4.2919999999999998</c:v>
                </c:pt>
                <c:pt idx="3931">
                  <c:v>4.1950000000000003</c:v>
                </c:pt>
                <c:pt idx="3932">
                  <c:v>4.0960000000000001</c:v>
                </c:pt>
                <c:pt idx="3933">
                  <c:v>4.1120000000000001</c:v>
                </c:pt>
                <c:pt idx="3934">
                  <c:v>3.69</c:v>
                </c:pt>
                <c:pt idx="3935">
                  <c:v>3.2210000000000001</c:v>
                </c:pt>
                <c:pt idx="3936">
                  <c:v>2.9180000000000001</c:v>
                </c:pt>
                <c:pt idx="3937">
                  <c:v>2.895</c:v>
                </c:pt>
                <c:pt idx="3938">
                  <c:v>2.786</c:v>
                </c:pt>
                <c:pt idx="3939">
                  <c:v>2.75</c:v>
                </c:pt>
                <c:pt idx="3940">
                  <c:v>2.8980000000000001</c:v>
                </c:pt>
                <c:pt idx="3941">
                  <c:v>3.44</c:v>
                </c:pt>
                <c:pt idx="3942">
                  <c:v>4.1259999999999994</c:v>
                </c:pt>
                <c:pt idx="3943">
                  <c:v>4.3759999999999994</c:v>
                </c:pt>
                <c:pt idx="3944">
                  <c:v>4.1630000000000003</c:v>
                </c:pt>
                <c:pt idx="3945">
                  <c:v>4.1120000000000001</c:v>
                </c:pt>
                <c:pt idx="3946">
                  <c:v>3.9929999999999999</c:v>
                </c:pt>
                <c:pt idx="3947">
                  <c:v>3.694</c:v>
                </c:pt>
                <c:pt idx="3948">
                  <c:v>3.5990000000000002</c:v>
                </c:pt>
                <c:pt idx="3949">
                  <c:v>3.5920000000000001</c:v>
                </c:pt>
                <c:pt idx="3950">
                  <c:v>3.5020000000000002</c:v>
                </c:pt>
                <c:pt idx="3951">
                  <c:v>3.585</c:v>
                </c:pt>
                <c:pt idx="3952">
                  <c:v>4.0529999999999999</c:v>
                </c:pt>
                <c:pt idx="3953">
                  <c:v>4.5259999999999998</c:v>
                </c:pt>
                <c:pt idx="3954">
                  <c:v>4.9950000000000001</c:v>
                </c:pt>
                <c:pt idx="3955">
                  <c:v>4.4640000000000004</c:v>
                </c:pt>
                <c:pt idx="3956">
                  <c:v>4.2909999999999995</c:v>
                </c:pt>
                <c:pt idx="3957">
                  <c:v>4.2799999999999994</c:v>
                </c:pt>
                <c:pt idx="3958">
                  <c:v>3.5439999999999996</c:v>
                </c:pt>
                <c:pt idx="3959">
                  <c:v>3.3</c:v>
                </c:pt>
                <c:pt idx="3960">
                  <c:v>3.1040000000000001</c:v>
                </c:pt>
                <c:pt idx="3961">
                  <c:v>3.097</c:v>
                </c:pt>
                <c:pt idx="3962">
                  <c:v>2.9390000000000001</c:v>
                </c:pt>
                <c:pt idx="3963">
                  <c:v>2.88</c:v>
                </c:pt>
                <c:pt idx="3964">
                  <c:v>2.8879999999999999</c:v>
                </c:pt>
                <c:pt idx="3965">
                  <c:v>3.2020000000000004</c:v>
                </c:pt>
                <c:pt idx="3966">
                  <c:v>3.7810000000000001</c:v>
                </c:pt>
                <c:pt idx="3967">
                  <c:v>3.8</c:v>
                </c:pt>
                <c:pt idx="3968">
                  <c:v>3.5490000000000004</c:v>
                </c:pt>
                <c:pt idx="3969">
                  <c:v>2.9950000000000001</c:v>
                </c:pt>
                <c:pt idx="3970">
                  <c:v>3.1970000000000001</c:v>
                </c:pt>
                <c:pt idx="3971">
                  <c:v>2.8440000000000003</c:v>
                </c:pt>
                <c:pt idx="3972">
                  <c:v>2.7730000000000001</c:v>
                </c:pt>
                <c:pt idx="3973">
                  <c:v>2.855</c:v>
                </c:pt>
                <c:pt idx="3974">
                  <c:v>2.7160000000000002</c:v>
                </c:pt>
                <c:pt idx="3975">
                  <c:v>2.9510000000000001</c:v>
                </c:pt>
                <c:pt idx="3976">
                  <c:v>3.3810000000000002</c:v>
                </c:pt>
                <c:pt idx="3977">
                  <c:v>3.69</c:v>
                </c:pt>
                <c:pt idx="3978">
                  <c:v>3.7009999999999996</c:v>
                </c:pt>
                <c:pt idx="3979">
                  <c:v>3.6619999999999999</c:v>
                </c:pt>
                <c:pt idx="3980">
                  <c:v>3.5020000000000002</c:v>
                </c:pt>
                <c:pt idx="3981">
                  <c:v>3.4579999999999997</c:v>
                </c:pt>
                <c:pt idx="3982">
                  <c:v>3</c:v>
                </c:pt>
                <c:pt idx="3983">
                  <c:v>2.85</c:v>
                </c:pt>
                <c:pt idx="3984">
                  <c:v>2.3929999999999998</c:v>
                </c:pt>
                <c:pt idx="3985">
                  <c:v>2.2000000000000002</c:v>
                </c:pt>
                <c:pt idx="3986">
                  <c:v>2.1070000000000002</c:v>
                </c:pt>
                <c:pt idx="3987">
                  <c:v>2.105</c:v>
                </c:pt>
                <c:pt idx="3988">
                  <c:v>2.2410000000000001</c:v>
                </c:pt>
                <c:pt idx="3989">
                  <c:v>2.8690000000000002</c:v>
                </c:pt>
                <c:pt idx="3990">
                  <c:v>3.3530000000000002</c:v>
                </c:pt>
                <c:pt idx="3991">
                  <c:v>2.8660000000000001</c:v>
                </c:pt>
                <c:pt idx="3992">
                  <c:v>2.7320000000000002</c:v>
                </c:pt>
                <c:pt idx="3993">
                  <c:v>2.1970000000000001</c:v>
                </c:pt>
                <c:pt idx="3994">
                  <c:v>1.8839999999999999</c:v>
                </c:pt>
                <c:pt idx="3995">
                  <c:v>0.98199999999999998</c:v>
                </c:pt>
                <c:pt idx="3996">
                  <c:v>0.753</c:v>
                </c:pt>
                <c:pt idx="3997">
                  <c:v>8.7999999999999995E-2</c:v>
                </c:pt>
                <c:pt idx="3998">
                  <c:v>0.152</c:v>
                </c:pt>
                <c:pt idx="3999">
                  <c:v>0.751</c:v>
                </c:pt>
                <c:pt idx="4000">
                  <c:v>1.01</c:v>
                </c:pt>
                <c:pt idx="4001">
                  <c:v>2.073</c:v>
                </c:pt>
                <c:pt idx="4002">
                  <c:v>2.508</c:v>
                </c:pt>
                <c:pt idx="4003">
                  <c:v>2.649</c:v>
                </c:pt>
                <c:pt idx="4004">
                  <c:v>2.6559999999999997</c:v>
                </c:pt>
                <c:pt idx="4005">
                  <c:v>2.867</c:v>
                </c:pt>
                <c:pt idx="4006">
                  <c:v>2.1829999999999998</c:v>
                </c:pt>
                <c:pt idx="4007">
                  <c:v>1.9809999999999999</c:v>
                </c:pt>
                <c:pt idx="4008">
                  <c:v>1.4970000000000001</c:v>
                </c:pt>
                <c:pt idx="4009">
                  <c:v>1.7079999999999997</c:v>
                </c:pt>
                <c:pt idx="4010">
                  <c:v>1.9489999999999998</c:v>
                </c:pt>
                <c:pt idx="4011">
                  <c:v>1.8460000000000001</c:v>
                </c:pt>
                <c:pt idx="4012">
                  <c:v>1.9769999999999999</c:v>
                </c:pt>
                <c:pt idx="4013">
                  <c:v>1.9140000000000001</c:v>
                </c:pt>
                <c:pt idx="4014">
                  <c:v>2.1</c:v>
                </c:pt>
                <c:pt idx="4015">
                  <c:v>2.3010000000000002</c:v>
                </c:pt>
                <c:pt idx="4016">
                  <c:v>2.3489999999999998</c:v>
                </c:pt>
                <c:pt idx="4017">
                  <c:v>2.2760000000000002</c:v>
                </c:pt>
                <c:pt idx="4018">
                  <c:v>2.2350000000000003</c:v>
                </c:pt>
                <c:pt idx="4019">
                  <c:v>2.1030000000000002</c:v>
                </c:pt>
                <c:pt idx="4020">
                  <c:v>2.1079999999999997</c:v>
                </c:pt>
                <c:pt idx="4021">
                  <c:v>2.016</c:v>
                </c:pt>
                <c:pt idx="4022">
                  <c:v>2.0100000000000002</c:v>
                </c:pt>
                <c:pt idx="4023">
                  <c:v>2.2679999999999998</c:v>
                </c:pt>
                <c:pt idx="4024">
                  <c:v>2.762</c:v>
                </c:pt>
                <c:pt idx="4025">
                  <c:v>3.1629999999999998</c:v>
                </c:pt>
                <c:pt idx="4026">
                  <c:v>3.5100000000000002</c:v>
                </c:pt>
                <c:pt idx="4027">
                  <c:v>3.5829999999999997</c:v>
                </c:pt>
                <c:pt idx="4028">
                  <c:v>3.6970000000000001</c:v>
                </c:pt>
                <c:pt idx="4029">
                  <c:v>3.8</c:v>
                </c:pt>
                <c:pt idx="4030">
                  <c:v>3.585</c:v>
                </c:pt>
                <c:pt idx="4031">
                  <c:v>3.5990000000000002</c:v>
                </c:pt>
                <c:pt idx="4032">
                  <c:v>3.008</c:v>
                </c:pt>
                <c:pt idx="4033">
                  <c:v>2.8530000000000002</c:v>
                </c:pt>
                <c:pt idx="4034">
                  <c:v>2.681</c:v>
                </c:pt>
                <c:pt idx="4035">
                  <c:v>2.5110000000000001</c:v>
                </c:pt>
                <c:pt idx="4036">
                  <c:v>2.4289999999999998</c:v>
                </c:pt>
                <c:pt idx="4037">
                  <c:v>2.4329999999999998</c:v>
                </c:pt>
                <c:pt idx="4038">
                  <c:v>2.5680000000000001</c:v>
                </c:pt>
                <c:pt idx="4039">
                  <c:v>2.5539999999999998</c:v>
                </c:pt>
                <c:pt idx="4040">
                  <c:v>2.44</c:v>
                </c:pt>
                <c:pt idx="4041">
                  <c:v>2.4340000000000002</c:v>
                </c:pt>
                <c:pt idx="4042">
                  <c:v>2.4239999999999999</c:v>
                </c:pt>
                <c:pt idx="4043">
                  <c:v>2.4129999999999998</c:v>
                </c:pt>
                <c:pt idx="4044">
                  <c:v>2.3530000000000002</c:v>
                </c:pt>
                <c:pt idx="4045">
                  <c:v>2.198</c:v>
                </c:pt>
                <c:pt idx="4046">
                  <c:v>2.29</c:v>
                </c:pt>
                <c:pt idx="4047">
                  <c:v>2.3600000000000003</c:v>
                </c:pt>
                <c:pt idx="4048">
                  <c:v>2.718</c:v>
                </c:pt>
                <c:pt idx="4049">
                  <c:v>3.3520000000000003</c:v>
                </c:pt>
                <c:pt idx="4050">
                  <c:v>3.7479999999999998</c:v>
                </c:pt>
                <c:pt idx="4051">
                  <c:v>3.8979999999999997</c:v>
                </c:pt>
                <c:pt idx="4052">
                  <c:v>3.9090000000000003</c:v>
                </c:pt>
                <c:pt idx="4053">
                  <c:v>4.1219999999999999</c:v>
                </c:pt>
                <c:pt idx="4054">
                  <c:v>3.7079999999999997</c:v>
                </c:pt>
                <c:pt idx="4055">
                  <c:v>3.3880000000000003</c:v>
                </c:pt>
                <c:pt idx="4056">
                  <c:v>3.02</c:v>
                </c:pt>
                <c:pt idx="4057">
                  <c:v>2.91</c:v>
                </c:pt>
                <c:pt idx="4058">
                  <c:v>2.867</c:v>
                </c:pt>
                <c:pt idx="4059">
                  <c:v>2.8570000000000002</c:v>
                </c:pt>
                <c:pt idx="4060">
                  <c:v>2.91</c:v>
                </c:pt>
                <c:pt idx="4061">
                  <c:v>3.8299999999999996</c:v>
                </c:pt>
                <c:pt idx="4062">
                  <c:v>4.2969999999999997</c:v>
                </c:pt>
                <c:pt idx="4063">
                  <c:v>4.4030000000000005</c:v>
                </c:pt>
                <c:pt idx="4064">
                  <c:v>4.0979999999999999</c:v>
                </c:pt>
                <c:pt idx="4065">
                  <c:v>3.8240000000000003</c:v>
                </c:pt>
                <c:pt idx="4066">
                  <c:v>3.8490000000000002</c:v>
                </c:pt>
                <c:pt idx="4067">
                  <c:v>3.496</c:v>
                </c:pt>
                <c:pt idx="4068">
                  <c:v>3.5060000000000002</c:v>
                </c:pt>
                <c:pt idx="4069">
                  <c:v>3.5880000000000001</c:v>
                </c:pt>
                <c:pt idx="4070">
                  <c:v>3.8329999999999997</c:v>
                </c:pt>
                <c:pt idx="4071">
                  <c:v>3.9509999999999996</c:v>
                </c:pt>
                <c:pt idx="4072">
                  <c:v>4.21</c:v>
                </c:pt>
                <c:pt idx="4073">
                  <c:v>4.5600000000000005</c:v>
                </c:pt>
                <c:pt idx="4074">
                  <c:v>4.9990000000000006</c:v>
                </c:pt>
                <c:pt idx="4075">
                  <c:v>4.54</c:v>
                </c:pt>
                <c:pt idx="4076">
                  <c:v>4.4130000000000003</c:v>
                </c:pt>
                <c:pt idx="4077">
                  <c:v>4.3680000000000003</c:v>
                </c:pt>
                <c:pt idx="4078">
                  <c:v>3.6659999999999995</c:v>
                </c:pt>
                <c:pt idx="4079">
                  <c:v>3.2389999999999999</c:v>
                </c:pt>
                <c:pt idx="4080">
                  <c:v>3.21</c:v>
                </c:pt>
                <c:pt idx="4081">
                  <c:v>3.0149999999999997</c:v>
                </c:pt>
                <c:pt idx="4082">
                  <c:v>2.8739999999999997</c:v>
                </c:pt>
                <c:pt idx="4083">
                  <c:v>2.847</c:v>
                </c:pt>
                <c:pt idx="4084">
                  <c:v>3.0469999999999997</c:v>
                </c:pt>
                <c:pt idx="4085">
                  <c:v>3.681</c:v>
                </c:pt>
                <c:pt idx="4086">
                  <c:v>4.3360000000000003</c:v>
                </c:pt>
                <c:pt idx="4087">
                  <c:v>4.4020000000000001</c:v>
                </c:pt>
                <c:pt idx="4088">
                  <c:v>4.2299999999999995</c:v>
                </c:pt>
                <c:pt idx="4089">
                  <c:v>3.9659999999999997</c:v>
                </c:pt>
                <c:pt idx="4090">
                  <c:v>3.6990000000000003</c:v>
                </c:pt>
                <c:pt idx="4091">
                  <c:v>3.2749999999999999</c:v>
                </c:pt>
                <c:pt idx="4092">
                  <c:v>3.2</c:v>
                </c:pt>
                <c:pt idx="4093">
                  <c:v>3.1840000000000002</c:v>
                </c:pt>
                <c:pt idx="4094">
                  <c:v>3.1859999999999999</c:v>
                </c:pt>
                <c:pt idx="4095">
                  <c:v>3.1989999999999998</c:v>
                </c:pt>
                <c:pt idx="4096">
                  <c:v>3.7340000000000004</c:v>
                </c:pt>
                <c:pt idx="4097">
                  <c:v>3.8079999999999998</c:v>
                </c:pt>
                <c:pt idx="4098">
                  <c:v>3.9710000000000001</c:v>
                </c:pt>
                <c:pt idx="4099">
                  <c:v>3.9950000000000001</c:v>
                </c:pt>
                <c:pt idx="4100">
                  <c:v>3.8899999999999997</c:v>
                </c:pt>
                <c:pt idx="4101">
                  <c:v>3.8570000000000002</c:v>
                </c:pt>
                <c:pt idx="4102">
                  <c:v>3.4909999999999997</c:v>
                </c:pt>
                <c:pt idx="4103">
                  <c:v>3.2049999999999996</c:v>
                </c:pt>
                <c:pt idx="4104">
                  <c:v>3.194</c:v>
                </c:pt>
                <c:pt idx="4105">
                  <c:v>3.1339999999999999</c:v>
                </c:pt>
                <c:pt idx="4106">
                  <c:v>3.0870000000000002</c:v>
                </c:pt>
                <c:pt idx="4107">
                  <c:v>3.0680000000000001</c:v>
                </c:pt>
                <c:pt idx="4108">
                  <c:v>3.0920000000000001</c:v>
                </c:pt>
                <c:pt idx="4109">
                  <c:v>3.8409999999999997</c:v>
                </c:pt>
                <c:pt idx="4110">
                  <c:v>4.4020000000000001</c:v>
                </c:pt>
                <c:pt idx="4111">
                  <c:v>4.4649999999999999</c:v>
                </c:pt>
                <c:pt idx="4112">
                  <c:v>4.3239999999999998</c:v>
                </c:pt>
                <c:pt idx="4113">
                  <c:v>4.0060000000000002</c:v>
                </c:pt>
                <c:pt idx="4114">
                  <c:v>3.9539999999999997</c:v>
                </c:pt>
                <c:pt idx="4115">
                  <c:v>3.7640000000000002</c:v>
                </c:pt>
                <c:pt idx="4116">
                  <c:v>3.6090000000000004</c:v>
                </c:pt>
                <c:pt idx="4117">
                  <c:v>3.3649999999999998</c:v>
                </c:pt>
                <c:pt idx="4118">
                  <c:v>3.4689999999999999</c:v>
                </c:pt>
                <c:pt idx="4119">
                  <c:v>3.8200000000000003</c:v>
                </c:pt>
                <c:pt idx="4120">
                  <c:v>4.5640000000000001</c:v>
                </c:pt>
                <c:pt idx="4121">
                  <c:v>5.0939999999999994</c:v>
                </c:pt>
                <c:pt idx="4122">
                  <c:v>5.6950000000000003</c:v>
                </c:pt>
                <c:pt idx="4123">
                  <c:v>5.1029999999999998</c:v>
                </c:pt>
                <c:pt idx="4124">
                  <c:v>4.5439999999999996</c:v>
                </c:pt>
                <c:pt idx="4125">
                  <c:v>4.4049999999999994</c:v>
                </c:pt>
                <c:pt idx="4126">
                  <c:v>3.6680000000000001</c:v>
                </c:pt>
                <c:pt idx="4127">
                  <c:v>3.5939999999999999</c:v>
                </c:pt>
                <c:pt idx="4128">
                  <c:v>3.4450000000000003</c:v>
                </c:pt>
                <c:pt idx="4129">
                  <c:v>3.2039999999999997</c:v>
                </c:pt>
                <c:pt idx="4130">
                  <c:v>3.0960000000000001</c:v>
                </c:pt>
                <c:pt idx="4131">
                  <c:v>2.92</c:v>
                </c:pt>
                <c:pt idx="4132">
                  <c:v>3.02</c:v>
                </c:pt>
                <c:pt idx="4133">
                  <c:v>3.6459999999999999</c:v>
                </c:pt>
                <c:pt idx="4134">
                  <c:v>4.2389999999999999</c:v>
                </c:pt>
                <c:pt idx="4135">
                  <c:v>4.4799999999999995</c:v>
                </c:pt>
                <c:pt idx="4136">
                  <c:v>4.0880000000000001</c:v>
                </c:pt>
                <c:pt idx="4137">
                  <c:v>3.8909999999999996</c:v>
                </c:pt>
                <c:pt idx="4138">
                  <c:v>3.7149999999999999</c:v>
                </c:pt>
                <c:pt idx="4139">
                  <c:v>3.496</c:v>
                </c:pt>
                <c:pt idx="4140">
                  <c:v>3.1710000000000003</c:v>
                </c:pt>
                <c:pt idx="4141">
                  <c:v>3.0289999999999999</c:v>
                </c:pt>
                <c:pt idx="4142">
                  <c:v>3.0369999999999999</c:v>
                </c:pt>
                <c:pt idx="4143">
                  <c:v>3.0170000000000003</c:v>
                </c:pt>
                <c:pt idx="4144">
                  <c:v>3.7429999999999999</c:v>
                </c:pt>
                <c:pt idx="4145">
                  <c:v>3.9899999999999998</c:v>
                </c:pt>
                <c:pt idx="4146">
                  <c:v>4.1909999999999998</c:v>
                </c:pt>
                <c:pt idx="4147">
                  <c:v>3.899</c:v>
                </c:pt>
                <c:pt idx="4148">
                  <c:v>3.7560000000000002</c:v>
                </c:pt>
                <c:pt idx="4149">
                  <c:v>3.6070000000000002</c:v>
                </c:pt>
                <c:pt idx="4150">
                  <c:v>3.0949999999999998</c:v>
                </c:pt>
                <c:pt idx="4151">
                  <c:v>2.5329999999999999</c:v>
                </c:pt>
                <c:pt idx="4152">
                  <c:v>2.355</c:v>
                </c:pt>
                <c:pt idx="4153">
                  <c:v>2.2429999999999999</c:v>
                </c:pt>
                <c:pt idx="4154">
                  <c:v>2.141</c:v>
                </c:pt>
                <c:pt idx="4155">
                  <c:v>2.1589999999999998</c:v>
                </c:pt>
                <c:pt idx="4156">
                  <c:v>2.3340000000000001</c:v>
                </c:pt>
                <c:pt idx="4157">
                  <c:v>2.8090000000000002</c:v>
                </c:pt>
                <c:pt idx="4158">
                  <c:v>3.6259999999999999</c:v>
                </c:pt>
                <c:pt idx="4159">
                  <c:v>3.8280000000000003</c:v>
                </c:pt>
                <c:pt idx="4160">
                  <c:v>3.4090000000000003</c:v>
                </c:pt>
                <c:pt idx="4161">
                  <c:v>3.0449999999999999</c:v>
                </c:pt>
                <c:pt idx="4162">
                  <c:v>2.9050000000000002</c:v>
                </c:pt>
                <c:pt idx="4163">
                  <c:v>2.7770000000000001</c:v>
                </c:pt>
                <c:pt idx="4164">
                  <c:v>2.6100000000000003</c:v>
                </c:pt>
                <c:pt idx="4165">
                  <c:v>2.5070000000000001</c:v>
                </c:pt>
                <c:pt idx="4166">
                  <c:v>2.4980000000000002</c:v>
                </c:pt>
                <c:pt idx="4167">
                  <c:v>2.5010000000000003</c:v>
                </c:pt>
                <c:pt idx="4168">
                  <c:v>2.9059999999999997</c:v>
                </c:pt>
                <c:pt idx="4169">
                  <c:v>3.6459999999999999</c:v>
                </c:pt>
                <c:pt idx="4170">
                  <c:v>3.8420000000000001</c:v>
                </c:pt>
                <c:pt idx="4171">
                  <c:v>3.8439999999999999</c:v>
                </c:pt>
                <c:pt idx="4172">
                  <c:v>3.7979999999999996</c:v>
                </c:pt>
                <c:pt idx="4173">
                  <c:v>3.9229999999999996</c:v>
                </c:pt>
                <c:pt idx="4174">
                  <c:v>3.6429999999999998</c:v>
                </c:pt>
                <c:pt idx="4175">
                  <c:v>2.9329999999999998</c:v>
                </c:pt>
                <c:pt idx="4176">
                  <c:v>2.8010000000000002</c:v>
                </c:pt>
                <c:pt idx="4177">
                  <c:v>2.4010000000000002</c:v>
                </c:pt>
                <c:pt idx="4178">
                  <c:v>2.302</c:v>
                </c:pt>
                <c:pt idx="4179">
                  <c:v>2.06</c:v>
                </c:pt>
                <c:pt idx="4180">
                  <c:v>1.9989999999999999</c:v>
                </c:pt>
                <c:pt idx="4181">
                  <c:v>2.2090000000000001</c:v>
                </c:pt>
                <c:pt idx="4182">
                  <c:v>2.4530000000000003</c:v>
                </c:pt>
                <c:pt idx="4183">
                  <c:v>2.5659999999999998</c:v>
                </c:pt>
                <c:pt idx="4184">
                  <c:v>2.48</c:v>
                </c:pt>
                <c:pt idx="4185">
                  <c:v>2.2000000000000002</c:v>
                </c:pt>
                <c:pt idx="4186">
                  <c:v>1.1819999999999999</c:v>
                </c:pt>
                <c:pt idx="4187">
                  <c:v>1.1789999999999998</c:v>
                </c:pt>
                <c:pt idx="4188">
                  <c:v>1.032</c:v>
                </c:pt>
                <c:pt idx="4189">
                  <c:v>0.73799999999999999</c:v>
                </c:pt>
                <c:pt idx="4190">
                  <c:v>0.97699999999999998</c:v>
                </c:pt>
                <c:pt idx="4191">
                  <c:v>1.264</c:v>
                </c:pt>
                <c:pt idx="4192">
                  <c:v>2.0309999999999997</c:v>
                </c:pt>
                <c:pt idx="4193">
                  <c:v>2.9590000000000001</c:v>
                </c:pt>
                <c:pt idx="4194">
                  <c:v>3.1070000000000002</c:v>
                </c:pt>
                <c:pt idx="4195">
                  <c:v>2.9820000000000002</c:v>
                </c:pt>
                <c:pt idx="4196">
                  <c:v>3.1379999999999999</c:v>
                </c:pt>
                <c:pt idx="4197">
                  <c:v>3.194</c:v>
                </c:pt>
                <c:pt idx="4198">
                  <c:v>2.9750000000000001</c:v>
                </c:pt>
                <c:pt idx="4199">
                  <c:v>2.806</c:v>
                </c:pt>
                <c:pt idx="4200">
                  <c:v>2.359</c:v>
                </c:pt>
                <c:pt idx="4201">
                  <c:v>2.0789999999999997</c:v>
                </c:pt>
                <c:pt idx="4202">
                  <c:v>1.825</c:v>
                </c:pt>
                <c:pt idx="4203">
                  <c:v>1.4449999999999998</c:v>
                </c:pt>
                <c:pt idx="4204">
                  <c:v>1.0249999999999999</c:v>
                </c:pt>
                <c:pt idx="4205">
                  <c:v>1.026</c:v>
                </c:pt>
                <c:pt idx="4206">
                  <c:v>1.7690000000000001</c:v>
                </c:pt>
                <c:pt idx="4207">
                  <c:v>1.7769999999999999</c:v>
                </c:pt>
                <c:pt idx="4208">
                  <c:v>1.611</c:v>
                </c:pt>
                <c:pt idx="4209">
                  <c:v>1.329</c:v>
                </c:pt>
                <c:pt idx="4210">
                  <c:v>1.361</c:v>
                </c:pt>
                <c:pt idx="4211">
                  <c:v>1.127</c:v>
                </c:pt>
                <c:pt idx="4212">
                  <c:v>0.73199999999999998</c:v>
                </c:pt>
                <c:pt idx="4213">
                  <c:v>6.5000000000000002E-2</c:v>
                </c:pt>
                <c:pt idx="4214">
                  <c:v>0.32999999999999996</c:v>
                </c:pt>
                <c:pt idx="4215">
                  <c:v>0.81699999999999995</c:v>
                </c:pt>
                <c:pt idx="4216">
                  <c:v>1.7010000000000001</c:v>
                </c:pt>
                <c:pt idx="4217">
                  <c:v>2.169</c:v>
                </c:pt>
                <c:pt idx="4218">
                  <c:v>2.9210000000000003</c:v>
                </c:pt>
                <c:pt idx="4219">
                  <c:v>3.3939999999999997</c:v>
                </c:pt>
                <c:pt idx="4220">
                  <c:v>3.5209999999999999</c:v>
                </c:pt>
                <c:pt idx="4221">
                  <c:v>3.8909999999999996</c:v>
                </c:pt>
                <c:pt idx="4222">
                  <c:v>3.621</c:v>
                </c:pt>
                <c:pt idx="4223">
                  <c:v>3.3289999999999997</c:v>
                </c:pt>
                <c:pt idx="4224">
                  <c:v>3.08</c:v>
                </c:pt>
                <c:pt idx="4225">
                  <c:v>2.8029999999999999</c:v>
                </c:pt>
                <c:pt idx="4226">
                  <c:v>2.6160000000000001</c:v>
                </c:pt>
                <c:pt idx="4227">
                  <c:v>2.3959999999999999</c:v>
                </c:pt>
                <c:pt idx="4228">
                  <c:v>2.621</c:v>
                </c:pt>
                <c:pt idx="4229">
                  <c:v>3.7119999999999997</c:v>
                </c:pt>
                <c:pt idx="4230">
                  <c:v>3.9430000000000001</c:v>
                </c:pt>
                <c:pt idx="4231">
                  <c:v>3.8979999999999997</c:v>
                </c:pt>
                <c:pt idx="4232">
                  <c:v>3.4430000000000001</c:v>
                </c:pt>
                <c:pt idx="4233">
                  <c:v>2.8850000000000002</c:v>
                </c:pt>
                <c:pt idx="4234">
                  <c:v>2.8090000000000002</c:v>
                </c:pt>
                <c:pt idx="4235">
                  <c:v>2.7489999999999997</c:v>
                </c:pt>
                <c:pt idx="4236">
                  <c:v>2.7350000000000003</c:v>
                </c:pt>
                <c:pt idx="4237">
                  <c:v>2.62</c:v>
                </c:pt>
                <c:pt idx="4238">
                  <c:v>2.7199999999999998</c:v>
                </c:pt>
                <c:pt idx="4239">
                  <c:v>2.8029999999999999</c:v>
                </c:pt>
                <c:pt idx="4240">
                  <c:v>3.5380000000000003</c:v>
                </c:pt>
                <c:pt idx="4241">
                  <c:v>3.9899999999999998</c:v>
                </c:pt>
                <c:pt idx="4242">
                  <c:v>4.2909999999999995</c:v>
                </c:pt>
                <c:pt idx="4243">
                  <c:v>4.1579999999999995</c:v>
                </c:pt>
                <c:pt idx="4244">
                  <c:v>4.0549999999999997</c:v>
                </c:pt>
                <c:pt idx="4245">
                  <c:v>4.24</c:v>
                </c:pt>
                <c:pt idx="4246">
                  <c:v>3.8460000000000001</c:v>
                </c:pt>
                <c:pt idx="4247">
                  <c:v>3.1070000000000002</c:v>
                </c:pt>
                <c:pt idx="4248">
                  <c:v>3.0070000000000001</c:v>
                </c:pt>
                <c:pt idx="4249">
                  <c:v>2.9089999999999998</c:v>
                </c:pt>
                <c:pt idx="4250">
                  <c:v>2.9039999999999999</c:v>
                </c:pt>
                <c:pt idx="4251">
                  <c:v>2.8690000000000002</c:v>
                </c:pt>
                <c:pt idx="4252">
                  <c:v>2.9409999999999998</c:v>
                </c:pt>
                <c:pt idx="4253">
                  <c:v>3.7939999999999996</c:v>
                </c:pt>
                <c:pt idx="4254">
                  <c:v>4.3549999999999995</c:v>
                </c:pt>
                <c:pt idx="4255">
                  <c:v>4.6659999999999995</c:v>
                </c:pt>
                <c:pt idx="4256">
                  <c:v>4.63</c:v>
                </c:pt>
                <c:pt idx="4257">
                  <c:v>4.6689999999999996</c:v>
                </c:pt>
                <c:pt idx="4258">
                  <c:v>4.8040000000000003</c:v>
                </c:pt>
                <c:pt idx="4259">
                  <c:v>4.5950000000000006</c:v>
                </c:pt>
                <c:pt idx="4260">
                  <c:v>4.4450000000000003</c:v>
                </c:pt>
                <c:pt idx="4261">
                  <c:v>4.41</c:v>
                </c:pt>
                <c:pt idx="4262">
                  <c:v>4.0149999999999997</c:v>
                </c:pt>
                <c:pt idx="4263">
                  <c:v>4.2530000000000001</c:v>
                </c:pt>
                <c:pt idx="4264">
                  <c:v>4.26</c:v>
                </c:pt>
                <c:pt idx="4265">
                  <c:v>4.3929999999999998</c:v>
                </c:pt>
                <c:pt idx="4266">
                  <c:v>4.3950000000000005</c:v>
                </c:pt>
                <c:pt idx="4267">
                  <c:v>4.024</c:v>
                </c:pt>
                <c:pt idx="4268">
                  <c:v>3.7979999999999996</c:v>
                </c:pt>
                <c:pt idx="4269">
                  <c:v>3.2619999999999996</c:v>
                </c:pt>
                <c:pt idx="4270">
                  <c:v>2.73</c:v>
                </c:pt>
                <c:pt idx="4271">
                  <c:v>2.8769999999999998</c:v>
                </c:pt>
                <c:pt idx="4272">
                  <c:v>2.7350000000000003</c:v>
                </c:pt>
                <c:pt idx="4273">
                  <c:v>2.6379999999999999</c:v>
                </c:pt>
                <c:pt idx="4274">
                  <c:v>2.6019999999999999</c:v>
                </c:pt>
                <c:pt idx="4275">
                  <c:v>2.5960000000000001</c:v>
                </c:pt>
                <c:pt idx="4276">
                  <c:v>2.7960000000000003</c:v>
                </c:pt>
                <c:pt idx="4277">
                  <c:v>3.2759999999999998</c:v>
                </c:pt>
                <c:pt idx="4278">
                  <c:v>3.8639999999999999</c:v>
                </c:pt>
                <c:pt idx="4279">
                  <c:v>4.1509999999999998</c:v>
                </c:pt>
                <c:pt idx="4280">
                  <c:v>4.1989999999999998</c:v>
                </c:pt>
                <c:pt idx="4281">
                  <c:v>4.1950000000000003</c:v>
                </c:pt>
                <c:pt idx="4282">
                  <c:v>4.2700000000000005</c:v>
                </c:pt>
                <c:pt idx="4283">
                  <c:v>4.1450000000000005</c:v>
                </c:pt>
                <c:pt idx="4284">
                  <c:v>3.8969999999999998</c:v>
                </c:pt>
                <c:pt idx="4285">
                  <c:v>3.657</c:v>
                </c:pt>
                <c:pt idx="4286">
                  <c:v>3.379</c:v>
                </c:pt>
                <c:pt idx="4287">
                  <c:v>3.4899999999999998</c:v>
                </c:pt>
                <c:pt idx="4288">
                  <c:v>3.84</c:v>
                </c:pt>
                <c:pt idx="4289">
                  <c:v>3.8969999999999998</c:v>
                </c:pt>
                <c:pt idx="4290">
                  <c:v>4</c:v>
                </c:pt>
                <c:pt idx="4291">
                  <c:v>3.8950000000000005</c:v>
                </c:pt>
                <c:pt idx="4292">
                  <c:v>3.5609999999999999</c:v>
                </c:pt>
                <c:pt idx="4293">
                  <c:v>3.5920000000000001</c:v>
                </c:pt>
                <c:pt idx="4294">
                  <c:v>3.1239999999999997</c:v>
                </c:pt>
                <c:pt idx="4295">
                  <c:v>3.242</c:v>
                </c:pt>
                <c:pt idx="4296">
                  <c:v>3.0590000000000002</c:v>
                </c:pt>
                <c:pt idx="4297">
                  <c:v>2.9940000000000002</c:v>
                </c:pt>
                <c:pt idx="4298">
                  <c:v>2.903</c:v>
                </c:pt>
                <c:pt idx="4299">
                  <c:v>2.9050000000000002</c:v>
                </c:pt>
                <c:pt idx="4300">
                  <c:v>3.012</c:v>
                </c:pt>
                <c:pt idx="4301">
                  <c:v>3.3950000000000005</c:v>
                </c:pt>
                <c:pt idx="4302">
                  <c:v>4.1899999999999995</c:v>
                </c:pt>
                <c:pt idx="4303">
                  <c:v>4.6959999999999997</c:v>
                </c:pt>
                <c:pt idx="4304">
                  <c:v>4.7530000000000001</c:v>
                </c:pt>
                <c:pt idx="4305">
                  <c:v>4.7530000000000001</c:v>
                </c:pt>
                <c:pt idx="4306">
                  <c:v>4.7810000000000006</c:v>
                </c:pt>
                <c:pt idx="4307">
                  <c:v>4.5990000000000002</c:v>
                </c:pt>
                <c:pt idx="4308">
                  <c:v>4.5200000000000005</c:v>
                </c:pt>
                <c:pt idx="4309">
                  <c:v>4.1710000000000003</c:v>
                </c:pt>
                <c:pt idx="4310">
                  <c:v>3.9170000000000003</c:v>
                </c:pt>
                <c:pt idx="4311">
                  <c:v>3.8280000000000003</c:v>
                </c:pt>
                <c:pt idx="4312">
                  <c:v>3.8229999999999995</c:v>
                </c:pt>
                <c:pt idx="4313">
                  <c:v>3.8939999999999997</c:v>
                </c:pt>
                <c:pt idx="4314">
                  <c:v>3.9009999999999998</c:v>
                </c:pt>
                <c:pt idx="4315">
                  <c:v>3.5520000000000005</c:v>
                </c:pt>
                <c:pt idx="4316">
                  <c:v>3.4990000000000001</c:v>
                </c:pt>
                <c:pt idx="4317">
                  <c:v>3.6479999999999997</c:v>
                </c:pt>
                <c:pt idx="4318">
                  <c:v>3.35</c:v>
                </c:pt>
                <c:pt idx="4319">
                  <c:v>2.9289999999999998</c:v>
                </c:pt>
                <c:pt idx="4320">
                  <c:v>2.9010000000000002</c:v>
                </c:pt>
                <c:pt idx="4321">
                  <c:v>2.806</c:v>
                </c:pt>
                <c:pt idx="4322">
                  <c:v>2.7</c:v>
                </c:pt>
                <c:pt idx="4323">
                  <c:v>2.5579999999999998</c:v>
                </c:pt>
                <c:pt idx="4324">
                  <c:v>2.8</c:v>
                </c:pt>
                <c:pt idx="4325">
                  <c:v>3.1960000000000002</c:v>
                </c:pt>
                <c:pt idx="4326">
                  <c:v>3.7930000000000001</c:v>
                </c:pt>
                <c:pt idx="4327">
                  <c:v>3.8909999999999996</c:v>
                </c:pt>
                <c:pt idx="4328">
                  <c:v>3.5990000000000002</c:v>
                </c:pt>
                <c:pt idx="4329">
                  <c:v>3.5509999999999997</c:v>
                </c:pt>
                <c:pt idx="4330">
                  <c:v>3.2240000000000002</c:v>
                </c:pt>
                <c:pt idx="4331">
                  <c:v>2.9329999999999998</c:v>
                </c:pt>
                <c:pt idx="4332">
                  <c:v>2.7290000000000001</c:v>
                </c:pt>
                <c:pt idx="4333">
                  <c:v>2.508</c:v>
                </c:pt>
                <c:pt idx="4334">
                  <c:v>2.5089999999999999</c:v>
                </c:pt>
                <c:pt idx="4335">
                  <c:v>2.7290000000000001</c:v>
                </c:pt>
                <c:pt idx="4336">
                  <c:v>3.0510000000000002</c:v>
                </c:pt>
                <c:pt idx="4337">
                  <c:v>3.6360000000000001</c:v>
                </c:pt>
                <c:pt idx="4338">
                  <c:v>3.8920000000000003</c:v>
                </c:pt>
                <c:pt idx="4339">
                  <c:v>3.871</c:v>
                </c:pt>
                <c:pt idx="4340">
                  <c:v>3.661</c:v>
                </c:pt>
                <c:pt idx="4341">
                  <c:v>3.8950000000000005</c:v>
                </c:pt>
                <c:pt idx="4342">
                  <c:v>3.407</c:v>
                </c:pt>
                <c:pt idx="4343">
                  <c:v>3.2170000000000001</c:v>
                </c:pt>
                <c:pt idx="4344">
                  <c:v>2.9039999999999999</c:v>
                </c:pt>
                <c:pt idx="4345">
                  <c:v>2.6960000000000002</c:v>
                </c:pt>
                <c:pt idx="4346">
                  <c:v>2.6079999999999997</c:v>
                </c:pt>
                <c:pt idx="4347">
                  <c:v>2.6040000000000001</c:v>
                </c:pt>
                <c:pt idx="4348">
                  <c:v>2.5590000000000002</c:v>
                </c:pt>
                <c:pt idx="4349">
                  <c:v>2.556</c:v>
                </c:pt>
                <c:pt idx="4350">
                  <c:v>2.677</c:v>
                </c:pt>
                <c:pt idx="4351">
                  <c:v>2.8820000000000001</c:v>
                </c:pt>
                <c:pt idx="4352">
                  <c:v>3.2399999999999998</c:v>
                </c:pt>
                <c:pt idx="4353">
                  <c:v>3.335</c:v>
                </c:pt>
                <c:pt idx="4354">
                  <c:v>3.3149999999999999</c:v>
                </c:pt>
                <c:pt idx="4355">
                  <c:v>2.91</c:v>
                </c:pt>
                <c:pt idx="4356">
                  <c:v>2.6070000000000002</c:v>
                </c:pt>
                <c:pt idx="4357">
                  <c:v>2.633</c:v>
                </c:pt>
                <c:pt idx="4358">
                  <c:v>2.6040000000000001</c:v>
                </c:pt>
                <c:pt idx="4359">
                  <c:v>2.609</c:v>
                </c:pt>
                <c:pt idx="4360">
                  <c:v>2.9010000000000002</c:v>
                </c:pt>
                <c:pt idx="4361">
                  <c:v>2.9340000000000002</c:v>
                </c:pt>
                <c:pt idx="4362">
                  <c:v>2.9889999999999999</c:v>
                </c:pt>
                <c:pt idx="4363">
                  <c:v>3.012</c:v>
                </c:pt>
                <c:pt idx="4364">
                  <c:v>2.9630000000000001</c:v>
                </c:pt>
                <c:pt idx="4365">
                  <c:v>2.887</c:v>
                </c:pt>
                <c:pt idx="4366">
                  <c:v>2.6260000000000003</c:v>
                </c:pt>
                <c:pt idx="4367">
                  <c:v>2.4359999999999999</c:v>
                </c:pt>
                <c:pt idx="4368">
                  <c:v>2.3120000000000003</c:v>
                </c:pt>
                <c:pt idx="4369">
                  <c:v>2.2730000000000001</c:v>
                </c:pt>
                <c:pt idx="4370">
                  <c:v>2.2629999999999999</c:v>
                </c:pt>
                <c:pt idx="4371">
                  <c:v>2.0270000000000001</c:v>
                </c:pt>
                <c:pt idx="4372">
                  <c:v>2.0590000000000002</c:v>
                </c:pt>
                <c:pt idx="4373">
                  <c:v>2.13</c:v>
                </c:pt>
                <c:pt idx="4374">
                  <c:v>2.3069999999999999</c:v>
                </c:pt>
                <c:pt idx="4375">
                  <c:v>2.476</c:v>
                </c:pt>
                <c:pt idx="4376">
                  <c:v>2.556</c:v>
                </c:pt>
                <c:pt idx="4377">
                  <c:v>2.0710000000000002</c:v>
                </c:pt>
                <c:pt idx="4378">
                  <c:v>2.3319999999999999</c:v>
                </c:pt>
                <c:pt idx="4379">
                  <c:v>2.1360000000000001</c:v>
                </c:pt>
                <c:pt idx="4380">
                  <c:v>1.9079999999999999</c:v>
                </c:pt>
                <c:pt idx="4381">
                  <c:v>1.0470000000000002</c:v>
                </c:pt>
                <c:pt idx="4382">
                  <c:v>0.99600000000000011</c:v>
                </c:pt>
                <c:pt idx="4383">
                  <c:v>1.7309999999999999</c:v>
                </c:pt>
                <c:pt idx="4384">
                  <c:v>1.972</c:v>
                </c:pt>
                <c:pt idx="4385">
                  <c:v>2.863</c:v>
                </c:pt>
                <c:pt idx="4386">
                  <c:v>3.29</c:v>
                </c:pt>
                <c:pt idx="4387">
                  <c:v>3.5369999999999999</c:v>
                </c:pt>
                <c:pt idx="4388">
                  <c:v>3.7</c:v>
                </c:pt>
                <c:pt idx="4389">
                  <c:v>3.8920000000000003</c:v>
                </c:pt>
                <c:pt idx="4390">
                  <c:v>3.7060000000000004</c:v>
                </c:pt>
                <c:pt idx="4391">
                  <c:v>2.6040000000000001</c:v>
                </c:pt>
                <c:pt idx="4392">
                  <c:v>2.351</c:v>
                </c:pt>
                <c:pt idx="4393">
                  <c:v>2.286</c:v>
                </c:pt>
                <c:pt idx="4394">
                  <c:v>2.2559999999999998</c:v>
                </c:pt>
                <c:pt idx="4395">
                  <c:v>2.4859999999999998</c:v>
                </c:pt>
                <c:pt idx="4396">
                  <c:v>2.6779999999999999</c:v>
                </c:pt>
                <c:pt idx="4397">
                  <c:v>3.4929999999999999</c:v>
                </c:pt>
                <c:pt idx="4398">
                  <c:v>4.125</c:v>
                </c:pt>
                <c:pt idx="4399">
                  <c:v>4.1609999999999996</c:v>
                </c:pt>
                <c:pt idx="4400">
                  <c:v>3.8939999999999997</c:v>
                </c:pt>
                <c:pt idx="4401">
                  <c:v>3.5350000000000001</c:v>
                </c:pt>
                <c:pt idx="4402">
                  <c:v>3.2920000000000003</c:v>
                </c:pt>
                <c:pt idx="4403">
                  <c:v>2.8679999999999999</c:v>
                </c:pt>
                <c:pt idx="4404">
                  <c:v>2.8170000000000002</c:v>
                </c:pt>
                <c:pt idx="4405">
                  <c:v>2.6909999999999998</c:v>
                </c:pt>
                <c:pt idx="4406">
                  <c:v>2.802</c:v>
                </c:pt>
                <c:pt idx="4407">
                  <c:v>2.859</c:v>
                </c:pt>
                <c:pt idx="4408">
                  <c:v>3.218</c:v>
                </c:pt>
                <c:pt idx="4409">
                  <c:v>3.8939999999999997</c:v>
                </c:pt>
                <c:pt idx="4410">
                  <c:v>4.2780000000000005</c:v>
                </c:pt>
                <c:pt idx="4411">
                  <c:v>4.0909999999999993</c:v>
                </c:pt>
                <c:pt idx="4412">
                  <c:v>3.9369999999999998</c:v>
                </c:pt>
                <c:pt idx="4413">
                  <c:v>3.9909999999999997</c:v>
                </c:pt>
                <c:pt idx="4414">
                  <c:v>3.2039999999999997</c:v>
                </c:pt>
                <c:pt idx="4415">
                  <c:v>2.883</c:v>
                </c:pt>
                <c:pt idx="4416">
                  <c:v>2.863</c:v>
                </c:pt>
                <c:pt idx="4417">
                  <c:v>2.8489999999999998</c:v>
                </c:pt>
                <c:pt idx="4418">
                  <c:v>2.843</c:v>
                </c:pt>
                <c:pt idx="4419">
                  <c:v>2.7989999999999999</c:v>
                </c:pt>
                <c:pt idx="4420">
                  <c:v>2.8440000000000003</c:v>
                </c:pt>
                <c:pt idx="4421">
                  <c:v>3.5810000000000004</c:v>
                </c:pt>
                <c:pt idx="4422">
                  <c:v>4.1630000000000003</c:v>
                </c:pt>
                <c:pt idx="4423">
                  <c:v>4.1790000000000003</c:v>
                </c:pt>
                <c:pt idx="4424">
                  <c:v>3.6</c:v>
                </c:pt>
                <c:pt idx="4425">
                  <c:v>3.4740000000000002</c:v>
                </c:pt>
                <c:pt idx="4426">
                  <c:v>3.2969999999999997</c:v>
                </c:pt>
                <c:pt idx="4427">
                  <c:v>3.1930000000000001</c:v>
                </c:pt>
                <c:pt idx="4428">
                  <c:v>3.1930000000000001</c:v>
                </c:pt>
                <c:pt idx="4429">
                  <c:v>3.0550000000000002</c:v>
                </c:pt>
                <c:pt idx="4430">
                  <c:v>3.2600000000000002</c:v>
                </c:pt>
                <c:pt idx="4431">
                  <c:v>3.2930000000000001</c:v>
                </c:pt>
                <c:pt idx="4432">
                  <c:v>3.6950000000000003</c:v>
                </c:pt>
                <c:pt idx="4433">
                  <c:v>4</c:v>
                </c:pt>
                <c:pt idx="4434">
                  <c:v>4.4039999999999999</c:v>
                </c:pt>
                <c:pt idx="4435">
                  <c:v>4.3100000000000005</c:v>
                </c:pt>
                <c:pt idx="4436">
                  <c:v>4.1680000000000001</c:v>
                </c:pt>
                <c:pt idx="4437">
                  <c:v>4.0540000000000003</c:v>
                </c:pt>
                <c:pt idx="4438">
                  <c:v>3.7290000000000001</c:v>
                </c:pt>
                <c:pt idx="4439">
                  <c:v>3.4990000000000001</c:v>
                </c:pt>
                <c:pt idx="4440">
                  <c:v>3.2509999999999999</c:v>
                </c:pt>
                <c:pt idx="4441">
                  <c:v>3.1019999999999999</c:v>
                </c:pt>
                <c:pt idx="4442">
                  <c:v>2.907</c:v>
                </c:pt>
                <c:pt idx="4443">
                  <c:v>2.9539999999999997</c:v>
                </c:pt>
                <c:pt idx="4444">
                  <c:v>3.1890000000000001</c:v>
                </c:pt>
                <c:pt idx="4445">
                  <c:v>3.8020000000000005</c:v>
                </c:pt>
                <c:pt idx="4446">
                  <c:v>4.3920000000000003</c:v>
                </c:pt>
                <c:pt idx="4447">
                  <c:v>4.601</c:v>
                </c:pt>
                <c:pt idx="4448">
                  <c:v>4.4180000000000001</c:v>
                </c:pt>
                <c:pt idx="4449">
                  <c:v>4.3710000000000004</c:v>
                </c:pt>
                <c:pt idx="4450">
                  <c:v>4.2060000000000004</c:v>
                </c:pt>
                <c:pt idx="4451">
                  <c:v>3.8929999999999998</c:v>
                </c:pt>
                <c:pt idx="4452">
                  <c:v>3.8090000000000002</c:v>
                </c:pt>
                <c:pt idx="4453">
                  <c:v>3.7439999999999998</c:v>
                </c:pt>
                <c:pt idx="4454">
                  <c:v>3.7380000000000004</c:v>
                </c:pt>
                <c:pt idx="4455">
                  <c:v>3.8899999999999997</c:v>
                </c:pt>
                <c:pt idx="4456">
                  <c:v>4.1509999999999998</c:v>
                </c:pt>
                <c:pt idx="4457">
                  <c:v>4.2520000000000007</c:v>
                </c:pt>
                <c:pt idx="4458">
                  <c:v>4.4550000000000001</c:v>
                </c:pt>
                <c:pt idx="4459">
                  <c:v>4.415</c:v>
                </c:pt>
                <c:pt idx="4460">
                  <c:v>4.3929999999999998</c:v>
                </c:pt>
                <c:pt idx="4461">
                  <c:v>4.1659999999999995</c:v>
                </c:pt>
                <c:pt idx="4462">
                  <c:v>3.6070000000000002</c:v>
                </c:pt>
                <c:pt idx="4463">
                  <c:v>3.3029999999999999</c:v>
                </c:pt>
                <c:pt idx="4464">
                  <c:v>3.2210000000000001</c:v>
                </c:pt>
                <c:pt idx="4465">
                  <c:v>3.0620000000000003</c:v>
                </c:pt>
                <c:pt idx="4466">
                  <c:v>3.0110000000000001</c:v>
                </c:pt>
                <c:pt idx="4467">
                  <c:v>2.919</c:v>
                </c:pt>
                <c:pt idx="4468">
                  <c:v>3.2060000000000004</c:v>
                </c:pt>
                <c:pt idx="4469">
                  <c:v>3.694</c:v>
                </c:pt>
                <c:pt idx="4470">
                  <c:v>4.2290000000000001</c:v>
                </c:pt>
                <c:pt idx="4471">
                  <c:v>4.8239999999999998</c:v>
                </c:pt>
                <c:pt idx="4472">
                  <c:v>4.3079999999999998</c:v>
                </c:pt>
                <c:pt idx="4473">
                  <c:v>4.1859999999999999</c:v>
                </c:pt>
                <c:pt idx="4474">
                  <c:v>4.0030000000000001</c:v>
                </c:pt>
                <c:pt idx="4475">
                  <c:v>3.5710000000000002</c:v>
                </c:pt>
                <c:pt idx="4476">
                  <c:v>3.5750000000000002</c:v>
                </c:pt>
                <c:pt idx="4477">
                  <c:v>3.5539999999999998</c:v>
                </c:pt>
                <c:pt idx="4478">
                  <c:v>3.9520000000000004</c:v>
                </c:pt>
                <c:pt idx="4479">
                  <c:v>4.0600000000000005</c:v>
                </c:pt>
                <c:pt idx="4480">
                  <c:v>4.431</c:v>
                </c:pt>
                <c:pt idx="4481">
                  <c:v>4.5869999999999997</c:v>
                </c:pt>
                <c:pt idx="4482">
                  <c:v>5.3710000000000004</c:v>
                </c:pt>
                <c:pt idx="4483">
                  <c:v>4.9560000000000004</c:v>
                </c:pt>
                <c:pt idx="4484">
                  <c:v>4.6029999999999998</c:v>
                </c:pt>
                <c:pt idx="4485">
                  <c:v>4.2709999999999999</c:v>
                </c:pt>
                <c:pt idx="4486">
                  <c:v>3.5609999999999999</c:v>
                </c:pt>
                <c:pt idx="4487">
                  <c:v>3.4159999999999995</c:v>
                </c:pt>
                <c:pt idx="4488">
                  <c:v>3.2069999999999999</c:v>
                </c:pt>
                <c:pt idx="4489">
                  <c:v>3.08</c:v>
                </c:pt>
                <c:pt idx="4490">
                  <c:v>3.069</c:v>
                </c:pt>
                <c:pt idx="4491">
                  <c:v>2.964</c:v>
                </c:pt>
                <c:pt idx="4492">
                  <c:v>3.0840000000000001</c:v>
                </c:pt>
                <c:pt idx="4493">
                  <c:v>3.5869999999999997</c:v>
                </c:pt>
                <c:pt idx="4494">
                  <c:v>4.1880000000000006</c:v>
                </c:pt>
                <c:pt idx="4495">
                  <c:v>4.5540000000000003</c:v>
                </c:pt>
                <c:pt idx="4496">
                  <c:v>4.5579999999999998</c:v>
                </c:pt>
                <c:pt idx="4497">
                  <c:v>4.4610000000000003</c:v>
                </c:pt>
                <c:pt idx="4498">
                  <c:v>4.3310000000000004</c:v>
                </c:pt>
                <c:pt idx="4499">
                  <c:v>3.9649999999999999</c:v>
                </c:pt>
                <c:pt idx="4500">
                  <c:v>3.4430000000000001</c:v>
                </c:pt>
                <c:pt idx="4501">
                  <c:v>3.2049999999999996</c:v>
                </c:pt>
                <c:pt idx="4502">
                  <c:v>3.1840000000000002</c:v>
                </c:pt>
                <c:pt idx="4503">
                  <c:v>3.2399999999999998</c:v>
                </c:pt>
                <c:pt idx="4504">
                  <c:v>3.7869999999999999</c:v>
                </c:pt>
                <c:pt idx="4505">
                  <c:v>4.0579999999999998</c:v>
                </c:pt>
                <c:pt idx="4506">
                  <c:v>4.274</c:v>
                </c:pt>
                <c:pt idx="4507">
                  <c:v>4.18</c:v>
                </c:pt>
                <c:pt idx="4508">
                  <c:v>4.0460000000000003</c:v>
                </c:pt>
                <c:pt idx="4509">
                  <c:v>4.0990000000000002</c:v>
                </c:pt>
                <c:pt idx="4510">
                  <c:v>3.5909999999999997</c:v>
                </c:pt>
                <c:pt idx="4511">
                  <c:v>3.7079999999999997</c:v>
                </c:pt>
                <c:pt idx="4512">
                  <c:v>3.464</c:v>
                </c:pt>
                <c:pt idx="4513">
                  <c:v>3.2049999999999996</c:v>
                </c:pt>
                <c:pt idx="4514">
                  <c:v>3.0680000000000001</c:v>
                </c:pt>
                <c:pt idx="4515">
                  <c:v>2.9870000000000001</c:v>
                </c:pt>
                <c:pt idx="4516">
                  <c:v>2.9089999999999998</c:v>
                </c:pt>
                <c:pt idx="4517">
                  <c:v>3</c:v>
                </c:pt>
                <c:pt idx="4518">
                  <c:v>3.2020000000000004</c:v>
                </c:pt>
                <c:pt idx="4519">
                  <c:v>3.4579999999999997</c:v>
                </c:pt>
                <c:pt idx="4520">
                  <c:v>3.6710000000000003</c:v>
                </c:pt>
                <c:pt idx="4521">
                  <c:v>3.589</c:v>
                </c:pt>
                <c:pt idx="4522">
                  <c:v>3.5369999999999999</c:v>
                </c:pt>
                <c:pt idx="4523">
                  <c:v>3.3220000000000001</c:v>
                </c:pt>
                <c:pt idx="4524">
                  <c:v>3.141</c:v>
                </c:pt>
                <c:pt idx="4525">
                  <c:v>3.0179999999999998</c:v>
                </c:pt>
                <c:pt idx="4526">
                  <c:v>3.0049999999999999</c:v>
                </c:pt>
                <c:pt idx="4527">
                  <c:v>3.1399999999999997</c:v>
                </c:pt>
                <c:pt idx="4528">
                  <c:v>3.3180000000000001</c:v>
                </c:pt>
                <c:pt idx="4529">
                  <c:v>3.6979999999999995</c:v>
                </c:pt>
                <c:pt idx="4530">
                  <c:v>4.0039999999999996</c:v>
                </c:pt>
                <c:pt idx="4531">
                  <c:v>3.9630000000000001</c:v>
                </c:pt>
                <c:pt idx="4532">
                  <c:v>3.9820000000000002</c:v>
                </c:pt>
                <c:pt idx="4533">
                  <c:v>4.2090000000000005</c:v>
                </c:pt>
                <c:pt idx="4534">
                  <c:v>3.9670000000000001</c:v>
                </c:pt>
                <c:pt idx="4535">
                  <c:v>3.2210000000000001</c:v>
                </c:pt>
                <c:pt idx="4536">
                  <c:v>3.1079999999999997</c:v>
                </c:pt>
                <c:pt idx="4537">
                  <c:v>2.984</c:v>
                </c:pt>
                <c:pt idx="4538">
                  <c:v>2.92</c:v>
                </c:pt>
                <c:pt idx="4539">
                  <c:v>2.9620000000000002</c:v>
                </c:pt>
                <c:pt idx="4540">
                  <c:v>2.9460000000000002</c:v>
                </c:pt>
                <c:pt idx="4541">
                  <c:v>2.9489999999999998</c:v>
                </c:pt>
                <c:pt idx="4542">
                  <c:v>2.9829999999999997</c:v>
                </c:pt>
                <c:pt idx="4543">
                  <c:v>3.0030000000000001</c:v>
                </c:pt>
                <c:pt idx="4544">
                  <c:v>3.1260000000000003</c:v>
                </c:pt>
                <c:pt idx="4545">
                  <c:v>3.1260000000000003</c:v>
                </c:pt>
                <c:pt idx="4546">
                  <c:v>3.2399999999999998</c:v>
                </c:pt>
                <c:pt idx="4547">
                  <c:v>3.2069999999999999</c:v>
                </c:pt>
                <c:pt idx="4548">
                  <c:v>3.1</c:v>
                </c:pt>
                <c:pt idx="4549">
                  <c:v>2.988</c:v>
                </c:pt>
                <c:pt idx="4550">
                  <c:v>3.069</c:v>
                </c:pt>
                <c:pt idx="4551">
                  <c:v>3.1280000000000001</c:v>
                </c:pt>
                <c:pt idx="4552">
                  <c:v>3.38</c:v>
                </c:pt>
                <c:pt idx="4553">
                  <c:v>3.6749999999999998</c:v>
                </c:pt>
                <c:pt idx="4554">
                  <c:v>4.0529999999999999</c:v>
                </c:pt>
                <c:pt idx="4555">
                  <c:v>4.0529999999999999</c:v>
                </c:pt>
                <c:pt idx="4556">
                  <c:v>4.0590000000000002</c:v>
                </c:pt>
                <c:pt idx="4557">
                  <c:v>4.2279999999999998</c:v>
                </c:pt>
                <c:pt idx="4558">
                  <c:v>4.008</c:v>
                </c:pt>
                <c:pt idx="4559">
                  <c:v>3.2759999999999998</c:v>
                </c:pt>
                <c:pt idx="4560">
                  <c:v>2.992</c:v>
                </c:pt>
                <c:pt idx="4561">
                  <c:v>2.944</c:v>
                </c:pt>
                <c:pt idx="4562">
                  <c:v>2.9590000000000001</c:v>
                </c:pt>
                <c:pt idx="4563">
                  <c:v>2.931</c:v>
                </c:pt>
                <c:pt idx="4564">
                  <c:v>3.06</c:v>
                </c:pt>
                <c:pt idx="4565">
                  <c:v>3.8029999999999999</c:v>
                </c:pt>
                <c:pt idx="4566">
                  <c:v>4.4030000000000005</c:v>
                </c:pt>
                <c:pt idx="4567">
                  <c:v>5.0069999999999997</c:v>
                </c:pt>
                <c:pt idx="4568">
                  <c:v>5</c:v>
                </c:pt>
                <c:pt idx="4569">
                  <c:v>4.8729999999999993</c:v>
                </c:pt>
                <c:pt idx="4570">
                  <c:v>4.8719999999999999</c:v>
                </c:pt>
                <c:pt idx="4571">
                  <c:v>4.7690000000000001</c:v>
                </c:pt>
                <c:pt idx="4572">
                  <c:v>4.665</c:v>
                </c:pt>
                <c:pt idx="4573">
                  <c:v>4.4180000000000001</c:v>
                </c:pt>
                <c:pt idx="4574">
                  <c:v>4.2930000000000001</c:v>
                </c:pt>
                <c:pt idx="4575">
                  <c:v>4.0649999999999995</c:v>
                </c:pt>
                <c:pt idx="4576">
                  <c:v>4.0950000000000006</c:v>
                </c:pt>
                <c:pt idx="4577">
                  <c:v>4.1619999999999999</c:v>
                </c:pt>
                <c:pt idx="4578">
                  <c:v>4.2969999999999997</c:v>
                </c:pt>
                <c:pt idx="4579">
                  <c:v>4.0209999999999999</c:v>
                </c:pt>
                <c:pt idx="4580">
                  <c:v>3.8860000000000001</c:v>
                </c:pt>
                <c:pt idx="4581">
                  <c:v>3.992</c:v>
                </c:pt>
                <c:pt idx="4582">
                  <c:v>3.3450000000000002</c:v>
                </c:pt>
                <c:pt idx="4583">
                  <c:v>3.093</c:v>
                </c:pt>
                <c:pt idx="4584">
                  <c:v>3.028</c:v>
                </c:pt>
                <c:pt idx="4585">
                  <c:v>2.9630000000000001</c:v>
                </c:pt>
                <c:pt idx="4586">
                  <c:v>2.8959999999999999</c:v>
                </c:pt>
                <c:pt idx="4587">
                  <c:v>2.895</c:v>
                </c:pt>
                <c:pt idx="4588">
                  <c:v>3.008</c:v>
                </c:pt>
                <c:pt idx="4589">
                  <c:v>3.4509999999999996</c:v>
                </c:pt>
                <c:pt idx="4590">
                  <c:v>4.1440000000000001</c:v>
                </c:pt>
                <c:pt idx="4591">
                  <c:v>4.4219999999999997</c:v>
                </c:pt>
                <c:pt idx="4592">
                  <c:v>4.343</c:v>
                </c:pt>
                <c:pt idx="4593">
                  <c:v>4.2030000000000003</c:v>
                </c:pt>
                <c:pt idx="4594">
                  <c:v>4.1450000000000005</c:v>
                </c:pt>
                <c:pt idx="4595">
                  <c:v>3.9420000000000002</c:v>
                </c:pt>
                <c:pt idx="4596">
                  <c:v>3.601</c:v>
                </c:pt>
                <c:pt idx="4597">
                  <c:v>3.4210000000000003</c:v>
                </c:pt>
                <c:pt idx="4598">
                  <c:v>3.4420000000000002</c:v>
                </c:pt>
                <c:pt idx="4599">
                  <c:v>3.5390000000000001</c:v>
                </c:pt>
                <c:pt idx="4600">
                  <c:v>3.7619999999999996</c:v>
                </c:pt>
                <c:pt idx="4601">
                  <c:v>3.9990000000000001</c:v>
                </c:pt>
                <c:pt idx="4602">
                  <c:v>4.1579999999999995</c:v>
                </c:pt>
                <c:pt idx="4603">
                  <c:v>4.07</c:v>
                </c:pt>
                <c:pt idx="4604">
                  <c:v>3.8939999999999997</c:v>
                </c:pt>
                <c:pt idx="4605">
                  <c:v>3.9359999999999999</c:v>
                </c:pt>
                <c:pt idx="4606">
                  <c:v>3.4249999999999998</c:v>
                </c:pt>
                <c:pt idx="4607">
                  <c:v>3.2290000000000001</c:v>
                </c:pt>
                <c:pt idx="4608">
                  <c:v>3.0140000000000002</c:v>
                </c:pt>
                <c:pt idx="4609">
                  <c:v>2.91</c:v>
                </c:pt>
                <c:pt idx="4610">
                  <c:v>2.8519999999999999</c:v>
                </c:pt>
                <c:pt idx="4611">
                  <c:v>2.843</c:v>
                </c:pt>
                <c:pt idx="4612">
                  <c:v>2.93</c:v>
                </c:pt>
                <c:pt idx="4613">
                  <c:v>3.4770000000000003</c:v>
                </c:pt>
                <c:pt idx="4614">
                  <c:v>3.9939999999999998</c:v>
                </c:pt>
                <c:pt idx="4615">
                  <c:v>4.4009999999999998</c:v>
                </c:pt>
                <c:pt idx="4616">
                  <c:v>4.431</c:v>
                </c:pt>
                <c:pt idx="4617">
                  <c:v>4.4159999999999995</c:v>
                </c:pt>
                <c:pt idx="4618">
                  <c:v>4.3899999999999997</c:v>
                </c:pt>
                <c:pt idx="4619">
                  <c:v>4.1070000000000002</c:v>
                </c:pt>
                <c:pt idx="4620">
                  <c:v>3.9899999999999998</c:v>
                </c:pt>
                <c:pt idx="4621">
                  <c:v>3.7270000000000003</c:v>
                </c:pt>
                <c:pt idx="4622">
                  <c:v>3.3929999999999998</c:v>
                </c:pt>
                <c:pt idx="4623">
                  <c:v>3.2189999999999999</c:v>
                </c:pt>
                <c:pt idx="4624">
                  <c:v>3.3289999999999997</c:v>
                </c:pt>
                <c:pt idx="4625">
                  <c:v>3.2950000000000004</c:v>
                </c:pt>
                <c:pt idx="4626">
                  <c:v>3.2909999999999995</c:v>
                </c:pt>
                <c:pt idx="4627">
                  <c:v>3.05</c:v>
                </c:pt>
                <c:pt idx="4628">
                  <c:v>3.06</c:v>
                </c:pt>
                <c:pt idx="4629">
                  <c:v>3.0089999999999999</c:v>
                </c:pt>
                <c:pt idx="4630">
                  <c:v>2.782</c:v>
                </c:pt>
                <c:pt idx="4631">
                  <c:v>2.6019999999999999</c:v>
                </c:pt>
                <c:pt idx="4632">
                  <c:v>2.4370000000000003</c:v>
                </c:pt>
                <c:pt idx="4633">
                  <c:v>2.3039999999999998</c:v>
                </c:pt>
                <c:pt idx="4634">
                  <c:v>2.476</c:v>
                </c:pt>
                <c:pt idx="4635">
                  <c:v>2.645</c:v>
                </c:pt>
                <c:pt idx="4636">
                  <c:v>2.8090000000000002</c:v>
                </c:pt>
                <c:pt idx="4637">
                  <c:v>3.1059999999999999</c:v>
                </c:pt>
                <c:pt idx="4638">
                  <c:v>3.8119999999999998</c:v>
                </c:pt>
                <c:pt idx="4639">
                  <c:v>3.6729999999999996</c:v>
                </c:pt>
                <c:pt idx="4640">
                  <c:v>3.6070000000000002</c:v>
                </c:pt>
                <c:pt idx="4641">
                  <c:v>3.5520000000000005</c:v>
                </c:pt>
                <c:pt idx="4642">
                  <c:v>3.496</c:v>
                </c:pt>
                <c:pt idx="4643">
                  <c:v>3.0260000000000002</c:v>
                </c:pt>
                <c:pt idx="4644">
                  <c:v>3.004</c:v>
                </c:pt>
                <c:pt idx="4645">
                  <c:v>2.907</c:v>
                </c:pt>
                <c:pt idx="4646">
                  <c:v>3.0270000000000001</c:v>
                </c:pt>
                <c:pt idx="4647">
                  <c:v>3.3460000000000001</c:v>
                </c:pt>
                <c:pt idx="4648">
                  <c:v>3.8079999999999998</c:v>
                </c:pt>
                <c:pt idx="4649">
                  <c:v>4.1349999999999998</c:v>
                </c:pt>
                <c:pt idx="4650">
                  <c:v>4.6820000000000004</c:v>
                </c:pt>
                <c:pt idx="4651">
                  <c:v>4.5090000000000003</c:v>
                </c:pt>
                <c:pt idx="4652">
                  <c:v>4.2930000000000001</c:v>
                </c:pt>
                <c:pt idx="4653">
                  <c:v>4.2130000000000001</c:v>
                </c:pt>
                <c:pt idx="4654">
                  <c:v>3.8119999999999998</c:v>
                </c:pt>
                <c:pt idx="4655">
                  <c:v>3.44</c:v>
                </c:pt>
                <c:pt idx="4656">
                  <c:v>3.2340000000000004</c:v>
                </c:pt>
                <c:pt idx="4657">
                  <c:v>3.036</c:v>
                </c:pt>
                <c:pt idx="4658">
                  <c:v>2.9079999999999999</c:v>
                </c:pt>
                <c:pt idx="4659">
                  <c:v>2.9550000000000001</c:v>
                </c:pt>
                <c:pt idx="4660">
                  <c:v>3.0409999999999999</c:v>
                </c:pt>
                <c:pt idx="4661">
                  <c:v>3.9939999999999998</c:v>
                </c:pt>
                <c:pt idx="4662">
                  <c:v>4.4990000000000006</c:v>
                </c:pt>
                <c:pt idx="4663">
                  <c:v>4.5999999999999996</c:v>
                </c:pt>
                <c:pt idx="4664">
                  <c:v>4.3319999999999999</c:v>
                </c:pt>
                <c:pt idx="4665">
                  <c:v>4.1619999999999999</c:v>
                </c:pt>
                <c:pt idx="4666">
                  <c:v>3.8939999999999997</c:v>
                </c:pt>
                <c:pt idx="4667">
                  <c:v>3.71</c:v>
                </c:pt>
                <c:pt idx="4668">
                  <c:v>3.597</c:v>
                </c:pt>
                <c:pt idx="4669">
                  <c:v>3.1909999999999998</c:v>
                </c:pt>
                <c:pt idx="4670">
                  <c:v>3.0339999999999998</c:v>
                </c:pt>
                <c:pt idx="4671">
                  <c:v>3.129</c:v>
                </c:pt>
                <c:pt idx="4672">
                  <c:v>3.6920000000000002</c:v>
                </c:pt>
                <c:pt idx="4673">
                  <c:v>4.093</c:v>
                </c:pt>
                <c:pt idx="4674">
                  <c:v>4.2960000000000003</c:v>
                </c:pt>
                <c:pt idx="4675">
                  <c:v>3.9689999999999999</c:v>
                </c:pt>
                <c:pt idx="4676">
                  <c:v>3.91</c:v>
                </c:pt>
                <c:pt idx="4677">
                  <c:v>3.9710000000000001</c:v>
                </c:pt>
                <c:pt idx="4678">
                  <c:v>3.665</c:v>
                </c:pt>
                <c:pt idx="4679">
                  <c:v>3.4569999999999999</c:v>
                </c:pt>
                <c:pt idx="4680">
                  <c:v>3.1079999999999997</c:v>
                </c:pt>
                <c:pt idx="4681">
                  <c:v>3.0819999999999999</c:v>
                </c:pt>
                <c:pt idx="4682">
                  <c:v>3.0010000000000003</c:v>
                </c:pt>
                <c:pt idx="4683">
                  <c:v>2.94</c:v>
                </c:pt>
                <c:pt idx="4684">
                  <c:v>2.9170000000000003</c:v>
                </c:pt>
                <c:pt idx="4685">
                  <c:v>3.0460000000000003</c:v>
                </c:pt>
                <c:pt idx="4686">
                  <c:v>3.0819999999999999</c:v>
                </c:pt>
                <c:pt idx="4687">
                  <c:v>3.194</c:v>
                </c:pt>
                <c:pt idx="4688">
                  <c:v>3.3810000000000002</c:v>
                </c:pt>
                <c:pt idx="4689">
                  <c:v>3.343</c:v>
                </c:pt>
                <c:pt idx="4690">
                  <c:v>3.306</c:v>
                </c:pt>
                <c:pt idx="4691">
                  <c:v>3.222</c:v>
                </c:pt>
                <c:pt idx="4692">
                  <c:v>3.0760000000000001</c:v>
                </c:pt>
                <c:pt idx="4693">
                  <c:v>2.907</c:v>
                </c:pt>
                <c:pt idx="4694">
                  <c:v>2.8639999999999999</c:v>
                </c:pt>
                <c:pt idx="4695">
                  <c:v>2.9039999999999999</c:v>
                </c:pt>
                <c:pt idx="4696">
                  <c:v>3.0979999999999999</c:v>
                </c:pt>
                <c:pt idx="4697">
                  <c:v>3.5209999999999999</c:v>
                </c:pt>
                <c:pt idx="4698">
                  <c:v>3.754</c:v>
                </c:pt>
                <c:pt idx="4699">
                  <c:v>3.7</c:v>
                </c:pt>
                <c:pt idx="4700">
                  <c:v>3.69</c:v>
                </c:pt>
                <c:pt idx="4701">
                  <c:v>3.7979999999999996</c:v>
                </c:pt>
                <c:pt idx="4702">
                  <c:v>3.601</c:v>
                </c:pt>
                <c:pt idx="4703">
                  <c:v>3.4649999999999999</c:v>
                </c:pt>
                <c:pt idx="4704">
                  <c:v>3.0049999999999999</c:v>
                </c:pt>
                <c:pt idx="4705">
                  <c:v>2.8679999999999999</c:v>
                </c:pt>
                <c:pt idx="4706">
                  <c:v>2.778</c:v>
                </c:pt>
                <c:pt idx="4707">
                  <c:v>2.7719999999999998</c:v>
                </c:pt>
                <c:pt idx="4708">
                  <c:v>2.7399999999999998</c:v>
                </c:pt>
                <c:pt idx="4709">
                  <c:v>2.7530000000000001</c:v>
                </c:pt>
                <c:pt idx="4710">
                  <c:v>2.7600000000000002</c:v>
                </c:pt>
                <c:pt idx="4711">
                  <c:v>2.7399999999999998</c:v>
                </c:pt>
                <c:pt idx="4712">
                  <c:v>2.8489999999999998</c:v>
                </c:pt>
                <c:pt idx="4713">
                  <c:v>2.899</c:v>
                </c:pt>
                <c:pt idx="4714">
                  <c:v>2.899</c:v>
                </c:pt>
                <c:pt idx="4715">
                  <c:v>2.976</c:v>
                </c:pt>
                <c:pt idx="4716">
                  <c:v>2.6949999999999998</c:v>
                </c:pt>
                <c:pt idx="4717">
                  <c:v>2.5989999999999998</c:v>
                </c:pt>
                <c:pt idx="4718">
                  <c:v>2.5219999999999998</c:v>
                </c:pt>
                <c:pt idx="4719">
                  <c:v>2.7549999999999999</c:v>
                </c:pt>
                <c:pt idx="4720">
                  <c:v>2.8570000000000002</c:v>
                </c:pt>
                <c:pt idx="4721">
                  <c:v>3.1789999999999998</c:v>
                </c:pt>
                <c:pt idx="4722">
                  <c:v>3.5409999999999995</c:v>
                </c:pt>
                <c:pt idx="4723">
                  <c:v>3.665</c:v>
                </c:pt>
                <c:pt idx="4724">
                  <c:v>3.714</c:v>
                </c:pt>
                <c:pt idx="4725">
                  <c:v>4.1020000000000003</c:v>
                </c:pt>
                <c:pt idx="4726">
                  <c:v>3.879</c:v>
                </c:pt>
                <c:pt idx="4727">
                  <c:v>3.1469999999999998</c:v>
                </c:pt>
                <c:pt idx="4728">
                  <c:v>3.0110000000000001</c:v>
                </c:pt>
                <c:pt idx="4729">
                  <c:v>2.9319999999999999</c:v>
                </c:pt>
                <c:pt idx="4730">
                  <c:v>2.7570000000000001</c:v>
                </c:pt>
                <c:pt idx="4731">
                  <c:v>2.7920000000000003</c:v>
                </c:pt>
                <c:pt idx="4732">
                  <c:v>2.9210000000000003</c:v>
                </c:pt>
                <c:pt idx="4733">
                  <c:v>3.6890000000000001</c:v>
                </c:pt>
                <c:pt idx="4734">
                  <c:v>4.2829999999999995</c:v>
                </c:pt>
                <c:pt idx="4735">
                  <c:v>4.2969999999999997</c:v>
                </c:pt>
                <c:pt idx="4736">
                  <c:v>4.2299999999999995</c:v>
                </c:pt>
                <c:pt idx="4737">
                  <c:v>4.24</c:v>
                </c:pt>
                <c:pt idx="4738">
                  <c:v>4.274</c:v>
                </c:pt>
                <c:pt idx="4739">
                  <c:v>4.085</c:v>
                </c:pt>
                <c:pt idx="4740">
                  <c:v>3.6950000000000003</c:v>
                </c:pt>
                <c:pt idx="4741">
                  <c:v>3.5979999999999999</c:v>
                </c:pt>
                <c:pt idx="4742">
                  <c:v>3.53</c:v>
                </c:pt>
                <c:pt idx="4743">
                  <c:v>3.5939999999999999</c:v>
                </c:pt>
                <c:pt idx="4744">
                  <c:v>3.9939999999999998</c:v>
                </c:pt>
                <c:pt idx="4745">
                  <c:v>4.2050000000000001</c:v>
                </c:pt>
                <c:pt idx="4746">
                  <c:v>4.4950000000000001</c:v>
                </c:pt>
                <c:pt idx="4747">
                  <c:v>4.3789999999999996</c:v>
                </c:pt>
                <c:pt idx="4748">
                  <c:v>4.0979999999999999</c:v>
                </c:pt>
                <c:pt idx="4749">
                  <c:v>4.0950000000000006</c:v>
                </c:pt>
                <c:pt idx="4750">
                  <c:v>3.54</c:v>
                </c:pt>
                <c:pt idx="4751">
                  <c:v>3.3689999999999998</c:v>
                </c:pt>
                <c:pt idx="4752">
                  <c:v>3.1179999999999999</c:v>
                </c:pt>
                <c:pt idx="4753">
                  <c:v>2.9850000000000003</c:v>
                </c:pt>
                <c:pt idx="4754">
                  <c:v>2.956</c:v>
                </c:pt>
                <c:pt idx="4755">
                  <c:v>3.028</c:v>
                </c:pt>
                <c:pt idx="4756">
                  <c:v>3.2009999999999996</c:v>
                </c:pt>
                <c:pt idx="4757">
                  <c:v>3.7719999999999998</c:v>
                </c:pt>
                <c:pt idx="4758">
                  <c:v>4.0909999999999993</c:v>
                </c:pt>
                <c:pt idx="4759">
                  <c:v>4.2880000000000003</c:v>
                </c:pt>
                <c:pt idx="4760">
                  <c:v>4.2430000000000003</c:v>
                </c:pt>
                <c:pt idx="4761">
                  <c:v>4.1749999999999998</c:v>
                </c:pt>
                <c:pt idx="4762">
                  <c:v>3.8920000000000003</c:v>
                </c:pt>
                <c:pt idx="4763">
                  <c:v>3.4170000000000003</c:v>
                </c:pt>
                <c:pt idx="4764">
                  <c:v>3.4119999999999999</c:v>
                </c:pt>
                <c:pt idx="4765">
                  <c:v>3.3689999999999998</c:v>
                </c:pt>
                <c:pt idx="4766">
                  <c:v>3.4619999999999997</c:v>
                </c:pt>
                <c:pt idx="4767">
                  <c:v>3.8570000000000002</c:v>
                </c:pt>
                <c:pt idx="4768">
                  <c:v>4.2969999999999997</c:v>
                </c:pt>
                <c:pt idx="4769">
                  <c:v>4.5789999999999997</c:v>
                </c:pt>
                <c:pt idx="4770">
                  <c:v>4.6890000000000001</c:v>
                </c:pt>
                <c:pt idx="4771">
                  <c:v>4.3970000000000002</c:v>
                </c:pt>
                <c:pt idx="4772">
                  <c:v>4.2990000000000004</c:v>
                </c:pt>
                <c:pt idx="4773">
                  <c:v>4.0830000000000002</c:v>
                </c:pt>
                <c:pt idx="4774">
                  <c:v>3.3950000000000005</c:v>
                </c:pt>
                <c:pt idx="4775">
                  <c:v>3.093</c:v>
                </c:pt>
                <c:pt idx="4776">
                  <c:v>2.9590000000000001</c:v>
                </c:pt>
                <c:pt idx="4777">
                  <c:v>2.8620000000000001</c:v>
                </c:pt>
                <c:pt idx="4778">
                  <c:v>2.73</c:v>
                </c:pt>
                <c:pt idx="4779">
                  <c:v>2.7629999999999999</c:v>
                </c:pt>
                <c:pt idx="4780">
                  <c:v>2.903</c:v>
                </c:pt>
                <c:pt idx="4781">
                  <c:v>3.7960000000000003</c:v>
                </c:pt>
                <c:pt idx="4782">
                  <c:v>4.2159999999999993</c:v>
                </c:pt>
                <c:pt idx="4783">
                  <c:v>4.2909999999999995</c:v>
                </c:pt>
                <c:pt idx="4784">
                  <c:v>4.008</c:v>
                </c:pt>
                <c:pt idx="4785">
                  <c:v>3.7930000000000001</c:v>
                </c:pt>
                <c:pt idx="4786">
                  <c:v>3.4549999999999996</c:v>
                </c:pt>
                <c:pt idx="4787">
                  <c:v>3.17</c:v>
                </c:pt>
                <c:pt idx="4788">
                  <c:v>3.1710000000000003</c:v>
                </c:pt>
                <c:pt idx="4789">
                  <c:v>3.29</c:v>
                </c:pt>
                <c:pt idx="4790">
                  <c:v>3.6539999999999999</c:v>
                </c:pt>
                <c:pt idx="4791">
                  <c:v>3.8029999999999999</c:v>
                </c:pt>
                <c:pt idx="4792">
                  <c:v>4.0520000000000005</c:v>
                </c:pt>
                <c:pt idx="4793">
                  <c:v>4.2969999999999997</c:v>
                </c:pt>
                <c:pt idx="4794">
                  <c:v>4.4000000000000004</c:v>
                </c:pt>
                <c:pt idx="4795">
                  <c:v>4.2159999999999993</c:v>
                </c:pt>
                <c:pt idx="4796">
                  <c:v>4.0579999999999998</c:v>
                </c:pt>
                <c:pt idx="4797">
                  <c:v>3.9090000000000003</c:v>
                </c:pt>
                <c:pt idx="4798">
                  <c:v>3.2969999999999997</c:v>
                </c:pt>
                <c:pt idx="4799">
                  <c:v>3.0539999999999998</c:v>
                </c:pt>
                <c:pt idx="4800">
                  <c:v>3.1459999999999999</c:v>
                </c:pt>
                <c:pt idx="4801">
                  <c:v>2.96</c:v>
                </c:pt>
                <c:pt idx="4802">
                  <c:v>2.81</c:v>
                </c:pt>
                <c:pt idx="4803">
                  <c:v>2.8519999999999999</c:v>
                </c:pt>
                <c:pt idx="4804">
                  <c:v>3.032</c:v>
                </c:pt>
                <c:pt idx="4805">
                  <c:v>3.8270000000000004</c:v>
                </c:pt>
                <c:pt idx="4806">
                  <c:v>4.726</c:v>
                </c:pt>
                <c:pt idx="4807">
                  <c:v>4.3259999999999996</c:v>
                </c:pt>
                <c:pt idx="4808">
                  <c:v>4.3250000000000002</c:v>
                </c:pt>
                <c:pt idx="4809">
                  <c:v>4.173</c:v>
                </c:pt>
                <c:pt idx="4810">
                  <c:v>4.1929999999999996</c:v>
                </c:pt>
                <c:pt idx="4811">
                  <c:v>4</c:v>
                </c:pt>
                <c:pt idx="4812">
                  <c:v>3.8359999999999999</c:v>
                </c:pt>
                <c:pt idx="4813">
                  <c:v>3.69</c:v>
                </c:pt>
                <c:pt idx="4814">
                  <c:v>3.5740000000000003</c:v>
                </c:pt>
                <c:pt idx="4815">
                  <c:v>3.4479999999999995</c:v>
                </c:pt>
                <c:pt idx="4816">
                  <c:v>3.6970000000000001</c:v>
                </c:pt>
                <c:pt idx="4817">
                  <c:v>3.9770000000000003</c:v>
                </c:pt>
                <c:pt idx="4818">
                  <c:v>4.1929999999999996</c:v>
                </c:pt>
                <c:pt idx="4819">
                  <c:v>4.1049999999999995</c:v>
                </c:pt>
                <c:pt idx="4820">
                  <c:v>4.0110000000000001</c:v>
                </c:pt>
                <c:pt idx="4821">
                  <c:v>3.9740000000000002</c:v>
                </c:pt>
                <c:pt idx="4822">
                  <c:v>3.4289999999999998</c:v>
                </c:pt>
                <c:pt idx="4823">
                  <c:v>2.9649999999999999</c:v>
                </c:pt>
                <c:pt idx="4824">
                  <c:v>2.91</c:v>
                </c:pt>
                <c:pt idx="4825">
                  <c:v>2.8420000000000001</c:v>
                </c:pt>
                <c:pt idx="4826">
                  <c:v>2.7069999999999999</c:v>
                </c:pt>
                <c:pt idx="4827">
                  <c:v>2.7320000000000002</c:v>
                </c:pt>
                <c:pt idx="4828">
                  <c:v>2.9989999999999997</c:v>
                </c:pt>
                <c:pt idx="4829">
                  <c:v>3.6799999999999997</c:v>
                </c:pt>
                <c:pt idx="4830">
                  <c:v>4.0060000000000002</c:v>
                </c:pt>
                <c:pt idx="4831">
                  <c:v>4.1829999999999998</c:v>
                </c:pt>
                <c:pt idx="4832">
                  <c:v>4.0869999999999997</c:v>
                </c:pt>
                <c:pt idx="4833">
                  <c:v>3.8439999999999999</c:v>
                </c:pt>
                <c:pt idx="4834">
                  <c:v>3.9039999999999999</c:v>
                </c:pt>
                <c:pt idx="4835">
                  <c:v>3.5979999999999999</c:v>
                </c:pt>
                <c:pt idx="4836">
                  <c:v>3.2939999999999996</c:v>
                </c:pt>
                <c:pt idx="4837">
                  <c:v>3.2869999999999999</c:v>
                </c:pt>
                <c:pt idx="4838">
                  <c:v>3.29</c:v>
                </c:pt>
                <c:pt idx="4839">
                  <c:v>3.5110000000000001</c:v>
                </c:pt>
                <c:pt idx="4840">
                  <c:v>3.9009999999999998</c:v>
                </c:pt>
                <c:pt idx="4841">
                  <c:v>4.1420000000000003</c:v>
                </c:pt>
                <c:pt idx="4842">
                  <c:v>4.2629999999999999</c:v>
                </c:pt>
                <c:pt idx="4843">
                  <c:v>4.2009999999999996</c:v>
                </c:pt>
                <c:pt idx="4844">
                  <c:v>4.0570000000000004</c:v>
                </c:pt>
                <c:pt idx="4845">
                  <c:v>4.1379999999999999</c:v>
                </c:pt>
                <c:pt idx="4846">
                  <c:v>3.6789999999999998</c:v>
                </c:pt>
                <c:pt idx="4847">
                  <c:v>3.22</c:v>
                </c:pt>
                <c:pt idx="4848">
                  <c:v>3.157</c:v>
                </c:pt>
                <c:pt idx="4849">
                  <c:v>2.992</c:v>
                </c:pt>
                <c:pt idx="4850">
                  <c:v>2.8739999999999997</c:v>
                </c:pt>
                <c:pt idx="4851">
                  <c:v>2.875</c:v>
                </c:pt>
                <c:pt idx="4852">
                  <c:v>2.8540000000000001</c:v>
                </c:pt>
                <c:pt idx="4853">
                  <c:v>2.9699999999999998</c:v>
                </c:pt>
                <c:pt idx="4854">
                  <c:v>3.0920000000000001</c:v>
                </c:pt>
                <c:pt idx="4855">
                  <c:v>3.496</c:v>
                </c:pt>
                <c:pt idx="4856">
                  <c:v>3.6469999999999998</c:v>
                </c:pt>
                <c:pt idx="4857">
                  <c:v>3.569</c:v>
                </c:pt>
                <c:pt idx="4858">
                  <c:v>3.4659999999999997</c:v>
                </c:pt>
                <c:pt idx="4859">
                  <c:v>3.2250000000000001</c:v>
                </c:pt>
                <c:pt idx="4860">
                  <c:v>3.0019999999999998</c:v>
                </c:pt>
                <c:pt idx="4861">
                  <c:v>2.948</c:v>
                </c:pt>
                <c:pt idx="4862">
                  <c:v>2.9899999999999998</c:v>
                </c:pt>
                <c:pt idx="4863">
                  <c:v>3.0550000000000002</c:v>
                </c:pt>
                <c:pt idx="4864">
                  <c:v>3.3250000000000002</c:v>
                </c:pt>
                <c:pt idx="4865">
                  <c:v>3.8520000000000003</c:v>
                </c:pt>
                <c:pt idx="4866">
                  <c:v>3.9889999999999999</c:v>
                </c:pt>
                <c:pt idx="4867">
                  <c:v>3.9</c:v>
                </c:pt>
                <c:pt idx="4868">
                  <c:v>3.8090000000000002</c:v>
                </c:pt>
                <c:pt idx="4869">
                  <c:v>4</c:v>
                </c:pt>
                <c:pt idx="4870">
                  <c:v>3.6670000000000003</c:v>
                </c:pt>
                <c:pt idx="4871">
                  <c:v>3.2990000000000004</c:v>
                </c:pt>
                <c:pt idx="4872">
                  <c:v>2.8780000000000001</c:v>
                </c:pt>
                <c:pt idx="4873">
                  <c:v>2.669</c:v>
                </c:pt>
                <c:pt idx="4874">
                  <c:v>2.468</c:v>
                </c:pt>
                <c:pt idx="4875">
                  <c:v>2.3069999999999999</c:v>
                </c:pt>
                <c:pt idx="4876">
                  <c:v>2.3959999999999999</c:v>
                </c:pt>
                <c:pt idx="4877">
                  <c:v>2.3899999999999997</c:v>
                </c:pt>
                <c:pt idx="4878">
                  <c:v>2.5170000000000003</c:v>
                </c:pt>
                <c:pt idx="4879">
                  <c:v>2.5780000000000003</c:v>
                </c:pt>
                <c:pt idx="4880">
                  <c:v>2.6670000000000003</c:v>
                </c:pt>
                <c:pt idx="4881">
                  <c:v>2.6870000000000003</c:v>
                </c:pt>
                <c:pt idx="4882">
                  <c:v>2.718</c:v>
                </c:pt>
                <c:pt idx="4883">
                  <c:v>2.7890000000000001</c:v>
                </c:pt>
                <c:pt idx="4884">
                  <c:v>2.63</c:v>
                </c:pt>
                <c:pt idx="4885">
                  <c:v>2.2760000000000002</c:v>
                </c:pt>
                <c:pt idx="4886">
                  <c:v>2.0339999999999998</c:v>
                </c:pt>
                <c:pt idx="4887">
                  <c:v>2.3069999999999999</c:v>
                </c:pt>
                <c:pt idx="4888">
                  <c:v>2.7050000000000001</c:v>
                </c:pt>
                <c:pt idx="4889">
                  <c:v>2.9620000000000002</c:v>
                </c:pt>
                <c:pt idx="4890">
                  <c:v>3.7049999999999996</c:v>
                </c:pt>
                <c:pt idx="4891">
                  <c:v>3.851</c:v>
                </c:pt>
                <c:pt idx="4892">
                  <c:v>3.9420000000000002</c:v>
                </c:pt>
                <c:pt idx="4893">
                  <c:v>4.2850000000000001</c:v>
                </c:pt>
                <c:pt idx="4894">
                  <c:v>3.9820000000000002</c:v>
                </c:pt>
                <c:pt idx="4895">
                  <c:v>3.9649999999999999</c:v>
                </c:pt>
                <c:pt idx="4896">
                  <c:v>3.5619999999999998</c:v>
                </c:pt>
                <c:pt idx="4897">
                  <c:v>3.2700000000000005</c:v>
                </c:pt>
                <c:pt idx="4898">
                  <c:v>3.1280000000000001</c:v>
                </c:pt>
                <c:pt idx="4899">
                  <c:v>3.0460000000000003</c:v>
                </c:pt>
                <c:pt idx="4900">
                  <c:v>3.3240000000000003</c:v>
                </c:pt>
                <c:pt idx="4901">
                  <c:v>4.1899999999999995</c:v>
                </c:pt>
                <c:pt idx="4902">
                  <c:v>4.4180000000000001</c:v>
                </c:pt>
                <c:pt idx="4903">
                  <c:v>4.4119999999999999</c:v>
                </c:pt>
                <c:pt idx="4904">
                  <c:v>4.8229999999999995</c:v>
                </c:pt>
                <c:pt idx="4905">
                  <c:v>4.8450000000000006</c:v>
                </c:pt>
                <c:pt idx="4906">
                  <c:v>4.7770000000000001</c:v>
                </c:pt>
                <c:pt idx="4907">
                  <c:v>4.6470000000000002</c:v>
                </c:pt>
                <c:pt idx="4908">
                  <c:v>4.4909999999999997</c:v>
                </c:pt>
                <c:pt idx="4909">
                  <c:v>4.2290000000000001</c:v>
                </c:pt>
                <c:pt idx="4910">
                  <c:v>4.0939999999999994</c:v>
                </c:pt>
                <c:pt idx="4911">
                  <c:v>3.9200000000000004</c:v>
                </c:pt>
                <c:pt idx="4912">
                  <c:v>3.97</c:v>
                </c:pt>
                <c:pt idx="4913">
                  <c:v>3.8180000000000001</c:v>
                </c:pt>
                <c:pt idx="4914">
                  <c:v>3.8659999999999997</c:v>
                </c:pt>
                <c:pt idx="4915">
                  <c:v>3.6429999999999998</c:v>
                </c:pt>
                <c:pt idx="4916">
                  <c:v>3.4729999999999999</c:v>
                </c:pt>
                <c:pt idx="4917">
                  <c:v>3.4590000000000005</c:v>
                </c:pt>
                <c:pt idx="4918">
                  <c:v>3.0390000000000001</c:v>
                </c:pt>
                <c:pt idx="4919">
                  <c:v>3.101</c:v>
                </c:pt>
                <c:pt idx="4920">
                  <c:v>2.8959999999999999</c:v>
                </c:pt>
                <c:pt idx="4921">
                  <c:v>2.7090000000000001</c:v>
                </c:pt>
                <c:pt idx="4922">
                  <c:v>2.7469999999999999</c:v>
                </c:pt>
                <c:pt idx="4923">
                  <c:v>2.6040000000000001</c:v>
                </c:pt>
                <c:pt idx="4924">
                  <c:v>2.621</c:v>
                </c:pt>
                <c:pt idx="4925">
                  <c:v>3.1629999999999998</c:v>
                </c:pt>
                <c:pt idx="4926">
                  <c:v>3.7960000000000003</c:v>
                </c:pt>
                <c:pt idx="4927">
                  <c:v>3.9479999999999995</c:v>
                </c:pt>
                <c:pt idx="4928">
                  <c:v>4.0060000000000002</c:v>
                </c:pt>
                <c:pt idx="4929">
                  <c:v>4.0369999999999999</c:v>
                </c:pt>
                <c:pt idx="4930">
                  <c:v>4.08</c:v>
                </c:pt>
                <c:pt idx="4931">
                  <c:v>3.9750000000000001</c:v>
                </c:pt>
                <c:pt idx="4932">
                  <c:v>3.8939999999999997</c:v>
                </c:pt>
                <c:pt idx="4933">
                  <c:v>3.6979999999999995</c:v>
                </c:pt>
                <c:pt idx="4934">
                  <c:v>3.6429999999999998</c:v>
                </c:pt>
                <c:pt idx="4935">
                  <c:v>3.4969999999999999</c:v>
                </c:pt>
                <c:pt idx="4936">
                  <c:v>3.4990000000000001</c:v>
                </c:pt>
                <c:pt idx="4937">
                  <c:v>3.6950000000000003</c:v>
                </c:pt>
                <c:pt idx="4938">
                  <c:v>3.54</c:v>
                </c:pt>
                <c:pt idx="4939">
                  <c:v>3.3780000000000001</c:v>
                </c:pt>
                <c:pt idx="4940">
                  <c:v>3.2960000000000003</c:v>
                </c:pt>
                <c:pt idx="4941">
                  <c:v>3.2210000000000001</c:v>
                </c:pt>
                <c:pt idx="4942">
                  <c:v>2.9010000000000002</c:v>
                </c:pt>
                <c:pt idx="4943">
                  <c:v>2.5739999999999998</c:v>
                </c:pt>
                <c:pt idx="4944">
                  <c:v>2.524</c:v>
                </c:pt>
                <c:pt idx="4945">
                  <c:v>2.2640000000000002</c:v>
                </c:pt>
                <c:pt idx="4946">
                  <c:v>2.1120000000000001</c:v>
                </c:pt>
                <c:pt idx="4947">
                  <c:v>2.1230000000000002</c:v>
                </c:pt>
                <c:pt idx="4948">
                  <c:v>2.6160000000000001</c:v>
                </c:pt>
                <c:pt idx="4949">
                  <c:v>2.9079999999999999</c:v>
                </c:pt>
                <c:pt idx="4950">
                  <c:v>3.4490000000000003</c:v>
                </c:pt>
                <c:pt idx="4951">
                  <c:v>3.778</c:v>
                </c:pt>
                <c:pt idx="4952">
                  <c:v>3.7920000000000003</c:v>
                </c:pt>
                <c:pt idx="4953">
                  <c:v>3.7960000000000003</c:v>
                </c:pt>
                <c:pt idx="4954">
                  <c:v>3.8079999999999998</c:v>
                </c:pt>
                <c:pt idx="4955">
                  <c:v>3.7960000000000003</c:v>
                </c:pt>
                <c:pt idx="4956">
                  <c:v>3.7729999999999997</c:v>
                </c:pt>
                <c:pt idx="4957">
                  <c:v>3.6079999999999997</c:v>
                </c:pt>
                <c:pt idx="4958">
                  <c:v>3.5229999999999997</c:v>
                </c:pt>
                <c:pt idx="4959">
                  <c:v>3.4380000000000002</c:v>
                </c:pt>
                <c:pt idx="4960">
                  <c:v>3.5270000000000001</c:v>
                </c:pt>
                <c:pt idx="4961">
                  <c:v>3.6390000000000002</c:v>
                </c:pt>
                <c:pt idx="4962">
                  <c:v>3.7939999999999996</c:v>
                </c:pt>
                <c:pt idx="4963">
                  <c:v>3.6930000000000001</c:v>
                </c:pt>
                <c:pt idx="4964">
                  <c:v>3.593</c:v>
                </c:pt>
                <c:pt idx="4965">
                  <c:v>3.5750000000000002</c:v>
                </c:pt>
                <c:pt idx="4966">
                  <c:v>3.0070000000000001</c:v>
                </c:pt>
                <c:pt idx="4967">
                  <c:v>2.875</c:v>
                </c:pt>
                <c:pt idx="4968">
                  <c:v>2.67</c:v>
                </c:pt>
                <c:pt idx="4969">
                  <c:v>2.4850000000000003</c:v>
                </c:pt>
                <c:pt idx="4970">
                  <c:v>2.3690000000000002</c:v>
                </c:pt>
                <c:pt idx="4971">
                  <c:v>2.448</c:v>
                </c:pt>
                <c:pt idx="4972">
                  <c:v>2.702</c:v>
                </c:pt>
                <c:pt idx="4973">
                  <c:v>2.919</c:v>
                </c:pt>
                <c:pt idx="4974">
                  <c:v>3.5310000000000001</c:v>
                </c:pt>
                <c:pt idx="4975">
                  <c:v>3.7909999999999995</c:v>
                </c:pt>
                <c:pt idx="4976">
                  <c:v>3.7890000000000001</c:v>
                </c:pt>
                <c:pt idx="4977">
                  <c:v>3.8049999999999997</c:v>
                </c:pt>
                <c:pt idx="4978">
                  <c:v>3.8479999999999999</c:v>
                </c:pt>
                <c:pt idx="4979">
                  <c:v>3.85</c:v>
                </c:pt>
                <c:pt idx="4980">
                  <c:v>3.8029999999999999</c:v>
                </c:pt>
                <c:pt idx="4981">
                  <c:v>3.6</c:v>
                </c:pt>
                <c:pt idx="4982">
                  <c:v>3.4520000000000004</c:v>
                </c:pt>
                <c:pt idx="4983">
                  <c:v>3.5289999999999999</c:v>
                </c:pt>
                <c:pt idx="4984">
                  <c:v>3.5740000000000003</c:v>
                </c:pt>
                <c:pt idx="4985">
                  <c:v>3.7320000000000002</c:v>
                </c:pt>
                <c:pt idx="4986">
                  <c:v>3.8979999999999997</c:v>
                </c:pt>
                <c:pt idx="4987">
                  <c:v>3.806</c:v>
                </c:pt>
                <c:pt idx="4988">
                  <c:v>3.6869999999999998</c:v>
                </c:pt>
                <c:pt idx="4989">
                  <c:v>3.6549999999999998</c:v>
                </c:pt>
                <c:pt idx="4990">
                  <c:v>3.1619999999999999</c:v>
                </c:pt>
                <c:pt idx="4991">
                  <c:v>3.3860000000000001</c:v>
                </c:pt>
                <c:pt idx="4992">
                  <c:v>2.9039999999999999</c:v>
                </c:pt>
                <c:pt idx="4993">
                  <c:v>2.81</c:v>
                </c:pt>
                <c:pt idx="4994">
                  <c:v>2.68</c:v>
                </c:pt>
                <c:pt idx="4995">
                  <c:v>2.6459999999999999</c:v>
                </c:pt>
                <c:pt idx="4996">
                  <c:v>2.7480000000000002</c:v>
                </c:pt>
                <c:pt idx="4997">
                  <c:v>3.2130000000000001</c:v>
                </c:pt>
                <c:pt idx="4998">
                  <c:v>3.8</c:v>
                </c:pt>
                <c:pt idx="4999">
                  <c:v>3.88</c:v>
                </c:pt>
                <c:pt idx="5000">
                  <c:v>3.7049999999999996</c:v>
                </c:pt>
                <c:pt idx="5001">
                  <c:v>3.55</c:v>
                </c:pt>
                <c:pt idx="5002">
                  <c:v>3.1</c:v>
                </c:pt>
                <c:pt idx="5003">
                  <c:v>2.7510000000000003</c:v>
                </c:pt>
                <c:pt idx="5004">
                  <c:v>2.5170000000000003</c:v>
                </c:pt>
                <c:pt idx="5005">
                  <c:v>2.3690000000000002</c:v>
                </c:pt>
                <c:pt idx="5006">
                  <c:v>2.4340000000000002</c:v>
                </c:pt>
                <c:pt idx="5007">
                  <c:v>2.6309999999999998</c:v>
                </c:pt>
                <c:pt idx="5008">
                  <c:v>2.887</c:v>
                </c:pt>
                <c:pt idx="5009">
                  <c:v>3.415</c:v>
                </c:pt>
                <c:pt idx="5010">
                  <c:v>3.6960000000000002</c:v>
                </c:pt>
                <c:pt idx="5011">
                  <c:v>3.694</c:v>
                </c:pt>
                <c:pt idx="5012">
                  <c:v>3.63</c:v>
                </c:pt>
                <c:pt idx="5013">
                  <c:v>3.5950000000000002</c:v>
                </c:pt>
                <c:pt idx="5014">
                  <c:v>3.2240000000000002</c:v>
                </c:pt>
                <c:pt idx="5015">
                  <c:v>2.7770000000000001</c:v>
                </c:pt>
                <c:pt idx="5016">
                  <c:v>2.335</c:v>
                </c:pt>
                <c:pt idx="5017">
                  <c:v>1.8989999999999998</c:v>
                </c:pt>
                <c:pt idx="5018">
                  <c:v>1.417</c:v>
                </c:pt>
                <c:pt idx="5019">
                  <c:v>1.004</c:v>
                </c:pt>
                <c:pt idx="5020">
                  <c:v>1.1890000000000001</c:v>
                </c:pt>
                <c:pt idx="5021">
                  <c:v>1.4410000000000001</c:v>
                </c:pt>
                <c:pt idx="5022">
                  <c:v>1.7109999999999999</c:v>
                </c:pt>
                <c:pt idx="5023">
                  <c:v>1.9780000000000002</c:v>
                </c:pt>
                <c:pt idx="5024">
                  <c:v>1.8050000000000002</c:v>
                </c:pt>
                <c:pt idx="5025">
                  <c:v>0.99299999999999999</c:v>
                </c:pt>
                <c:pt idx="5026">
                  <c:v>1.5779999999999998</c:v>
                </c:pt>
                <c:pt idx="5027">
                  <c:v>1.0169999999999999</c:v>
                </c:pt>
                <c:pt idx="5028">
                  <c:v>0.99199999999999999</c:v>
                </c:pt>
                <c:pt idx="5029">
                  <c:v>0.92699999999999994</c:v>
                </c:pt>
                <c:pt idx="5030">
                  <c:v>1.405</c:v>
                </c:pt>
                <c:pt idx="5031">
                  <c:v>1.9260000000000002</c:v>
                </c:pt>
                <c:pt idx="5032">
                  <c:v>2.5469999999999997</c:v>
                </c:pt>
                <c:pt idx="5033">
                  <c:v>3.0129999999999999</c:v>
                </c:pt>
                <c:pt idx="5034">
                  <c:v>3.4450000000000003</c:v>
                </c:pt>
                <c:pt idx="5035">
                  <c:v>3.5430000000000001</c:v>
                </c:pt>
                <c:pt idx="5036">
                  <c:v>3.5649999999999999</c:v>
                </c:pt>
                <c:pt idx="5037">
                  <c:v>3.476</c:v>
                </c:pt>
                <c:pt idx="5038">
                  <c:v>3.06</c:v>
                </c:pt>
                <c:pt idx="5039">
                  <c:v>2.6920000000000002</c:v>
                </c:pt>
                <c:pt idx="5040">
                  <c:v>2.1160000000000001</c:v>
                </c:pt>
                <c:pt idx="5041">
                  <c:v>1.6219999999999999</c:v>
                </c:pt>
                <c:pt idx="5042">
                  <c:v>1.2789999999999999</c:v>
                </c:pt>
                <c:pt idx="5043">
                  <c:v>1.073</c:v>
                </c:pt>
                <c:pt idx="5044">
                  <c:v>1.0029999999999999</c:v>
                </c:pt>
                <c:pt idx="5045">
                  <c:v>0.84399999999999997</c:v>
                </c:pt>
                <c:pt idx="5046">
                  <c:v>0.76700000000000002</c:v>
                </c:pt>
                <c:pt idx="5047">
                  <c:v>0.20499999999999999</c:v>
                </c:pt>
                <c:pt idx="5048">
                  <c:v>0.19400000000000001</c:v>
                </c:pt>
                <c:pt idx="5049">
                  <c:v>-0.51500000000000001</c:v>
                </c:pt>
                <c:pt idx="5050">
                  <c:v>-2E-3</c:v>
                </c:pt>
                <c:pt idx="5051">
                  <c:v>-4.5419999999999998</c:v>
                </c:pt>
                <c:pt idx="5052">
                  <c:v>-6.7050000000000001</c:v>
                </c:pt>
                <c:pt idx="5053">
                  <c:v>-6.49</c:v>
                </c:pt>
                <c:pt idx="5054">
                  <c:v>-1.423</c:v>
                </c:pt>
                <c:pt idx="5055">
                  <c:v>-9.0999999999999998E-2</c:v>
                </c:pt>
                <c:pt idx="5056">
                  <c:v>0.501</c:v>
                </c:pt>
                <c:pt idx="5057">
                  <c:v>2.254</c:v>
                </c:pt>
                <c:pt idx="5058">
                  <c:v>3.177</c:v>
                </c:pt>
                <c:pt idx="5059">
                  <c:v>3.4520000000000004</c:v>
                </c:pt>
                <c:pt idx="5060">
                  <c:v>3.593</c:v>
                </c:pt>
                <c:pt idx="5061">
                  <c:v>3.7670000000000003</c:v>
                </c:pt>
                <c:pt idx="5062">
                  <c:v>3.5869999999999997</c:v>
                </c:pt>
                <c:pt idx="5063">
                  <c:v>3.2</c:v>
                </c:pt>
                <c:pt idx="5064">
                  <c:v>2.6550000000000002</c:v>
                </c:pt>
                <c:pt idx="5065">
                  <c:v>2.6109999999999998</c:v>
                </c:pt>
                <c:pt idx="5066">
                  <c:v>2.4649999999999999</c:v>
                </c:pt>
                <c:pt idx="5067">
                  <c:v>2.464</c:v>
                </c:pt>
                <c:pt idx="5068">
                  <c:v>2.657</c:v>
                </c:pt>
                <c:pt idx="5069">
                  <c:v>3.2149999999999999</c:v>
                </c:pt>
                <c:pt idx="5070">
                  <c:v>3.6920000000000002</c:v>
                </c:pt>
                <c:pt idx="5071">
                  <c:v>3.6920000000000002</c:v>
                </c:pt>
                <c:pt idx="5072">
                  <c:v>3.5450000000000004</c:v>
                </c:pt>
                <c:pt idx="5073">
                  <c:v>3.3289999999999997</c:v>
                </c:pt>
                <c:pt idx="5074">
                  <c:v>3.3890000000000002</c:v>
                </c:pt>
                <c:pt idx="5075">
                  <c:v>2.903</c:v>
                </c:pt>
                <c:pt idx="5076">
                  <c:v>2.8069999999999999</c:v>
                </c:pt>
                <c:pt idx="5077">
                  <c:v>2.802</c:v>
                </c:pt>
                <c:pt idx="5078">
                  <c:v>2.871</c:v>
                </c:pt>
                <c:pt idx="5079">
                  <c:v>3.0049999999999999</c:v>
                </c:pt>
                <c:pt idx="5080">
                  <c:v>3.5509999999999997</c:v>
                </c:pt>
                <c:pt idx="5081">
                  <c:v>3.7909999999999995</c:v>
                </c:pt>
                <c:pt idx="5082">
                  <c:v>3.8899999999999997</c:v>
                </c:pt>
                <c:pt idx="5083">
                  <c:v>3.8899999999999997</c:v>
                </c:pt>
                <c:pt idx="5084">
                  <c:v>3.8069999999999999</c:v>
                </c:pt>
                <c:pt idx="5085">
                  <c:v>3.7840000000000003</c:v>
                </c:pt>
                <c:pt idx="5086">
                  <c:v>3.2909999999999995</c:v>
                </c:pt>
                <c:pt idx="5087">
                  <c:v>3.0569999999999999</c:v>
                </c:pt>
                <c:pt idx="5088">
                  <c:v>2.8010000000000002</c:v>
                </c:pt>
                <c:pt idx="5089">
                  <c:v>2.73</c:v>
                </c:pt>
                <c:pt idx="5090">
                  <c:v>2.6789999999999998</c:v>
                </c:pt>
                <c:pt idx="5091">
                  <c:v>2.681</c:v>
                </c:pt>
                <c:pt idx="5092">
                  <c:v>2.754</c:v>
                </c:pt>
                <c:pt idx="5093">
                  <c:v>3.2659999999999996</c:v>
                </c:pt>
                <c:pt idx="5094">
                  <c:v>3.7</c:v>
                </c:pt>
                <c:pt idx="5095">
                  <c:v>3.8939999999999997</c:v>
                </c:pt>
                <c:pt idx="5096">
                  <c:v>3.8090000000000002</c:v>
                </c:pt>
                <c:pt idx="5097">
                  <c:v>3.79</c:v>
                </c:pt>
                <c:pt idx="5098">
                  <c:v>3.7079999999999997</c:v>
                </c:pt>
                <c:pt idx="5099">
                  <c:v>3.6450000000000005</c:v>
                </c:pt>
                <c:pt idx="5100">
                  <c:v>3.593</c:v>
                </c:pt>
                <c:pt idx="5101">
                  <c:v>3.5909999999999997</c:v>
                </c:pt>
                <c:pt idx="5102">
                  <c:v>3.6</c:v>
                </c:pt>
                <c:pt idx="5103">
                  <c:v>3.661</c:v>
                </c:pt>
                <c:pt idx="5104">
                  <c:v>3.847</c:v>
                </c:pt>
                <c:pt idx="5105">
                  <c:v>4.0939999999999994</c:v>
                </c:pt>
                <c:pt idx="5106">
                  <c:v>4.1059999999999999</c:v>
                </c:pt>
                <c:pt idx="5107">
                  <c:v>3.8959999999999999</c:v>
                </c:pt>
                <c:pt idx="5108">
                  <c:v>3.7039999999999997</c:v>
                </c:pt>
                <c:pt idx="5109">
                  <c:v>3.5939999999999999</c:v>
                </c:pt>
                <c:pt idx="5110">
                  <c:v>3.169</c:v>
                </c:pt>
                <c:pt idx="5111">
                  <c:v>2.762</c:v>
                </c:pt>
                <c:pt idx="5112">
                  <c:v>2.6589999999999998</c:v>
                </c:pt>
                <c:pt idx="5113">
                  <c:v>2.62</c:v>
                </c:pt>
                <c:pt idx="5114">
                  <c:v>2.5089999999999999</c:v>
                </c:pt>
                <c:pt idx="5115">
                  <c:v>2.5780000000000003</c:v>
                </c:pt>
                <c:pt idx="5116">
                  <c:v>2.7250000000000001</c:v>
                </c:pt>
                <c:pt idx="5117">
                  <c:v>3.0260000000000002</c:v>
                </c:pt>
                <c:pt idx="5118">
                  <c:v>3.5049999999999999</c:v>
                </c:pt>
                <c:pt idx="5119">
                  <c:v>3.657</c:v>
                </c:pt>
                <c:pt idx="5120">
                  <c:v>3.6469999999999998</c:v>
                </c:pt>
                <c:pt idx="5121">
                  <c:v>3.5960000000000001</c:v>
                </c:pt>
                <c:pt idx="5122">
                  <c:v>3.5140000000000002</c:v>
                </c:pt>
                <c:pt idx="5123">
                  <c:v>3.3069999999999999</c:v>
                </c:pt>
                <c:pt idx="5124">
                  <c:v>2.9899999999999998</c:v>
                </c:pt>
                <c:pt idx="5125">
                  <c:v>3.0070000000000001</c:v>
                </c:pt>
                <c:pt idx="5126">
                  <c:v>3.169</c:v>
                </c:pt>
                <c:pt idx="5127">
                  <c:v>3.4899999999999998</c:v>
                </c:pt>
                <c:pt idx="5128">
                  <c:v>3.5990000000000002</c:v>
                </c:pt>
                <c:pt idx="5129">
                  <c:v>3.9229999999999996</c:v>
                </c:pt>
                <c:pt idx="5130">
                  <c:v>4.0939999999999994</c:v>
                </c:pt>
                <c:pt idx="5131">
                  <c:v>3.9270000000000005</c:v>
                </c:pt>
                <c:pt idx="5132">
                  <c:v>3.8149999999999999</c:v>
                </c:pt>
                <c:pt idx="5133">
                  <c:v>3.7530000000000001</c:v>
                </c:pt>
                <c:pt idx="5134">
                  <c:v>3.4460000000000002</c:v>
                </c:pt>
                <c:pt idx="5135">
                  <c:v>2.81</c:v>
                </c:pt>
                <c:pt idx="5136">
                  <c:v>2.6469999999999998</c:v>
                </c:pt>
                <c:pt idx="5137">
                  <c:v>2.476</c:v>
                </c:pt>
                <c:pt idx="5138">
                  <c:v>2.3359999999999999</c:v>
                </c:pt>
                <c:pt idx="5139">
                  <c:v>2.339</c:v>
                </c:pt>
                <c:pt idx="5140">
                  <c:v>2.508</c:v>
                </c:pt>
                <c:pt idx="5141">
                  <c:v>2.8579999999999997</c:v>
                </c:pt>
                <c:pt idx="5142">
                  <c:v>3.4939999999999998</c:v>
                </c:pt>
                <c:pt idx="5143">
                  <c:v>3.5979999999999999</c:v>
                </c:pt>
                <c:pt idx="5144">
                  <c:v>3.5979999999999999</c:v>
                </c:pt>
                <c:pt idx="5145">
                  <c:v>3.589</c:v>
                </c:pt>
                <c:pt idx="5146">
                  <c:v>3.472</c:v>
                </c:pt>
                <c:pt idx="5147">
                  <c:v>3.0569999999999999</c:v>
                </c:pt>
                <c:pt idx="5148">
                  <c:v>2.7130000000000001</c:v>
                </c:pt>
                <c:pt idx="5149">
                  <c:v>2.2030000000000003</c:v>
                </c:pt>
                <c:pt idx="5150">
                  <c:v>2.028</c:v>
                </c:pt>
                <c:pt idx="5151">
                  <c:v>1.8089999999999999</c:v>
                </c:pt>
                <c:pt idx="5152">
                  <c:v>2.399</c:v>
                </c:pt>
                <c:pt idx="5153">
                  <c:v>2.6819999999999999</c:v>
                </c:pt>
                <c:pt idx="5154">
                  <c:v>2.976</c:v>
                </c:pt>
                <c:pt idx="5155">
                  <c:v>3.0760000000000001</c:v>
                </c:pt>
                <c:pt idx="5156">
                  <c:v>3.1850000000000001</c:v>
                </c:pt>
                <c:pt idx="5157">
                  <c:v>2.9690000000000003</c:v>
                </c:pt>
                <c:pt idx="5158">
                  <c:v>2.552</c:v>
                </c:pt>
                <c:pt idx="5159">
                  <c:v>2.516</c:v>
                </c:pt>
                <c:pt idx="5160">
                  <c:v>2.27</c:v>
                </c:pt>
                <c:pt idx="5161">
                  <c:v>2.13</c:v>
                </c:pt>
                <c:pt idx="5162">
                  <c:v>1.903</c:v>
                </c:pt>
                <c:pt idx="5163">
                  <c:v>1.895</c:v>
                </c:pt>
                <c:pt idx="5164">
                  <c:v>2.1480000000000001</c:v>
                </c:pt>
                <c:pt idx="5165">
                  <c:v>3.05</c:v>
                </c:pt>
                <c:pt idx="5166">
                  <c:v>3.4990000000000001</c:v>
                </c:pt>
                <c:pt idx="5167">
                  <c:v>3.5020000000000002</c:v>
                </c:pt>
                <c:pt idx="5168">
                  <c:v>3.3590000000000004</c:v>
                </c:pt>
                <c:pt idx="5169">
                  <c:v>2.8420000000000001</c:v>
                </c:pt>
                <c:pt idx="5170">
                  <c:v>2.1619999999999999</c:v>
                </c:pt>
                <c:pt idx="5171">
                  <c:v>1.7050000000000001</c:v>
                </c:pt>
                <c:pt idx="5172">
                  <c:v>1.0349999999999999</c:v>
                </c:pt>
                <c:pt idx="5173">
                  <c:v>0.95799999999999996</c:v>
                </c:pt>
                <c:pt idx="5174">
                  <c:v>1.036</c:v>
                </c:pt>
                <c:pt idx="5175">
                  <c:v>1.032</c:v>
                </c:pt>
                <c:pt idx="5176">
                  <c:v>2.004</c:v>
                </c:pt>
                <c:pt idx="5177">
                  <c:v>2.8460000000000001</c:v>
                </c:pt>
                <c:pt idx="5178">
                  <c:v>3.5009999999999999</c:v>
                </c:pt>
                <c:pt idx="5179">
                  <c:v>3.4479999999999995</c:v>
                </c:pt>
                <c:pt idx="5180">
                  <c:v>3.4929999999999999</c:v>
                </c:pt>
                <c:pt idx="5181">
                  <c:v>3.496</c:v>
                </c:pt>
                <c:pt idx="5182">
                  <c:v>3.1059999999999999</c:v>
                </c:pt>
                <c:pt idx="5183">
                  <c:v>2.4969999999999999</c:v>
                </c:pt>
                <c:pt idx="5184">
                  <c:v>2.4969999999999999</c:v>
                </c:pt>
                <c:pt idx="5185">
                  <c:v>2.5049999999999999</c:v>
                </c:pt>
                <c:pt idx="5186">
                  <c:v>2.4020000000000001</c:v>
                </c:pt>
                <c:pt idx="5187">
                  <c:v>2.31</c:v>
                </c:pt>
                <c:pt idx="5188">
                  <c:v>2.4739999999999998</c:v>
                </c:pt>
                <c:pt idx="5189">
                  <c:v>2.4170000000000003</c:v>
                </c:pt>
                <c:pt idx="5190">
                  <c:v>2.7679999999999998</c:v>
                </c:pt>
                <c:pt idx="5191">
                  <c:v>3.1</c:v>
                </c:pt>
                <c:pt idx="5192">
                  <c:v>3.282</c:v>
                </c:pt>
                <c:pt idx="5193">
                  <c:v>3.1879999999999997</c:v>
                </c:pt>
                <c:pt idx="5194">
                  <c:v>2.7210000000000001</c:v>
                </c:pt>
                <c:pt idx="5195">
                  <c:v>2.5059999999999998</c:v>
                </c:pt>
                <c:pt idx="5196">
                  <c:v>2.3370000000000002</c:v>
                </c:pt>
                <c:pt idx="5197">
                  <c:v>2.343</c:v>
                </c:pt>
                <c:pt idx="5198">
                  <c:v>2.4550000000000001</c:v>
                </c:pt>
                <c:pt idx="5199">
                  <c:v>2.5329999999999999</c:v>
                </c:pt>
                <c:pt idx="5200">
                  <c:v>2.798</c:v>
                </c:pt>
                <c:pt idx="5201">
                  <c:v>3.2090000000000005</c:v>
                </c:pt>
                <c:pt idx="5202">
                  <c:v>3.3959999999999999</c:v>
                </c:pt>
                <c:pt idx="5203">
                  <c:v>3.3630000000000004</c:v>
                </c:pt>
                <c:pt idx="5204">
                  <c:v>3.38</c:v>
                </c:pt>
                <c:pt idx="5205">
                  <c:v>3.4299999999999997</c:v>
                </c:pt>
                <c:pt idx="5206">
                  <c:v>3.274</c:v>
                </c:pt>
                <c:pt idx="5207">
                  <c:v>2.573</c:v>
                </c:pt>
                <c:pt idx="5208">
                  <c:v>2.0569999999999999</c:v>
                </c:pt>
                <c:pt idx="5209">
                  <c:v>1.8030000000000002</c:v>
                </c:pt>
                <c:pt idx="5210">
                  <c:v>1.659</c:v>
                </c:pt>
                <c:pt idx="5211">
                  <c:v>1.369</c:v>
                </c:pt>
                <c:pt idx="5212">
                  <c:v>1.087</c:v>
                </c:pt>
                <c:pt idx="5213">
                  <c:v>1.075</c:v>
                </c:pt>
                <c:pt idx="5214">
                  <c:v>1.26</c:v>
                </c:pt>
                <c:pt idx="5215">
                  <c:v>1.6320000000000001</c:v>
                </c:pt>
                <c:pt idx="5216">
                  <c:v>1.8</c:v>
                </c:pt>
                <c:pt idx="5217">
                  <c:v>1.046</c:v>
                </c:pt>
                <c:pt idx="5218">
                  <c:v>1.333</c:v>
                </c:pt>
                <c:pt idx="5219">
                  <c:v>1.413</c:v>
                </c:pt>
                <c:pt idx="5220">
                  <c:v>1.083</c:v>
                </c:pt>
                <c:pt idx="5221">
                  <c:v>1.0409999999999999</c:v>
                </c:pt>
                <c:pt idx="5222">
                  <c:v>1.032</c:v>
                </c:pt>
                <c:pt idx="5223">
                  <c:v>1.3009999999999999</c:v>
                </c:pt>
                <c:pt idx="5224">
                  <c:v>1.9570000000000001</c:v>
                </c:pt>
                <c:pt idx="5225">
                  <c:v>2.8660000000000001</c:v>
                </c:pt>
                <c:pt idx="5226">
                  <c:v>3.2939999999999996</c:v>
                </c:pt>
                <c:pt idx="5227">
                  <c:v>3.4950000000000001</c:v>
                </c:pt>
                <c:pt idx="5228">
                  <c:v>3.6049999999999995</c:v>
                </c:pt>
                <c:pt idx="5229">
                  <c:v>3.6070000000000002</c:v>
                </c:pt>
                <c:pt idx="5230">
                  <c:v>3.4939999999999998</c:v>
                </c:pt>
                <c:pt idx="5231">
                  <c:v>3.1100000000000003</c:v>
                </c:pt>
                <c:pt idx="5232">
                  <c:v>2.8</c:v>
                </c:pt>
                <c:pt idx="5233">
                  <c:v>2.6109999999999998</c:v>
                </c:pt>
                <c:pt idx="5234">
                  <c:v>2.48</c:v>
                </c:pt>
                <c:pt idx="5235">
                  <c:v>2.5469999999999997</c:v>
                </c:pt>
                <c:pt idx="5236">
                  <c:v>2.8280000000000003</c:v>
                </c:pt>
                <c:pt idx="5237">
                  <c:v>3.5179999999999998</c:v>
                </c:pt>
                <c:pt idx="5238">
                  <c:v>3.7930000000000001</c:v>
                </c:pt>
                <c:pt idx="5239">
                  <c:v>3.7850000000000001</c:v>
                </c:pt>
                <c:pt idx="5240">
                  <c:v>3.6420000000000003</c:v>
                </c:pt>
                <c:pt idx="5241">
                  <c:v>3.4079999999999999</c:v>
                </c:pt>
                <c:pt idx="5242">
                  <c:v>3.3140000000000001</c:v>
                </c:pt>
                <c:pt idx="5243">
                  <c:v>2.903</c:v>
                </c:pt>
                <c:pt idx="5244">
                  <c:v>2.6870000000000003</c:v>
                </c:pt>
                <c:pt idx="5245">
                  <c:v>2.7469999999999999</c:v>
                </c:pt>
                <c:pt idx="5246">
                  <c:v>2.9039999999999999</c:v>
                </c:pt>
                <c:pt idx="5247">
                  <c:v>3.2649999999999997</c:v>
                </c:pt>
                <c:pt idx="5248">
                  <c:v>3.6950000000000003</c:v>
                </c:pt>
                <c:pt idx="5249">
                  <c:v>4.2159999999999993</c:v>
                </c:pt>
                <c:pt idx="5250">
                  <c:v>4.5110000000000001</c:v>
                </c:pt>
                <c:pt idx="5251">
                  <c:v>4.49</c:v>
                </c:pt>
                <c:pt idx="5252">
                  <c:v>3.9939999999999998</c:v>
                </c:pt>
                <c:pt idx="5253">
                  <c:v>3.5920000000000001</c:v>
                </c:pt>
                <c:pt idx="5254">
                  <c:v>2.9940000000000002</c:v>
                </c:pt>
                <c:pt idx="5255">
                  <c:v>2.8090000000000002</c:v>
                </c:pt>
                <c:pt idx="5256">
                  <c:v>2.6859999999999999</c:v>
                </c:pt>
                <c:pt idx="5257">
                  <c:v>2.5339999999999998</c:v>
                </c:pt>
                <c:pt idx="5258">
                  <c:v>2.4590000000000001</c:v>
                </c:pt>
                <c:pt idx="5259">
                  <c:v>2.464</c:v>
                </c:pt>
                <c:pt idx="5260">
                  <c:v>2.6960000000000002</c:v>
                </c:pt>
                <c:pt idx="5261">
                  <c:v>3.1</c:v>
                </c:pt>
                <c:pt idx="5262">
                  <c:v>3.5</c:v>
                </c:pt>
                <c:pt idx="5263">
                  <c:v>3.6509999999999998</c:v>
                </c:pt>
                <c:pt idx="5264">
                  <c:v>3.7060000000000004</c:v>
                </c:pt>
                <c:pt idx="5265">
                  <c:v>3.62</c:v>
                </c:pt>
                <c:pt idx="5266">
                  <c:v>3.6380000000000003</c:v>
                </c:pt>
                <c:pt idx="5267">
                  <c:v>3.4740000000000002</c:v>
                </c:pt>
                <c:pt idx="5268">
                  <c:v>3.1510000000000002</c:v>
                </c:pt>
                <c:pt idx="5269">
                  <c:v>2.956</c:v>
                </c:pt>
                <c:pt idx="5270">
                  <c:v>3.0949999999999998</c:v>
                </c:pt>
                <c:pt idx="5271">
                  <c:v>3.133</c:v>
                </c:pt>
                <c:pt idx="5272">
                  <c:v>3.2359999999999998</c:v>
                </c:pt>
                <c:pt idx="5273">
                  <c:v>3.3899999999999997</c:v>
                </c:pt>
                <c:pt idx="5274">
                  <c:v>3.3909999999999996</c:v>
                </c:pt>
                <c:pt idx="5275">
                  <c:v>3.3029999999999999</c:v>
                </c:pt>
                <c:pt idx="5276">
                  <c:v>3.2069999999999999</c:v>
                </c:pt>
                <c:pt idx="5277">
                  <c:v>3.1059999999999999</c:v>
                </c:pt>
                <c:pt idx="5278">
                  <c:v>2.7969999999999997</c:v>
                </c:pt>
                <c:pt idx="5279">
                  <c:v>2.5</c:v>
                </c:pt>
                <c:pt idx="5280">
                  <c:v>2.363</c:v>
                </c:pt>
                <c:pt idx="5281">
                  <c:v>2.113</c:v>
                </c:pt>
                <c:pt idx="5282">
                  <c:v>1.9079999999999999</c:v>
                </c:pt>
                <c:pt idx="5283">
                  <c:v>1.909</c:v>
                </c:pt>
                <c:pt idx="5284">
                  <c:v>2.4569999999999999</c:v>
                </c:pt>
                <c:pt idx="5285">
                  <c:v>2.7800000000000002</c:v>
                </c:pt>
                <c:pt idx="5286">
                  <c:v>3.157</c:v>
                </c:pt>
                <c:pt idx="5287">
                  <c:v>3.4850000000000003</c:v>
                </c:pt>
                <c:pt idx="5288">
                  <c:v>3.3149999999999999</c:v>
                </c:pt>
                <c:pt idx="5289">
                  <c:v>3.149</c:v>
                </c:pt>
                <c:pt idx="5290">
                  <c:v>3.1339999999999999</c:v>
                </c:pt>
                <c:pt idx="5291">
                  <c:v>2.774</c:v>
                </c:pt>
                <c:pt idx="5292">
                  <c:v>2.6559999999999997</c:v>
                </c:pt>
                <c:pt idx="5293">
                  <c:v>2.7749999999999999</c:v>
                </c:pt>
                <c:pt idx="5294">
                  <c:v>2.996</c:v>
                </c:pt>
                <c:pt idx="5295">
                  <c:v>3.125</c:v>
                </c:pt>
                <c:pt idx="5296">
                  <c:v>3.492</c:v>
                </c:pt>
                <c:pt idx="5297">
                  <c:v>3.5960000000000001</c:v>
                </c:pt>
                <c:pt idx="5298">
                  <c:v>4.01</c:v>
                </c:pt>
                <c:pt idx="5299">
                  <c:v>3.8329999999999997</c:v>
                </c:pt>
                <c:pt idx="5300">
                  <c:v>3.9420000000000002</c:v>
                </c:pt>
                <c:pt idx="5301">
                  <c:v>3.7350000000000003</c:v>
                </c:pt>
                <c:pt idx="5302">
                  <c:v>3.4509999999999996</c:v>
                </c:pt>
                <c:pt idx="5303">
                  <c:v>2.9910000000000001</c:v>
                </c:pt>
                <c:pt idx="5304">
                  <c:v>2.8239999999999998</c:v>
                </c:pt>
                <c:pt idx="5305">
                  <c:v>2.7789999999999999</c:v>
                </c:pt>
                <c:pt idx="5306">
                  <c:v>2.66</c:v>
                </c:pt>
                <c:pt idx="5307">
                  <c:v>2.6019999999999999</c:v>
                </c:pt>
                <c:pt idx="5308">
                  <c:v>2.8440000000000003</c:v>
                </c:pt>
                <c:pt idx="5309">
                  <c:v>3.3810000000000002</c:v>
                </c:pt>
                <c:pt idx="5310">
                  <c:v>3.681</c:v>
                </c:pt>
                <c:pt idx="5311">
                  <c:v>4.0880000000000001</c:v>
                </c:pt>
                <c:pt idx="5312">
                  <c:v>4.1950000000000003</c:v>
                </c:pt>
                <c:pt idx="5313">
                  <c:v>4.1950000000000003</c:v>
                </c:pt>
                <c:pt idx="5314">
                  <c:v>4.1929999999999996</c:v>
                </c:pt>
                <c:pt idx="5315">
                  <c:v>4.1630000000000003</c:v>
                </c:pt>
                <c:pt idx="5316">
                  <c:v>4.0950000000000006</c:v>
                </c:pt>
                <c:pt idx="5317">
                  <c:v>3.9200000000000004</c:v>
                </c:pt>
                <c:pt idx="5318">
                  <c:v>3.7880000000000003</c:v>
                </c:pt>
                <c:pt idx="5319">
                  <c:v>3.6240000000000001</c:v>
                </c:pt>
                <c:pt idx="5320">
                  <c:v>3.7049999999999996</c:v>
                </c:pt>
                <c:pt idx="5321">
                  <c:v>3.8</c:v>
                </c:pt>
                <c:pt idx="5322">
                  <c:v>3.9609999999999999</c:v>
                </c:pt>
                <c:pt idx="5323">
                  <c:v>3.5990000000000002</c:v>
                </c:pt>
                <c:pt idx="5324">
                  <c:v>3.556</c:v>
                </c:pt>
                <c:pt idx="5325">
                  <c:v>3.4780000000000002</c:v>
                </c:pt>
                <c:pt idx="5326">
                  <c:v>3.097</c:v>
                </c:pt>
                <c:pt idx="5327">
                  <c:v>2.899</c:v>
                </c:pt>
                <c:pt idx="5328">
                  <c:v>2.8129999999999997</c:v>
                </c:pt>
                <c:pt idx="5329">
                  <c:v>2.7030000000000003</c:v>
                </c:pt>
                <c:pt idx="5330">
                  <c:v>2.629</c:v>
                </c:pt>
                <c:pt idx="5331">
                  <c:v>2.6120000000000001</c:v>
                </c:pt>
                <c:pt idx="5332">
                  <c:v>2.8109999999999999</c:v>
                </c:pt>
                <c:pt idx="5333">
                  <c:v>3.1789999999999998</c:v>
                </c:pt>
                <c:pt idx="5334">
                  <c:v>4.0750000000000002</c:v>
                </c:pt>
                <c:pt idx="5335">
                  <c:v>4.6979999999999995</c:v>
                </c:pt>
                <c:pt idx="5336">
                  <c:v>4.968</c:v>
                </c:pt>
                <c:pt idx="5337">
                  <c:v>5.1180000000000003</c:v>
                </c:pt>
                <c:pt idx="5338">
                  <c:v>6.1360000000000001</c:v>
                </c:pt>
                <c:pt idx="5339">
                  <c:v>5.2649999999999997</c:v>
                </c:pt>
                <c:pt idx="5340">
                  <c:v>4.68</c:v>
                </c:pt>
                <c:pt idx="5341">
                  <c:v>3.9090000000000003</c:v>
                </c:pt>
                <c:pt idx="5342">
                  <c:v>3.9009999999999998</c:v>
                </c:pt>
                <c:pt idx="5343">
                  <c:v>3.6880000000000002</c:v>
                </c:pt>
                <c:pt idx="5344">
                  <c:v>3.742</c:v>
                </c:pt>
                <c:pt idx="5345">
                  <c:v>3.8079999999999998</c:v>
                </c:pt>
                <c:pt idx="5346">
                  <c:v>3.621</c:v>
                </c:pt>
                <c:pt idx="5347">
                  <c:v>3.4319999999999999</c:v>
                </c:pt>
                <c:pt idx="5348">
                  <c:v>3.4609999999999999</c:v>
                </c:pt>
                <c:pt idx="5349">
                  <c:v>3.3359999999999999</c:v>
                </c:pt>
                <c:pt idx="5350">
                  <c:v>3.0710000000000002</c:v>
                </c:pt>
                <c:pt idx="5351">
                  <c:v>2.5629999999999997</c:v>
                </c:pt>
                <c:pt idx="5352">
                  <c:v>2.3050000000000002</c:v>
                </c:pt>
                <c:pt idx="5353">
                  <c:v>2.0720000000000001</c:v>
                </c:pt>
                <c:pt idx="5354">
                  <c:v>2.0059999999999998</c:v>
                </c:pt>
                <c:pt idx="5355">
                  <c:v>1.8850000000000002</c:v>
                </c:pt>
                <c:pt idx="5356">
                  <c:v>1.7030000000000001</c:v>
                </c:pt>
                <c:pt idx="5357">
                  <c:v>1.9590000000000001</c:v>
                </c:pt>
                <c:pt idx="5358">
                  <c:v>2.0910000000000002</c:v>
                </c:pt>
                <c:pt idx="5359">
                  <c:v>2.4370000000000003</c:v>
                </c:pt>
                <c:pt idx="5360">
                  <c:v>2.5840000000000001</c:v>
                </c:pt>
                <c:pt idx="5361">
                  <c:v>2.536</c:v>
                </c:pt>
                <c:pt idx="5362">
                  <c:v>2.5499999999999998</c:v>
                </c:pt>
                <c:pt idx="5363">
                  <c:v>2.4489999999999998</c:v>
                </c:pt>
                <c:pt idx="5364">
                  <c:v>1.9010000000000002</c:v>
                </c:pt>
                <c:pt idx="5365">
                  <c:v>1.5230000000000001</c:v>
                </c:pt>
                <c:pt idx="5366">
                  <c:v>1.641</c:v>
                </c:pt>
                <c:pt idx="5367">
                  <c:v>1.599</c:v>
                </c:pt>
                <c:pt idx="5368">
                  <c:v>1.877</c:v>
                </c:pt>
                <c:pt idx="5369">
                  <c:v>2.4809999999999999</c:v>
                </c:pt>
                <c:pt idx="5370">
                  <c:v>2.544</c:v>
                </c:pt>
                <c:pt idx="5371">
                  <c:v>2.5670000000000002</c:v>
                </c:pt>
                <c:pt idx="5372">
                  <c:v>2.5539999999999998</c:v>
                </c:pt>
                <c:pt idx="5373">
                  <c:v>2.4020000000000001</c:v>
                </c:pt>
                <c:pt idx="5374">
                  <c:v>1.7929999999999999</c:v>
                </c:pt>
                <c:pt idx="5375">
                  <c:v>1.5740000000000001</c:v>
                </c:pt>
                <c:pt idx="5376">
                  <c:v>1.542</c:v>
                </c:pt>
                <c:pt idx="5377">
                  <c:v>1.2929999999999999</c:v>
                </c:pt>
                <c:pt idx="5378">
                  <c:v>1.1640000000000001</c:v>
                </c:pt>
                <c:pt idx="5379">
                  <c:v>1.3340000000000001</c:v>
                </c:pt>
                <c:pt idx="5380">
                  <c:v>1.1949999999999998</c:v>
                </c:pt>
                <c:pt idx="5381">
                  <c:v>1.177</c:v>
                </c:pt>
                <c:pt idx="5382">
                  <c:v>1.607</c:v>
                </c:pt>
                <c:pt idx="5383">
                  <c:v>1.9</c:v>
                </c:pt>
                <c:pt idx="5384">
                  <c:v>2.1019999999999999</c:v>
                </c:pt>
                <c:pt idx="5385">
                  <c:v>1.9690000000000001</c:v>
                </c:pt>
                <c:pt idx="5386">
                  <c:v>2.109</c:v>
                </c:pt>
                <c:pt idx="5387">
                  <c:v>1.9329999999999998</c:v>
                </c:pt>
                <c:pt idx="5388">
                  <c:v>1.607</c:v>
                </c:pt>
                <c:pt idx="5389">
                  <c:v>1.3240000000000001</c:v>
                </c:pt>
                <c:pt idx="5390">
                  <c:v>1.1800000000000002</c:v>
                </c:pt>
                <c:pt idx="5391">
                  <c:v>1.08</c:v>
                </c:pt>
                <c:pt idx="5392">
                  <c:v>2.1890000000000001</c:v>
                </c:pt>
                <c:pt idx="5393">
                  <c:v>2.839</c:v>
                </c:pt>
                <c:pt idx="5394">
                  <c:v>3.3</c:v>
                </c:pt>
                <c:pt idx="5395">
                  <c:v>3.4979999999999998</c:v>
                </c:pt>
                <c:pt idx="5396">
                  <c:v>3.6469999999999998</c:v>
                </c:pt>
                <c:pt idx="5397">
                  <c:v>3.5799999999999996</c:v>
                </c:pt>
                <c:pt idx="5398">
                  <c:v>3.2</c:v>
                </c:pt>
                <c:pt idx="5399">
                  <c:v>2.8690000000000002</c:v>
                </c:pt>
                <c:pt idx="5400">
                  <c:v>2.637</c:v>
                </c:pt>
                <c:pt idx="5401">
                  <c:v>2.524</c:v>
                </c:pt>
                <c:pt idx="5402">
                  <c:v>2.5170000000000003</c:v>
                </c:pt>
                <c:pt idx="5403">
                  <c:v>2.528</c:v>
                </c:pt>
                <c:pt idx="5404">
                  <c:v>2.7640000000000002</c:v>
                </c:pt>
                <c:pt idx="5405">
                  <c:v>3.29</c:v>
                </c:pt>
                <c:pt idx="5406">
                  <c:v>3.79</c:v>
                </c:pt>
                <c:pt idx="5407">
                  <c:v>3.8439999999999999</c:v>
                </c:pt>
                <c:pt idx="5408">
                  <c:v>3.6640000000000001</c:v>
                </c:pt>
                <c:pt idx="5409">
                  <c:v>3.504</c:v>
                </c:pt>
                <c:pt idx="5410">
                  <c:v>3.496</c:v>
                </c:pt>
                <c:pt idx="5411">
                  <c:v>3.34</c:v>
                </c:pt>
                <c:pt idx="5412">
                  <c:v>3.1930000000000001</c:v>
                </c:pt>
                <c:pt idx="5413">
                  <c:v>3.1870000000000003</c:v>
                </c:pt>
                <c:pt idx="5414">
                  <c:v>3.3</c:v>
                </c:pt>
                <c:pt idx="5415">
                  <c:v>3.4869999999999997</c:v>
                </c:pt>
                <c:pt idx="5416">
                  <c:v>3.7069999999999999</c:v>
                </c:pt>
                <c:pt idx="5417">
                  <c:v>3.964</c:v>
                </c:pt>
                <c:pt idx="5418">
                  <c:v>4.1959999999999997</c:v>
                </c:pt>
                <c:pt idx="5419">
                  <c:v>3.839</c:v>
                </c:pt>
                <c:pt idx="5420">
                  <c:v>3.7759999999999998</c:v>
                </c:pt>
                <c:pt idx="5421">
                  <c:v>3.2960000000000003</c:v>
                </c:pt>
                <c:pt idx="5422">
                  <c:v>2.6819999999999999</c:v>
                </c:pt>
                <c:pt idx="5423">
                  <c:v>2.3899999999999997</c:v>
                </c:pt>
                <c:pt idx="5424">
                  <c:v>2.3050000000000002</c:v>
                </c:pt>
                <c:pt idx="5425">
                  <c:v>2.2069999999999999</c:v>
                </c:pt>
                <c:pt idx="5426">
                  <c:v>1.9300000000000002</c:v>
                </c:pt>
                <c:pt idx="5427">
                  <c:v>1.925</c:v>
                </c:pt>
                <c:pt idx="5428">
                  <c:v>2.1469999999999998</c:v>
                </c:pt>
                <c:pt idx="5429">
                  <c:v>2.6230000000000002</c:v>
                </c:pt>
                <c:pt idx="5430">
                  <c:v>2.6960000000000002</c:v>
                </c:pt>
                <c:pt idx="5431">
                  <c:v>2.7960000000000003</c:v>
                </c:pt>
                <c:pt idx="5432">
                  <c:v>2.6840000000000002</c:v>
                </c:pt>
                <c:pt idx="5433">
                  <c:v>2.6079999999999997</c:v>
                </c:pt>
                <c:pt idx="5434">
                  <c:v>2.669</c:v>
                </c:pt>
                <c:pt idx="5435">
                  <c:v>2.5379999999999998</c:v>
                </c:pt>
                <c:pt idx="5436">
                  <c:v>2.3069999999999999</c:v>
                </c:pt>
                <c:pt idx="5437">
                  <c:v>2.1260000000000003</c:v>
                </c:pt>
                <c:pt idx="5438">
                  <c:v>2.5179999999999998</c:v>
                </c:pt>
                <c:pt idx="5439">
                  <c:v>2.6079999999999997</c:v>
                </c:pt>
                <c:pt idx="5440">
                  <c:v>3.1339999999999999</c:v>
                </c:pt>
                <c:pt idx="5441">
                  <c:v>3.524</c:v>
                </c:pt>
                <c:pt idx="5442">
                  <c:v>3.53</c:v>
                </c:pt>
                <c:pt idx="5443">
                  <c:v>3.536</c:v>
                </c:pt>
                <c:pt idx="5444">
                  <c:v>3.4950000000000001</c:v>
                </c:pt>
                <c:pt idx="5445">
                  <c:v>2.9039999999999999</c:v>
                </c:pt>
                <c:pt idx="5446">
                  <c:v>2.71</c:v>
                </c:pt>
                <c:pt idx="5447">
                  <c:v>2.8929999999999998</c:v>
                </c:pt>
                <c:pt idx="5448">
                  <c:v>2.7989999999999999</c:v>
                </c:pt>
                <c:pt idx="5449">
                  <c:v>2.7109999999999999</c:v>
                </c:pt>
                <c:pt idx="5450">
                  <c:v>2.6789999999999998</c:v>
                </c:pt>
                <c:pt idx="5451">
                  <c:v>2.7640000000000002</c:v>
                </c:pt>
                <c:pt idx="5452">
                  <c:v>2.8719999999999999</c:v>
                </c:pt>
                <c:pt idx="5453">
                  <c:v>3.4979999999999998</c:v>
                </c:pt>
                <c:pt idx="5454">
                  <c:v>3.7610000000000001</c:v>
                </c:pt>
                <c:pt idx="5455">
                  <c:v>4.2</c:v>
                </c:pt>
                <c:pt idx="5456">
                  <c:v>4.1909999999999998</c:v>
                </c:pt>
                <c:pt idx="5457">
                  <c:v>4.0920000000000005</c:v>
                </c:pt>
                <c:pt idx="5458">
                  <c:v>4.0909999999999993</c:v>
                </c:pt>
                <c:pt idx="5459">
                  <c:v>3.8439999999999999</c:v>
                </c:pt>
                <c:pt idx="5460">
                  <c:v>3.6070000000000002</c:v>
                </c:pt>
                <c:pt idx="5461">
                  <c:v>3.556</c:v>
                </c:pt>
                <c:pt idx="5462">
                  <c:v>3.431</c:v>
                </c:pt>
                <c:pt idx="5463">
                  <c:v>3.6270000000000002</c:v>
                </c:pt>
                <c:pt idx="5464">
                  <c:v>3.9939999999999998</c:v>
                </c:pt>
                <c:pt idx="5465">
                  <c:v>4.1929999999999996</c:v>
                </c:pt>
                <c:pt idx="5466">
                  <c:v>4.3149999999999995</c:v>
                </c:pt>
                <c:pt idx="5467">
                  <c:v>4.1950000000000003</c:v>
                </c:pt>
                <c:pt idx="5468">
                  <c:v>4.01</c:v>
                </c:pt>
                <c:pt idx="5469">
                  <c:v>3.6020000000000003</c:v>
                </c:pt>
                <c:pt idx="5470">
                  <c:v>3.2</c:v>
                </c:pt>
                <c:pt idx="5471">
                  <c:v>2.9820000000000002</c:v>
                </c:pt>
                <c:pt idx="5472">
                  <c:v>2.8440000000000003</c:v>
                </c:pt>
                <c:pt idx="5473">
                  <c:v>2.6960000000000002</c:v>
                </c:pt>
                <c:pt idx="5474">
                  <c:v>2.6829999999999998</c:v>
                </c:pt>
                <c:pt idx="5475">
                  <c:v>2.6960000000000002</c:v>
                </c:pt>
                <c:pt idx="5476">
                  <c:v>2.8570000000000002</c:v>
                </c:pt>
                <c:pt idx="5477">
                  <c:v>3.3939999999999997</c:v>
                </c:pt>
                <c:pt idx="5478">
                  <c:v>3.69</c:v>
                </c:pt>
                <c:pt idx="5479">
                  <c:v>4.0140000000000002</c:v>
                </c:pt>
                <c:pt idx="5480">
                  <c:v>3.9240000000000004</c:v>
                </c:pt>
                <c:pt idx="5481">
                  <c:v>3.6469999999999998</c:v>
                </c:pt>
                <c:pt idx="5482">
                  <c:v>3.6020000000000003</c:v>
                </c:pt>
                <c:pt idx="5483">
                  <c:v>3.339</c:v>
                </c:pt>
                <c:pt idx="5484">
                  <c:v>3.1640000000000001</c:v>
                </c:pt>
                <c:pt idx="5485">
                  <c:v>3</c:v>
                </c:pt>
                <c:pt idx="5486">
                  <c:v>3.0190000000000001</c:v>
                </c:pt>
                <c:pt idx="5487">
                  <c:v>3.1680000000000001</c:v>
                </c:pt>
                <c:pt idx="5488">
                  <c:v>3.532</c:v>
                </c:pt>
                <c:pt idx="5489">
                  <c:v>3.742</c:v>
                </c:pt>
                <c:pt idx="5490">
                  <c:v>3.8969999999999998</c:v>
                </c:pt>
                <c:pt idx="5491">
                  <c:v>3.835</c:v>
                </c:pt>
                <c:pt idx="5492">
                  <c:v>3.7619999999999996</c:v>
                </c:pt>
                <c:pt idx="5493">
                  <c:v>3.6869999999999998</c:v>
                </c:pt>
                <c:pt idx="5494">
                  <c:v>3.17</c:v>
                </c:pt>
                <c:pt idx="5495">
                  <c:v>2.9210000000000003</c:v>
                </c:pt>
                <c:pt idx="5496">
                  <c:v>2.8289999999999997</c:v>
                </c:pt>
                <c:pt idx="5497">
                  <c:v>2.7280000000000002</c:v>
                </c:pt>
                <c:pt idx="5498">
                  <c:v>2.6350000000000002</c:v>
                </c:pt>
                <c:pt idx="5499">
                  <c:v>2.77</c:v>
                </c:pt>
                <c:pt idx="5500">
                  <c:v>2.8609999999999998</c:v>
                </c:pt>
                <c:pt idx="5501">
                  <c:v>3.3630000000000004</c:v>
                </c:pt>
                <c:pt idx="5502">
                  <c:v>3.8479999999999999</c:v>
                </c:pt>
                <c:pt idx="5503">
                  <c:v>4.2249999999999996</c:v>
                </c:pt>
                <c:pt idx="5504">
                  <c:v>3.8880000000000003</c:v>
                </c:pt>
                <c:pt idx="5505">
                  <c:v>3.6100000000000003</c:v>
                </c:pt>
                <c:pt idx="5506">
                  <c:v>3.6850000000000001</c:v>
                </c:pt>
                <c:pt idx="5507">
                  <c:v>3.629</c:v>
                </c:pt>
                <c:pt idx="5508">
                  <c:v>3.3170000000000002</c:v>
                </c:pt>
                <c:pt idx="5509">
                  <c:v>3.1100000000000003</c:v>
                </c:pt>
                <c:pt idx="5510">
                  <c:v>3.1559999999999997</c:v>
                </c:pt>
                <c:pt idx="5511">
                  <c:v>3.2399999999999998</c:v>
                </c:pt>
                <c:pt idx="5512">
                  <c:v>3.5710000000000002</c:v>
                </c:pt>
                <c:pt idx="5513">
                  <c:v>3.7429999999999999</c:v>
                </c:pt>
                <c:pt idx="5514">
                  <c:v>3.87</c:v>
                </c:pt>
                <c:pt idx="5515">
                  <c:v>3.6990000000000003</c:v>
                </c:pt>
                <c:pt idx="5516">
                  <c:v>3.7020000000000004</c:v>
                </c:pt>
                <c:pt idx="5517">
                  <c:v>3.4950000000000001</c:v>
                </c:pt>
                <c:pt idx="5518">
                  <c:v>2.9449999999999998</c:v>
                </c:pt>
                <c:pt idx="5519">
                  <c:v>2.222</c:v>
                </c:pt>
                <c:pt idx="5520">
                  <c:v>2.2010000000000001</c:v>
                </c:pt>
                <c:pt idx="5521">
                  <c:v>1.3109999999999999</c:v>
                </c:pt>
                <c:pt idx="5522">
                  <c:v>1.093</c:v>
                </c:pt>
                <c:pt idx="5523">
                  <c:v>1.0470000000000002</c:v>
                </c:pt>
                <c:pt idx="5524">
                  <c:v>1.093</c:v>
                </c:pt>
                <c:pt idx="5525">
                  <c:v>1.1000000000000001</c:v>
                </c:pt>
                <c:pt idx="5526">
                  <c:v>1.593</c:v>
                </c:pt>
                <c:pt idx="5527">
                  <c:v>2.0739999999999998</c:v>
                </c:pt>
                <c:pt idx="5528">
                  <c:v>1.8960000000000001</c:v>
                </c:pt>
                <c:pt idx="5529">
                  <c:v>1.462</c:v>
                </c:pt>
                <c:pt idx="5530">
                  <c:v>1.242</c:v>
                </c:pt>
                <c:pt idx="5531">
                  <c:v>0.71299999999999997</c:v>
                </c:pt>
                <c:pt idx="5532">
                  <c:v>-7.000000000000001E-3</c:v>
                </c:pt>
                <c:pt idx="5533">
                  <c:v>-0.4</c:v>
                </c:pt>
                <c:pt idx="5534">
                  <c:v>-2.1999999999999999E-2</c:v>
                </c:pt>
                <c:pt idx="5535">
                  <c:v>0.81600000000000006</c:v>
                </c:pt>
                <c:pt idx="5536">
                  <c:v>1.133</c:v>
                </c:pt>
                <c:pt idx="5537">
                  <c:v>2.2030000000000003</c:v>
                </c:pt>
                <c:pt idx="5538">
                  <c:v>2.6629999999999998</c:v>
                </c:pt>
                <c:pt idx="5539">
                  <c:v>2.6629999999999998</c:v>
                </c:pt>
                <c:pt idx="5540">
                  <c:v>2.7</c:v>
                </c:pt>
                <c:pt idx="5541">
                  <c:v>2.5329999999999999</c:v>
                </c:pt>
                <c:pt idx="5542">
                  <c:v>2.0049999999999999</c:v>
                </c:pt>
                <c:pt idx="5543">
                  <c:v>1.0840000000000001</c:v>
                </c:pt>
                <c:pt idx="5544">
                  <c:v>1.01</c:v>
                </c:pt>
                <c:pt idx="5545">
                  <c:v>0.97699999999999998</c:v>
                </c:pt>
                <c:pt idx="5546">
                  <c:v>0.90100000000000002</c:v>
                </c:pt>
                <c:pt idx="5547">
                  <c:v>0.51800000000000002</c:v>
                </c:pt>
                <c:pt idx="5548">
                  <c:v>0.85099999999999998</c:v>
                </c:pt>
                <c:pt idx="5549">
                  <c:v>0.81699999999999995</c:v>
                </c:pt>
                <c:pt idx="5550">
                  <c:v>0.50600000000000001</c:v>
                </c:pt>
                <c:pt idx="5551">
                  <c:v>0.96500000000000008</c:v>
                </c:pt>
                <c:pt idx="5552">
                  <c:v>0.55899999999999994</c:v>
                </c:pt>
                <c:pt idx="5553">
                  <c:v>0.26600000000000001</c:v>
                </c:pt>
                <c:pt idx="5554">
                  <c:v>0.21000000000000002</c:v>
                </c:pt>
                <c:pt idx="5555">
                  <c:v>-1E-3</c:v>
                </c:pt>
                <c:pt idx="5556">
                  <c:v>-1.4350000000000001</c:v>
                </c:pt>
                <c:pt idx="5557">
                  <c:v>-1.2929999999999999</c:v>
                </c:pt>
                <c:pt idx="5558">
                  <c:v>-0.63700000000000001</c:v>
                </c:pt>
                <c:pt idx="5559">
                  <c:v>-0.35699999999999998</c:v>
                </c:pt>
                <c:pt idx="5560">
                  <c:v>0.753</c:v>
                </c:pt>
                <c:pt idx="5561">
                  <c:v>1.413</c:v>
                </c:pt>
                <c:pt idx="5562">
                  <c:v>2.65</c:v>
                </c:pt>
                <c:pt idx="5563">
                  <c:v>2.85</c:v>
                </c:pt>
                <c:pt idx="5564">
                  <c:v>3.0569999999999999</c:v>
                </c:pt>
                <c:pt idx="5565">
                  <c:v>2.9059999999999997</c:v>
                </c:pt>
                <c:pt idx="5566">
                  <c:v>2.3180000000000001</c:v>
                </c:pt>
                <c:pt idx="5567">
                  <c:v>1.9550000000000001</c:v>
                </c:pt>
                <c:pt idx="5568">
                  <c:v>1.234</c:v>
                </c:pt>
                <c:pt idx="5569">
                  <c:v>1.0960000000000001</c:v>
                </c:pt>
                <c:pt idx="5570">
                  <c:v>0.97399999999999998</c:v>
                </c:pt>
                <c:pt idx="5571">
                  <c:v>0.99600000000000011</c:v>
                </c:pt>
                <c:pt idx="5572">
                  <c:v>2.0339999999999998</c:v>
                </c:pt>
                <c:pt idx="5573">
                  <c:v>2.9929999999999999</c:v>
                </c:pt>
                <c:pt idx="5574">
                  <c:v>3.5170000000000003</c:v>
                </c:pt>
                <c:pt idx="5575">
                  <c:v>3.6799999999999997</c:v>
                </c:pt>
                <c:pt idx="5576">
                  <c:v>3.5539999999999998</c:v>
                </c:pt>
                <c:pt idx="5577">
                  <c:v>3.3770000000000002</c:v>
                </c:pt>
                <c:pt idx="5578">
                  <c:v>3.1160000000000001</c:v>
                </c:pt>
                <c:pt idx="5579">
                  <c:v>3.0960000000000001</c:v>
                </c:pt>
                <c:pt idx="5580">
                  <c:v>2.9620000000000002</c:v>
                </c:pt>
                <c:pt idx="5581">
                  <c:v>2.7930000000000001</c:v>
                </c:pt>
                <c:pt idx="5582">
                  <c:v>2.9870000000000001</c:v>
                </c:pt>
                <c:pt idx="5583">
                  <c:v>3.2060000000000004</c:v>
                </c:pt>
                <c:pt idx="5584">
                  <c:v>3.4710000000000001</c:v>
                </c:pt>
                <c:pt idx="5585">
                  <c:v>3.9799999999999995</c:v>
                </c:pt>
                <c:pt idx="5586">
                  <c:v>4.1859999999999999</c:v>
                </c:pt>
                <c:pt idx="5587">
                  <c:v>4.101</c:v>
                </c:pt>
                <c:pt idx="5588">
                  <c:v>4.0310000000000006</c:v>
                </c:pt>
                <c:pt idx="5589">
                  <c:v>3.7709999999999999</c:v>
                </c:pt>
                <c:pt idx="5590">
                  <c:v>3.2</c:v>
                </c:pt>
                <c:pt idx="5591">
                  <c:v>3.2770000000000001</c:v>
                </c:pt>
                <c:pt idx="5592">
                  <c:v>3</c:v>
                </c:pt>
                <c:pt idx="5593">
                  <c:v>2.9530000000000003</c:v>
                </c:pt>
                <c:pt idx="5594">
                  <c:v>2.79</c:v>
                </c:pt>
                <c:pt idx="5595">
                  <c:v>2.778</c:v>
                </c:pt>
                <c:pt idx="5596">
                  <c:v>3.1779999999999999</c:v>
                </c:pt>
                <c:pt idx="5597">
                  <c:v>3.7709999999999999</c:v>
                </c:pt>
                <c:pt idx="5598">
                  <c:v>4.2240000000000002</c:v>
                </c:pt>
                <c:pt idx="5599">
                  <c:v>4.242</c:v>
                </c:pt>
                <c:pt idx="5600">
                  <c:v>3.9990000000000001</c:v>
                </c:pt>
                <c:pt idx="5601">
                  <c:v>3.7759999999999998</c:v>
                </c:pt>
                <c:pt idx="5602">
                  <c:v>3.6909999999999998</c:v>
                </c:pt>
                <c:pt idx="5603">
                  <c:v>3.5569999999999999</c:v>
                </c:pt>
                <c:pt idx="5604">
                  <c:v>3.536</c:v>
                </c:pt>
                <c:pt idx="5605">
                  <c:v>3.508</c:v>
                </c:pt>
                <c:pt idx="5606">
                  <c:v>3.6060000000000003</c:v>
                </c:pt>
                <c:pt idx="5607">
                  <c:v>3.7389999999999999</c:v>
                </c:pt>
                <c:pt idx="5608">
                  <c:v>4.202</c:v>
                </c:pt>
                <c:pt idx="5609">
                  <c:v>4.4710000000000001</c:v>
                </c:pt>
                <c:pt idx="5610">
                  <c:v>4.8170000000000002</c:v>
                </c:pt>
                <c:pt idx="5611">
                  <c:v>4.5069999999999997</c:v>
                </c:pt>
                <c:pt idx="5612">
                  <c:v>4.3380000000000001</c:v>
                </c:pt>
                <c:pt idx="5613">
                  <c:v>3.8810000000000002</c:v>
                </c:pt>
                <c:pt idx="5614">
                  <c:v>3.4850000000000003</c:v>
                </c:pt>
                <c:pt idx="5615">
                  <c:v>3.097</c:v>
                </c:pt>
                <c:pt idx="5616">
                  <c:v>3.093</c:v>
                </c:pt>
                <c:pt idx="5617">
                  <c:v>2.9630000000000001</c:v>
                </c:pt>
                <c:pt idx="5618">
                  <c:v>2.84</c:v>
                </c:pt>
                <c:pt idx="5619">
                  <c:v>2.806</c:v>
                </c:pt>
                <c:pt idx="5620">
                  <c:v>2.976</c:v>
                </c:pt>
                <c:pt idx="5621">
                  <c:v>3.6930000000000001</c:v>
                </c:pt>
                <c:pt idx="5622">
                  <c:v>4.0920000000000005</c:v>
                </c:pt>
                <c:pt idx="5623">
                  <c:v>4.3360000000000003</c:v>
                </c:pt>
                <c:pt idx="5624">
                  <c:v>4.0720000000000001</c:v>
                </c:pt>
                <c:pt idx="5625">
                  <c:v>3.8240000000000003</c:v>
                </c:pt>
                <c:pt idx="5626">
                  <c:v>3.75</c:v>
                </c:pt>
                <c:pt idx="5627">
                  <c:v>3.625</c:v>
                </c:pt>
                <c:pt idx="5628">
                  <c:v>3.4</c:v>
                </c:pt>
                <c:pt idx="5629">
                  <c:v>3.25</c:v>
                </c:pt>
                <c:pt idx="5630">
                  <c:v>3.41</c:v>
                </c:pt>
                <c:pt idx="5631">
                  <c:v>3.7060000000000004</c:v>
                </c:pt>
                <c:pt idx="5632">
                  <c:v>4.024</c:v>
                </c:pt>
                <c:pt idx="5633">
                  <c:v>4.5939999999999994</c:v>
                </c:pt>
                <c:pt idx="5634">
                  <c:v>4.8049999999999997</c:v>
                </c:pt>
                <c:pt idx="5635">
                  <c:v>4.49</c:v>
                </c:pt>
                <c:pt idx="5636">
                  <c:v>4.1920000000000002</c:v>
                </c:pt>
                <c:pt idx="5637">
                  <c:v>3.5960000000000001</c:v>
                </c:pt>
                <c:pt idx="5638">
                  <c:v>3.129</c:v>
                </c:pt>
                <c:pt idx="5639">
                  <c:v>2.9989999999999997</c:v>
                </c:pt>
                <c:pt idx="5640">
                  <c:v>2.948</c:v>
                </c:pt>
                <c:pt idx="5641">
                  <c:v>2.81</c:v>
                </c:pt>
                <c:pt idx="5642">
                  <c:v>2.7730000000000001</c:v>
                </c:pt>
                <c:pt idx="5643">
                  <c:v>2.8</c:v>
                </c:pt>
                <c:pt idx="5644">
                  <c:v>3.0270000000000001</c:v>
                </c:pt>
                <c:pt idx="5645">
                  <c:v>3.6450000000000005</c:v>
                </c:pt>
                <c:pt idx="5646">
                  <c:v>3.9420000000000002</c:v>
                </c:pt>
                <c:pt idx="5647">
                  <c:v>4.2140000000000004</c:v>
                </c:pt>
                <c:pt idx="5648">
                  <c:v>4.2090000000000005</c:v>
                </c:pt>
                <c:pt idx="5649">
                  <c:v>4.07</c:v>
                </c:pt>
                <c:pt idx="5650">
                  <c:v>3.9939999999999998</c:v>
                </c:pt>
                <c:pt idx="5651">
                  <c:v>3.2380000000000004</c:v>
                </c:pt>
                <c:pt idx="5652">
                  <c:v>2.9630000000000001</c:v>
                </c:pt>
                <c:pt idx="5653">
                  <c:v>2.9690000000000003</c:v>
                </c:pt>
                <c:pt idx="5654">
                  <c:v>2.98</c:v>
                </c:pt>
                <c:pt idx="5655">
                  <c:v>3.1760000000000002</c:v>
                </c:pt>
                <c:pt idx="5656">
                  <c:v>3.97</c:v>
                </c:pt>
                <c:pt idx="5657">
                  <c:v>4.2750000000000004</c:v>
                </c:pt>
                <c:pt idx="5658">
                  <c:v>4.4889999999999999</c:v>
                </c:pt>
                <c:pt idx="5659">
                  <c:v>4.4550000000000001</c:v>
                </c:pt>
                <c:pt idx="5660">
                  <c:v>4.2909999999999995</c:v>
                </c:pt>
                <c:pt idx="5661">
                  <c:v>3.9219999999999997</c:v>
                </c:pt>
                <c:pt idx="5662">
                  <c:v>3.3959999999999999</c:v>
                </c:pt>
                <c:pt idx="5663">
                  <c:v>3.343</c:v>
                </c:pt>
                <c:pt idx="5664">
                  <c:v>3.1309999999999998</c:v>
                </c:pt>
                <c:pt idx="5665">
                  <c:v>3.0129999999999999</c:v>
                </c:pt>
                <c:pt idx="5666">
                  <c:v>2.9510000000000001</c:v>
                </c:pt>
                <c:pt idx="5667">
                  <c:v>2.9940000000000002</c:v>
                </c:pt>
                <c:pt idx="5668">
                  <c:v>3.2280000000000002</c:v>
                </c:pt>
                <c:pt idx="5669">
                  <c:v>3.8049999999999997</c:v>
                </c:pt>
                <c:pt idx="5670">
                  <c:v>4.2969999999999997</c:v>
                </c:pt>
                <c:pt idx="5671">
                  <c:v>4.49</c:v>
                </c:pt>
                <c:pt idx="5672">
                  <c:v>4.4670000000000005</c:v>
                </c:pt>
                <c:pt idx="5673">
                  <c:v>4.1770000000000005</c:v>
                </c:pt>
                <c:pt idx="5674">
                  <c:v>3.9869999999999997</c:v>
                </c:pt>
                <c:pt idx="5675">
                  <c:v>3.7920000000000003</c:v>
                </c:pt>
                <c:pt idx="5676">
                  <c:v>3.4979999999999998</c:v>
                </c:pt>
                <c:pt idx="5677">
                  <c:v>3.3090000000000002</c:v>
                </c:pt>
                <c:pt idx="5678">
                  <c:v>3.399</c:v>
                </c:pt>
                <c:pt idx="5679">
                  <c:v>3.6040000000000001</c:v>
                </c:pt>
                <c:pt idx="5680">
                  <c:v>4.0409999999999995</c:v>
                </c:pt>
                <c:pt idx="5681">
                  <c:v>4.3979999999999997</c:v>
                </c:pt>
                <c:pt idx="5682">
                  <c:v>4.57</c:v>
                </c:pt>
                <c:pt idx="5683">
                  <c:v>4.54</c:v>
                </c:pt>
                <c:pt idx="5684">
                  <c:v>4.2909999999999995</c:v>
                </c:pt>
                <c:pt idx="5685">
                  <c:v>3.97</c:v>
                </c:pt>
                <c:pt idx="5686">
                  <c:v>3.5430000000000001</c:v>
                </c:pt>
                <c:pt idx="5687">
                  <c:v>3.4750000000000001</c:v>
                </c:pt>
                <c:pt idx="5688">
                  <c:v>3.2210000000000001</c:v>
                </c:pt>
                <c:pt idx="5689">
                  <c:v>3.1379999999999999</c:v>
                </c:pt>
                <c:pt idx="5690">
                  <c:v>3.089</c:v>
                </c:pt>
                <c:pt idx="5691">
                  <c:v>3.0609999999999999</c:v>
                </c:pt>
                <c:pt idx="5692">
                  <c:v>3.0289999999999999</c:v>
                </c:pt>
                <c:pt idx="5693">
                  <c:v>3.0469999999999997</c:v>
                </c:pt>
                <c:pt idx="5694">
                  <c:v>3.1040000000000001</c:v>
                </c:pt>
                <c:pt idx="5695">
                  <c:v>3.4820000000000002</c:v>
                </c:pt>
                <c:pt idx="5696">
                  <c:v>3.5960000000000001</c:v>
                </c:pt>
                <c:pt idx="5697">
                  <c:v>3.5649999999999999</c:v>
                </c:pt>
                <c:pt idx="5698">
                  <c:v>3.4990000000000001</c:v>
                </c:pt>
                <c:pt idx="5699">
                  <c:v>3.1520000000000001</c:v>
                </c:pt>
                <c:pt idx="5700">
                  <c:v>3.0780000000000003</c:v>
                </c:pt>
                <c:pt idx="5701">
                  <c:v>3.0230000000000001</c:v>
                </c:pt>
                <c:pt idx="5702">
                  <c:v>3.1920000000000002</c:v>
                </c:pt>
                <c:pt idx="5703">
                  <c:v>3.2170000000000001</c:v>
                </c:pt>
                <c:pt idx="5704">
                  <c:v>3.6819999999999999</c:v>
                </c:pt>
                <c:pt idx="5705">
                  <c:v>3.9670000000000001</c:v>
                </c:pt>
                <c:pt idx="5706">
                  <c:v>4.2</c:v>
                </c:pt>
                <c:pt idx="5707">
                  <c:v>4.2380000000000004</c:v>
                </c:pt>
                <c:pt idx="5708">
                  <c:v>3.9969999999999999</c:v>
                </c:pt>
                <c:pt idx="5709">
                  <c:v>3.8439999999999999</c:v>
                </c:pt>
                <c:pt idx="5710">
                  <c:v>3.4899999999999998</c:v>
                </c:pt>
                <c:pt idx="5711">
                  <c:v>3.4950000000000001</c:v>
                </c:pt>
                <c:pt idx="5712">
                  <c:v>3.1879999999999997</c:v>
                </c:pt>
                <c:pt idx="5713">
                  <c:v>3.0010000000000003</c:v>
                </c:pt>
                <c:pt idx="5714">
                  <c:v>2.871</c:v>
                </c:pt>
                <c:pt idx="5715">
                  <c:v>2.9319999999999999</c:v>
                </c:pt>
                <c:pt idx="5716">
                  <c:v>2.8820000000000001</c:v>
                </c:pt>
                <c:pt idx="5717">
                  <c:v>2.9670000000000001</c:v>
                </c:pt>
                <c:pt idx="5718">
                  <c:v>2.8460000000000001</c:v>
                </c:pt>
                <c:pt idx="5719">
                  <c:v>2.944</c:v>
                </c:pt>
                <c:pt idx="5720">
                  <c:v>2.6040000000000001</c:v>
                </c:pt>
                <c:pt idx="5721">
                  <c:v>2.218</c:v>
                </c:pt>
                <c:pt idx="5722">
                  <c:v>2.206</c:v>
                </c:pt>
                <c:pt idx="5723">
                  <c:v>2.0739999999999998</c:v>
                </c:pt>
                <c:pt idx="5724">
                  <c:v>2.5420000000000003</c:v>
                </c:pt>
                <c:pt idx="5725">
                  <c:v>2.3890000000000002</c:v>
                </c:pt>
                <c:pt idx="5726">
                  <c:v>2.7</c:v>
                </c:pt>
                <c:pt idx="5727">
                  <c:v>2.8739999999999997</c:v>
                </c:pt>
                <c:pt idx="5728">
                  <c:v>3.0629999999999997</c:v>
                </c:pt>
                <c:pt idx="5729">
                  <c:v>3.5200000000000005</c:v>
                </c:pt>
                <c:pt idx="5730">
                  <c:v>3.8959999999999999</c:v>
                </c:pt>
                <c:pt idx="5731">
                  <c:v>4.2210000000000001</c:v>
                </c:pt>
                <c:pt idx="5732">
                  <c:v>4.2430000000000003</c:v>
                </c:pt>
                <c:pt idx="5733">
                  <c:v>3.8</c:v>
                </c:pt>
                <c:pt idx="5734">
                  <c:v>3.5979999999999999</c:v>
                </c:pt>
                <c:pt idx="5735">
                  <c:v>3.3540000000000001</c:v>
                </c:pt>
                <c:pt idx="5736">
                  <c:v>3.0940000000000003</c:v>
                </c:pt>
                <c:pt idx="5737">
                  <c:v>3.0640000000000001</c:v>
                </c:pt>
                <c:pt idx="5738">
                  <c:v>3.04</c:v>
                </c:pt>
                <c:pt idx="5739">
                  <c:v>3.0420000000000003</c:v>
                </c:pt>
                <c:pt idx="5740">
                  <c:v>3.1989999999999998</c:v>
                </c:pt>
                <c:pt idx="5741">
                  <c:v>4.1989999999999998</c:v>
                </c:pt>
                <c:pt idx="5742">
                  <c:v>4.3979999999999997</c:v>
                </c:pt>
                <c:pt idx="5743">
                  <c:v>4.556</c:v>
                </c:pt>
                <c:pt idx="5744">
                  <c:v>4.4969999999999999</c:v>
                </c:pt>
                <c:pt idx="5745">
                  <c:v>4.3499999999999996</c:v>
                </c:pt>
                <c:pt idx="5746">
                  <c:v>4.0060000000000002</c:v>
                </c:pt>
                <c:pt idx="5747">
                  <c:v>3.5630000000000002</c:v>
                </c:pt>
                <c:pt idx="5748">
                  <c:v>3.2399999999999998</c:v>
                </c:pt>
                <c:pt idx="5749">
                  <c:v>3.15</c:v>
                </c:pt>
                <c:pt idx="5750">
                  <c:v>3.6950000000000003</c:v>
                </c:pt>
                <c:pt idx="5751">
                  <c:v>3.9509999999999996</c:v>
                </c:pt>
                <c:pt idx="5752">
                  <c:v>4.4530000000000003</c:v>
                </c:pt>
                <c:pt idx="5753">
                  <c:v>4.66</c:v>
                </c:pt>
                <c:pt idx="5754">
                  <c:v>5</c:v>
                </c:pt>
                <c:pt idx="5755">
                  <c:v>4.7590000000000003</c:v>
                </c:pt>
                <c:pt idx="5756">
                  <c:v>4.4260000000000002</c:v>
                </c:pt>
                <c:pt idx="5757">
                  <c:v>3.899</c:v>
                </c:pt>
                <c:pt idx="5758">
                  <c:v>3.2</c:v>
                </c:pt>
                <c:pt idx="5759">
                  <c:v>3.0859999999999999</c:v>
                </c:pt>
                <c:pt idx="5760">
                  <c:v>3.02</c:v>
                </c:pt>
                <c:pt idx="5761">
                  <c:v>2.996</c:v>
                </c:pt>
                <c:pt idx="5762">
                  <c:v>2.931</c:v>
                </c:pt>
                <c:pt idx="5763">
                  <c:v>2.9379999999999997</c:v>
                </c:pt>
                <c:pt idx="5764">
                  <c:v>3.077</c:v>
                </c:pt>
                <c:pt idx="5765">
                  <c:v>3.5</c:v>
                </c:pt>
                <c:pt idx="5766">
                  <c:v>4.2069999999999999</c:v>
                </c:pt>
                <c:pt idx="5767">
                  <c:v>4.5540000000000003</c:v>
                </c:pt>
                <c:pt idx="5768">
                  <c:v>4.2990000000000004</c:v>
                </c:pt>
                <c:pt idx="5769">
                  <c:v>3.8969999999999998</c:v>
                </c:pt>
                <c:pt idx="5770">
                  <c:v>3.5579999999999998</c:v>
                </c:pt>
                <c:pt idx="5771">
                  <c:v>3.1320000000000001</c:v>
                </c:pt>
                <c:pt idx="5772">
                  <c:v>3.21</c:v>
                </c:pt>
                <c:pt idx="5773">
                  <c:v>3.2490000000000001</c:v>
                </c:pt>
                <c:pt idx="5774">
                  <c:v>3.3</c:v>
                </c:pt>
                <c:pt idx="5775">
                  <c:v>3.7679999999999998</c:v>
                </c:pt>
                <c:pt idx="5776">
                  <c:v>4.5469999999999997</c:v>
                </c:pt>
                <c:pt idx="5777">
                  <c:v>4.9009999999999998</c:v>
                </c:pt>
                <c:pt idx="5778">
                  <c:v>5.2469999999999999</c:v>
                </c:pt>
                <c:pt idx="5779">
                  <c:v>4.9979999999999993</c:v>
                </c:pt>
                <c:pt idx="5780">
                  <c:v>4.5869999999999997</c:v>
                </c:pt>
                <c:pt idx="5781">
                  <c:v>4.0039999999999996</c:v>
                </c:pt>
                <c:pt idx="5782">
                  <c:v>3.282</c:v>
                </c:pt>
                <c:pt idx="5783">
                  <c:v>3.2979999999999996</c:v>
                </c:pt>
                <c:pt idx="5784">
                  <c:v>3.0260000000000002</c:v>
                </c:pt>
                <c:pt idx="5785">
                  <c:v>2.9829999999999997</c:v>
                </c:pt>
                <c:pt idx="5786">
                  <c:v>2.956</c:v>
                </c:pt>
                <c:pt idx="5787">
                  <c:v>2.96</c:v>
                </c:pt>
                <c:pt idx="5788">
                  <c:v>3.0819999999999999</c:v>
                </c:pt>
                <c:pt idx="5789">
                  <c:v>3.6509999999999998</c:v>
                </c:pt>
                <c:pt idx="5790">
                  <c:v>4.2</c:v>
                </c:pt>
                <c:pt idx="5791">
                  <c:v>4.4429999999999996</c:v>
                </c:pt>
                <c:pt idx="5792">
                  <c:v>4.3970000000000002</c:v>
                </c:pt>
                <c:pt idx="5793">
                  <c:v>4.3390000000000004</c:v>
                </c:pt>
                <c:pt idx="5794">
                  <c:v>3.9909999999999997</c:v>
                </c:pt>
                <c:pt idx="5795">
                  <c:v>3.3</c:v>
                </c:pt>
                <c:pt idx="5796">
                  <c:v>3.2749999999999999</c:v>
                </c:pt>
                <c:pt idx="5797">
                  <c:v>3.2829999999999999</c:v>
                </c:pt>
                <c:pt idx="5798">
                  <c:v>3.214</c:v>
                </c:pt>
                <c:pt idx="5799">
                  <c:v>3.7399999999999998</c:v>
                </c:pt>
                <c:pt idx="5800">
                  <c:v>4.056</c:v>
                </c:pt>
                <c:pt idx="5801">
                  <c:v>4.2389999999999999</c:v>
                </c:pt>
                <c:pt idx="5802">
                  <c:v>4.24</c:v>
                </c:pt>
                <c:pt idx="5803">
                  <c:v>4.1390000000000002</c:v>
                </c:pt>
                <c:pt idx="5804">
                  <c:v>3.7039999999999997</c:v>
                </c:pt>
                <c:pt idx="5805">
                  <c:v>3.2479999999999998</c:v>
                </c:pt>
                <c:pt idx="5806">
                  <c:v>3.089</c:v>
                </c:pt>
                <c:pt idx="5807">
                  <c:v>3.1</c:v>
                </c:pt>
                <c:pt idx="5808">
                  <c:v>2.9969999999999999</c:v>
                </c:pt>
                <c:pt idx="5809">
                  <c:v>2.9750000000000001</c:v>
                </c:pt>
                <c:pt idx="5810">
                  <c:v>2.883</c:v>
                </c:pt>
                <c:pt idx="5811">
                  <c:v>2.8890000000000002</c:v>
                </c:pt>
                <c:pt idx="5812">
                  <c:v>3.0059999999999998</c:v>
                </c:pt>
                <c:pt idx="5813">
                  <c:v>3.415</c:v>
                </c:pt>
                <c:pt idx="5814">
                  <c:v>3.992</c:v>
                </c:pt>
                <c:pt idx="5815">
                  <c:v>4.3280000000000003</c:v>
                </c:pt>
                <c:pt idx="5816">
                  <c:v>4.492</c:v>
                </c:pt>
                <c:pt idx="5817">
                  <c:v>4.4079999999999995</c:v>
                </c:pt>
                <c:pt idx="5818">
                  <c:v>4.4799999999999995</c:v>
                </c:pt>
                <c:pt idx="5819">
                  <c:v>4.298</c:v>
                </c:pt>
                <c:pt idx="5820">
                  <c:v>4.1970000000000001</c:v>
                </c:pt>
                <c:pt idx="5821">
                  <c:v>4.0060000000000002</c:v>
                </c:pt>
                <c:pt idx="5822">
                  <c:v>4.1970000000000001</c:v>
                </c:pt>
                <c:pt idx="5823">
                  <c:v>4.194</c:v>
                </c:pt>
                <c:pt idx="5824">
                  <c:v>4.2050000000000001</c:v>
                </c:pt>
                <c:pt idx="5825">
                  <c:v>4.3600000000000003</c:v>
                </c:pt>
                <c:pt idx="5826">
                  <c:v>4.38</c:v>
                </c:pt>
                <c:pt idx="5827">
                  <c:v>4.4090000000000007</c:v>
                </c:pt>
                <c:pt idx="5828">
                  <c:v>4.1920000000000002</c:v>
                </c:pt>
                <c:pt idx="5829">
                  <c:v>3.5590000000000002</c:v>
                </c:pt>
                <c:pt idx="5830">
                  <c:v>3.3409999999999997</c:v>
                </c:pt>
                <c:pt idx="5831">
                  <c:v>3.3090000000000002</c:v>
                </c:pt>
                <c:pt idx="5832">
                  <c:v>3.1070000000000002</c:v>
                </c:pt>
                <c:pt idx="5833">
                  <c:v>2.9889999999999999</c:v>
                </c:pt>
                <c:pt idx="5834">
                  <c:v>2.964</c:v>
                </c:pt>
                <c:pt idx="5835">
                  <c:v>2.9649999999999999</c:v>
                </c:pt>
                <c:pt idx="5836">
                  <c:v>3.1710000000000003</c:v>
                </c:pt>
                <c:pt idx="5837">
                  <c:v>3.6040000000000001</c:v>
                </c:pt>
                <c:pt idx="5838">
                  <c:v>4.3460000000000001</c:v>
                </c:pt>
                <c:pt idx="5839">
                  <c:v>4.5830000000000002</c:v>
                </c:pt>
                <c:pt idx="5840">
                  <c:v>4.5119999999999996</c:v>
                </c:pt>
                <c:pt idx="5841">
                  <c:v>4.49</c:v>
                </c:pt>
                <c:pt idx="5842">
                  <c:v>4.5020000000000007</c:v>
                </c:pt>
                <c:pt idx="5843">
                  <c:v>4.4870000000000001</c:v>
                </c:pt>
                <c:pt idx="5844">
                  <c:v>4.3090000000000002</c:v>
                </c:pt>
                <c:pt idx="5845">
                  <c:v>3.9909999999999997</c:v>
                </c:pt>
                <c:pt idx="5846">
                  <c:v>3.8929999999999998</c:v>
                </c:pt>
                <c:pt idx="5847">
                  <c:v>3.8560000000000003</c:v>
                </c:pt>
                <c:pt idx="5848">
                  <c:v>4.0359999999999996</c:v>
                </c:pt>
                <c:pt idx="5849">
                  <c:v>4.2200000000000006</c:v>
                </c:pt>
                <c:pt idx="5850">
                  <c:v>4.3740000000000006</c:v>
                </c:pt>
                <c:pt idx="5851">
                  <c:v>4.3950000000000005</c:v>
                </c:pt>
                <c:pt idx="5852">
                  <c:v>3.94</c:v>
                </c:pt>
                <c:pt idx="5853">
                  <c:v>3.621</c:v>
                </c:pt>
                <c:pt idx="5854">
                  <c:v>3.4509999999999996</c:v>
                </c:pt>
                <c:pt idx="5855">
                  <c:v>3.222</c:v>
                </c:pt>
                <c:pt idx="5856">
                  <c:v>3.173</c:v>
                </c:pt>
                <c:pt idx="5857">
                  <c:v>3.0059999999999998</c:v>
                </c:pt>
                <c:pt idx="5858">
                  <c:v>2.964</c:v>
                </c:pt>
                <c:pt idx="5859">
                  <c:v>2.948</c:v>
                </c:pt>
                <c:pt idx="5860">
                  <c:v>2.9989999999999997</c:v>
                </c:pt>
                <c:pt idx="5861">
                  <c:v>3.1100000000000003</c:v>
                </c:pt>
                <c:pt idx="5862">
                  <c:v>3.2389999999999999</c:v>
                </c:pt>
                <c:pt idx="5863">
                  <c:v>3.5100000000000002</c:v>
                </c:pt>
                <c:pt idx="5864">
                  <c:v>3.8</c:v>
                </c:pt>
                <c:pt idx="5865">
                  <c:v>3.8149999999999999</c:v>
                </c:pt>
                <c:pt idx="5866">
                  <c:v>3.8029999999999999</c:v>
                </c:pt>
                <c:pt idx="5867">
                  <c:v>3.5369999999999999</c:v>
                </c:pt>
                <c:pt idx="5868">
                  <c:v>3.3</c:v>
                </c:pt>
                <c:pt idx="5869">
                  <c:v>3.1779999999999999</c:v>
                </c:pt>
                <c:pt idx="5870">
                  <c:v>3.097</c:v>
                </c:pt>
                <c:pt idx="5871">
                  <c:v>3.15</c:v>
                </c:pt>
                <c:pt idx="5872">
                  <c:v>3.2990000000000004</c:v>
                </c:pt>
                <c:pt idx="5873">
                  <c:v>3.7250000000000001</c:v>
                </c:pt>
                <c:pt idx="5874">
                  <c:v>4.032</c:v>
                </c:pt>
                <c:pt idx="5875">
                  <c:v>4.0520000000000005</c:v>
                </c:pt>
                <c:pt idx="5876">
                  <c:v>3.8020000000000005</c:v>
                </c:pt>
                <c:pt idx="5877">
                  <c:v>3.5649999999999999</c:v>
                </c:pt>
                <c:pt idx="5878">
                  <c:v>3.1019999999999999</c:v>
                </c:pt>
                <c:pt idx="5879">
                  <c:v>3.2850000000000001</c:v>
                </c:pt>
                <c:pt idx="5880">
                  <c:v>2.7839999999999998</c:v>
                </c:pt>
                <c:pt idx="5881">
                  <c:v>2.98</c:v>
                </c:pt>
                <c:pt idx="5882">
                  <c:v>2.8120000000000003</c:v>
                </c:pt>
                <c:pt idx="5883">
                  <c:v>2.7600000000000002</c:v>
                </c:pt>
                <c:pt idx="5884">
                  <c:v>2.7640000000000002</c:v>
                </c:pt>
                <c:pt idx="5885">
                  <c:v>2.8079999999999998</c:v>
                </c:pt>
                <c:pt idx="5886">
                  <c:v>2.7629999999999999</c:v>
                </c:pt>
                <c:pt idx="5887">
                  <c:v>2.9449999999999998</c:v>
                </c:pt>
                <c:pt idx="5888">
                  <c:v>3.0249999999999999</c:v>
                </c:pt>
                <c:pt idx="5889">
                  <c:v>2.9319999999999999</c:v>
                </c:pt>
                <c:pt idx="5890">
                  <c:v>3.0089999999999999</c:v>
                </c:pt>
                <c:pt idx="5891">
                  <c:v>3.07</c:v>
                </c:pt>
                <c:pt idx="5892">
                  <c:v>2.6260000000000003</c:v>
                </c:pt>
                <c:pt idx="5893">
                  <c:v>2.5949999999999998</c:v>
                </c:pt>
                <c:pt idx="5894">
                  <c:v>2.5</c:v>
                </c:pt>
                <c:pt idx="5895">
                  <c:v>2.6459999999999999</c:v>
                </c:pt>
                <c:pt idx="5896">
                  <c:v>2.9729999999999999</c:v>
                </c:pt>
                <c:pt idx="5897">
                  <c:v>3.415</c:v>
                </c:pt>
                <c:pt idx="5898">
                  <c:v>3.8880000000000003</c:v>
                </c:pt>
                <c:pt idx="5899">
                  <c:v>4.2270000000000003</c:v>
                </c:pt>
                <c:pt idx="5900">
                  <c:v>3.9909999999999997</c:v>
                </c:pt>
                <c:pt idx="5901">
                  <c:v>3.8420000000000001</c:v>
                </c:pt>
                <c:pt idx="5902">
                  <c:v>3.343</c:v>
                </c:pt>
                <c:pt idx="5903">
                  <c:v>3.1030000000000002</c:v>
                </c:pt>
                <c:pt idx="5904">
                  <c:v>2.972</c:v>
                </c:pt>
                <c:pt idx="5905">
                  <c:v>2.9409999999999998</c:v>
                </c:pt>
                <c:pt idx="5906">
                  <c:v>2.7770000000000001</c:v>
                </c:pt>
                <c:pt idx="5907">
                  <c:v>2.8090000000000002</c:v>
                </c:pt>
                <c:pt idx="5908">
                  <c:v>3.04</c:v>
                </c:pt>
                <c:pt idx="5909">
                  <c:v>3.9670000000000001</c:v>
                </c:pt>
                <c:pt idx="5910">
                  <c:v>4.3920000000000003</c:v>
                </c:pt>
                <c:pt idx="5911">
                  <c:v>4.2949999999999999</c:v>
                </c:pt>
                <c:pt idx="5912">
                  <c:v>4.2039999999999997</c:v>
                </c:pt>
                <c:pt idx="5913">
                  <c:v>3.8850000000000002</c:v>
                </c:pt>
                <c:pt idx="5914">
                  <c:v>3.5170000000000003</c:v>
                </c:pt>
                <c:pt idx="5915">
                  <c:v>3.2359999999999998</c:v>
                </c:pt>
                <c:pt idx="5916">
                  <c:v>3.2950000000000004</c:v>
                </c:pt>
                <c:pt idx="5917">
                  <c:v>3.3229999999999995</c:v>
                </c:pt>
                <c:pt idx="5918">
                  <c:v>3.5259999999999998</c:v>
                </c:pt>
                <c:pt idx="5919">
                  <c:v>3.66</c:v>
                </c:pt>
                <c:pt idx="5920">
                  <c:v>3.9229999999999996</c:v>
                </c:pt>
                <c:pt idx="5921">
                  <c:v>4.2909999999999995</c:v>
                </c:pt>
                <c:pt idx="5922">
                  <c:v>4.548</c:v>
                </c:pt>
                <c:pt idx="5923">
                  <c:v>4.5709999999999997</c:v>
                </c:pt>
                <c:pt idx="5924">
                  <c:v>4.2299999999999995</c:v>
                </c:pt>
                <c:pt idx="5925">
                  <c:v>3.8929999999999998</c:v>
                </c:pt>
                <c:pt idx="5926">
                  <c:v>3.3220000000000001</c:v>
                </c:pt>
                <c:pt idx="5927">
                  <c:v>3.1920000000000002</c:v>
                </c:pt>
                <c:pt idx="5928">
                  <c:v>2.9929999999999999</c:v>
                </c:pt>
                <c:pt idx="5929">
                  <c:v>2.9699999999999998</c:v>
                </c:pt>
                <c:pt idx="5930">
                  <c:v>2.9620000000000002</c:v>
                </c:pt>
                <c:pt idx="5931">
                  <c:v>2.968</c:v>
                </c:pt>
                <c:pt idx="5932">
                  <c:v>3.1019999999999999</c:v>
                </c:pt>
                <c:pt idx="5933">
                  <c:v>3.6369999999999996</c:v>
                </c:pt>
                <c:pt idx="5934">
                  <c:v>4.2389999999999999</c:v>
                </c:pt>
                <c:pt idx="5935">
                  <c:v>4.4049999999999994</c:v>
                </c:pt>
                <c:pt idx="5936">
                  <c:v>4.2930000000000001</c:v>
                </c:pt>
                <c:pt idx="5937">
                  <c:v>4.1259999999999994</c:v>
                </c:pt>
                <c:pt idx="5938">
                  <c:v>4.1760000000000002</c:v>
                </c:pt>
                <c:pt idx="5939">
                  <c:v>3.8490000000000002</c:v>
                </c:pt>
                <c:pt idx="5940">
                  <c:v>3.7250000000000001</c:v>
                </c:pt>
                <c:pt idx="5941">
                  <c:v>3.6670000000000003</c:v>
                </c:pt>
                <c:pt idx="5942">
                  <c:v>3.843</c:v>
                </c:pt>
                <c:pt idx="5943">
                  <c:v>3.9049999999999998</c:v>
                </c:pt>
                <c:pt idx="5944">
                  <c:v>4.056</c:v>
                </c:pt>
                <c:pt idx="5945">
                  <c:v>4.3040000000000003</c:v>
                </c:pt>
                <c:pt idx="5946">
                  <c:v>4.4219999999999997</c:v>
                </c:pt>
                <c:pt idx="5947">
                  <c:v>4.4969999999999999</c:v>
                </c:pt>
                <c:pt idx="5948">
                  <c:v>4.04</c:v>
                </c:pt>
                <c:pt idx="5949">
                  <c:v>3.7250000000000001</c:v>
                </c:pt>
                <c:pt idx="5950">
                  <c:v>3.2969999999999997</c:v>
                </c:pt>
                <c:pt idx="5951">
                  <c:v>2.9470000000000001</c:v>
                </c:pt>
                <c:pt idx="5952">
                  <c:v>2.9059999999999997</c:v>
                </c:pt>
                <c:pt idx="5953">
                  <c:v>2.7829999999999999</c:v>
                </c:pt>
                <c:pt idx="5954">
                  <c:v>2.6190000000000002</c:v>
                </c:pt>
                <c:pt idx="5955">
                  <c:v>2.6420000000000003</c:v>
                </c:pt>
                <c:pt idx="5956">
                  <c:v>2.919</c:v>
                </c:pt>
                <c:pt idx="5957">
                  <c:v>3.6320000000000001</c:v>
                </c:pt>
                <c:pt idx="5958">
                  <c:v>4.202</c:v>
                </c:pt>
                <c:pt idx="5959">
                  <c:v>4.3729999999999993</c:v>
                </c:pt>
                <c:pt idx="5960">
                  <c:v>4.3</c:v>
                </c:pt>
                <c:pt idx="5961">
                  <c:v>4.0999999999999996</c:v>
                </c:pt>
                <c:pt idx="5962">
                  <c:v>4.0069999999999997</c:v>
                </c:pt>
                <c:pt idx="5963">
                  <c:v>3.5920000000000001</c:v>
                </c:pt>
                <c:pt idx="5964">
                  <c:v>2.988</c:v>
                </c:pt>
                <c:pt idx="5965">
                  <c:v>2.79</c:v>
                </c:pt>
                <c:pt idx="5966">
                  <c:v>2.3809999999999998</c:v>
                </c:pt>
                <c:pt idx="5967">
                  <c:v>2.206</c:v>
                </c:pt>
                <c:pt idx="5968">
                  <c:v>2.681</c:v>
                </c:pt>
                <c:pt idx="5969">
                  <c:v>2.9649999999999999</c:v>
                </c:pt>
                <c:pt idx="5970">
                  <c:v>3.5920000000000001</c:v>
                </c:pt>
                <c:pt idx="5971">
                  <c:v>3.5960000000000001</c:v>
                </c:pt>
                <c:pt idx="5972">
                  <c:v>3.0960000000000001</c:v>
                </c:pt>
                <c:pt idx="5973">
                  <c:v>2.9670000000000001</c:v>
                </c:pt>
                <c:pt idx="5974">
                  <c:v>2.2069999999999999</c:v>
                </c:pt>
                <c:pt idx="5975">
                  <c:v>2.1539999999999999</c:v>
                </c:pt>
                <c:pt idx="5976">
                  <c:v>1.496</c:v>
                </c:pt>
                <c:pt idx="5977">
                  <c:v>1.3119999999999998</c:v>
                </c:pt>
                <c:pt idx="5978">
                  <c:v>1.1759999999999999</c:v>
                </c:pt>
                <c:pt idx="5979">
                  <c:v>1.3820000000000001</c:v>
                </c:pt>
                <c:pt idx="5980">
                  <c:v>2.2010000000000001</c:v>
                </c:pt>
                <c:pt idx="5981">
                  <c:v>3.4630000000000001</c:v>
                </c:pt>
                <c:pt idx="5982">
                  <c:v>4.0679999999999996</c:v>
                </c:pt>
                <c:pt idx="5983">
                  <c:v>3.9939999999999998</c:v>
                </c:pt>
                <c:pt idx="5984">
                  <c:v>3.9950000000000001</c:v>
                </c:pt>
                <c:pt idx="5985">
                  <c:v>3.7479999999999998</c:v>
                </c:pt>
                <c:pt idx="5986">
                  <c:v>3.8979999999999997</c:v>
                </c:pt>
                <c:pt idx="5987">
                  <c:v>3.7409999999999997</c:v>
                </c:pt>
                <c:pt idx="5988">
                  <c:v>3.6799999999999997</c:v>
                </c:pt>
                <c:pt idx="5989">
                  <c:v>3.6109999999999998</c:v>
                </c:pt>
                <c:pt idx="5990">
                  <c:v>3.6729999999999996</c:v>
                </c:pt>
                <c:pt idx="5991">
                  <c:v>3.7709999999999999</c:v>
                </c:pt>
                <c:pt idx="5992">
                  <c:v>4.0369999999999999</c:v>
                </c:pt>
                <c:pt idx="5993">
                  <c:v>4.2670000000000003</c:v>
                </c:pt>
                <c:pt idx="5994">
                  <c:v>4.5220000000000002</c:v>
                </c:pt>
                <c:pt idx="5995">
                  <c:v>4.5990000000000002</c:v>
                </c:pt>
                <c:pt idx="5996">
                  <c:v>4.1020000000000003</c:v>
                </c:pt>
                <c:pt idx="5997">
                  <c:v>3.8780000000000001</c:v>
                </c:pt>
                <c:pt idx="5998">
                  <c:v>3.399</c:v>
                </c:pt>
                <c:pt idx="5999">
                  <c:v>2.992</c:v>
                </c:pt>
                <c:pt idx="6000">
                  <c:v>2.7010000000000001</c:v>
                </c:pt>
                <c:pt idx="6001">
                  <c:v>2.395</c:v>
                </c:pt>
                <c:pt idx="6002">
                  <c:v>1.9</c:v>
                </c:pt>
                <c:pt idx="6003">
                  <c:v>1.409</c:v>
                </c:pt>
                <c:pt idx="6004">
                  <c:v>2.2239999999999998</c:v>
                </c:pt>
                <c:pt idx="6005">
                  <c:v>3.2960000000000003</c:v>
                </c:pt>
                <c:pt idx="6006">
                  <c:v>3.593</c:v>
                </c:pt>
                <c:pt idx="6007">
                  <c:v>3.5140000000000002</c:v>
                </c:pt>
                <c:pt idx="6008">
                  <c:v>3.1019999999999999</c:v>
                </c:pt>
                <c:pt idx="6009">
                  <c:v>2.9910000000000001</c:v>
                </c:pt>
                <c:pt idx="6010">
                  <c:v>2.2879999999999998</c:v>
                </c:pt>
                <c:pt idx="6011">
                  <c:v>1.9039999999999999</c:v>
                </c:pt>
                <c:pt idx="6012">
                  <c:v>1.7989999999999999</c:v>
                </c:pt>
                <c:pt idx="6013">
                  <c:v>1.5029999999999999</c:v>
                </c:pt>
                <c:pt idx="6014">
                  <c:v>2.2050000000000001</c:v>
                </c:pt>
                <c:pt idx="6015">
                  <c:v>2.4300000000000002</c:v>
                </c:pt>
                <c:pt idx="6016">
                  <c:v>3.036</c:v>
                </c:pt>
                <c:pt idx="6017">
                  <c:v>3.3979999999999997</c:v>
                </c:pt>
                <c:pt idx="6018">
                  <c:v>3.597</c:v>
                </c:pt>
                <c:pt idx="6019">
                  <c:v>3.7310000000000003</c:v>
                </c:pt>
                <c:pt idx="6020">
                  <c:v>3.4</c:v>
                </c:pt>
                <c:pt idx="6021">
                  <c:v>3.0859999999999999</c:v>
                </c:pt>
                <c:pt idx="6022">
                  <c:v>2.887</c:v>
                </c:pt>
                <c:pt idx="6023">
                  <c:v>2.7949999999999999</c:v>
                </c:pt>
                <c:pt idx="6024">
                  <c:v>2.1850000000000001</c:v>
                </c:pt>
                <c:pt idx="6025">
                  <c:v>2.109</c:v>
                </c:pt>
                <c:pt idx="6026">
                  <c:v>2.1030000000000002</c:v>
                </c:pt>
                <c:pt idx="6027">
                  <c:v>2.1079999999999997</c:v>
                </c:pt>
                <c:pt idx="6028">
                  <c:v>2.5230000000000001</c:v>
                </c:pt>
                <c:pt idx="6029">
                  <c:v>2.7450000000000001</c:v>
                </c:pt>
                <c:pt idx="6030">
                  <c:v>2.9929999999999999</c:v>
                </c:pt>
                <c:pt idx="6031">
                  <c:v>3.41</c:v>
                </c:pt>
                <c:pt idx="6032">
                  <c:v>3.7079999999999997</c:v>
                </c:pt>
                <c:pt idx="6033">
                  <c:v>3.7170000000000001</c:v>
                </c:pt>
                <c:pt idx="6034">
                  <c:v>3.8679999999999999</c:v>
                </c:pt>
                <c:pt idx="6035">
                  <c:v>3.6259999999999999</c:v>
                </c:pt>
                <c:pt idx="6036">
                  <c:v>3.31</c:v>
                </c:pt>
                <c:pt idx="6037">
                  <c:v>2.988</c:v>
                </c:pt>
                <c:pt idx="6038">
                  <c:v>3.085</c:v>
                </c:pt>
                <c:pt idx="6039">
                  <c:v>3.2869999999999999</c:v>
                </c:pt>
                <c:pt idx="6040">
                  <c:v>3.4539999999999997</c:v>
                </c:pt>
                <c:pt idx="6041">
                  <c:v>3.621</c:v>
                </c:pt>
                <c:pt idx="6042">
                  <c:v>3.9079999999999999</c:v>
                </c:pt>
                <c:pt idx="6043">
                  <c:v>4.1530000000000005</c:v>
                </c:pt>
                <c:pt idx="6044">
                  <c:v>3.899</c:v>
                </c:pt>
                <c:pt idx="6045">
                  <c:v>3.8939999999999997</c:v>
                </c:pt>
                <c:pt idx="6046">
                  <c:v>3.681</c:v>
                </c:pt>
                <c:pt idx="6047">
                  <c:v>3.1059999999999999</c:v>
                </c:pt>
                <c:pt idx="6048">
                  <c:v>2.956</c:v>
                </c:pt>
                <c:pt idx="6049">
                  <c:v>2.823</c:v>
                </c:pt>
                <c:pt idx="6050">
                  <c:v>2.59</c:v>
                </c:pt>
                <c:pt idx="6051">
                  <c:v>2.3730000000000002</c:v>
                </c:pt>
                <c:pt idx="6052">
                  <c:v>2.3170000000000002</c:v>
                </c:pt>
                <c:pt idx="6053">
                  <c:v>2.5920000000000001</c:v>
                </c:pt>
                <c:pt idx="6054">
                  <c:v>2.6079999999999997</c:v>
                </c:pt>
                <c:pt idx="6055">
                  <c:v>2.9889999999999999</c:v>
                </c:pt>
                <c:pt idx="6056">
                  <c:v>3.028</c:v>
                </c:pt>
                <c:pt idx="6057">
                  <c:v>2.98</c:v>
                </c:pt>
                <c:pt idx="6058">
                  <c:v>2.9420000000000002</c:v>
                </c:pt>
                <c:pt idx="6059">
                  <c:v>2.48</c:v>
                </c:pt>
                <c:pt idx="6060">
                  <c:v>1.7239999999999998</c:v>
                </c:pt>
                <c:pt idx="6061">
                  <c:v>0.89300000000000002</c:v>
                </c:pt>
                <c:pt idx="6062">
                  <c:v>0.98499999999999999</c:v>
                </c:pt>
                <c:pt idx="6063">
                  <c:v>1.0509999999999999</c:v>
                </c:pt>
                <c:pt idx="6064">
                  <c:v>1.3210000000000002</c:v>
                </c:pt>
                <c:pt idx="6065">
                  <c:v>2.3280000000000003</c:v>
                </c:pt>
                <c:pt idx="6066">
                  <c:v>3.0629999999999997</c:v>
                </c:pt>
                <c:pt idx="6067">
                  <c:v>2.9699999999999998</c:v>
                </c:pt>
                <c:pt idx="6068">
                  <c:v>2.2559999999999998</c:v>
                </c:pt>
                <c:pt idx="6069">
                  <c:v>1.8050000000000002</c:v>
                </c:pt>
                <c:pt idx="6070">
                  <c:v>0.94000000000000006</c:v>
                </c:pt>
                <c:pt idx="6071">
                  <c:v>4.2999999999999997E-2</c:v>
                </c:pt>
                <c:pt idx="6072">
                  <c:v>0</c:v>
                </c:pt>
                <c:pt idx="6073">
                  <c:v>-7.000000000000001E-3</c:v>
                </c:pt>
                <c:pt idx="6074">
                  <c:v>-0.23199999999999998</c:v>
                </c:pt>
                <c:pt idx="6075">
                  <c:v>-0.27700000000000002</c:v>
                </c:pt>
                <c:pt idx="6076">
                  <c:v>0.42300000000000004</c:v>
                </c:pt>
                <c:pt idx="6077">
                  <c:v>2.3289999999999997</c:v>
                </c:pt>
                <c:pt idx="6078">
                  <c:v>3.29</c:v>
                </c:pt>
                <c:pt idx="6079">
                  <c:v>3.633</c:v>
                </c:pt>
                <c:pt idx="6080">
                  <c:v>3.6020000000000003</c:v>
                </c:pt>
                <c:pt idx="6081">
                  <c:v>3.149</c:v>
                </c:pt>
                <c:pt idx="6082">
                  <c:v>3.3</c:v>
                </c:pt>
                <c:pt idx="6083">
                  <c:v>3.0070000000000001</c:v>
                </c:pt>
                <c:pt idx="6084">
                  <c:v>2.3780000000000001</c:v>
                </c:pt>
                <c:pt idx="6085">
                  <c:v>2.306</c:v>
                </c:pt>
                <c:pt idx="6086">
                  <c:v>2.198</c:v>
                </c:pt>
                <c:pt idx="6087">
                  <c:v>2.7519999999999998</c:v>
                </c:pt>
                <c:pt idx="6088">
                  <c:v>3.0629999999999997</c:v>
                </c:pt>
                <c:pt idx="6089">
                  <c:v>3.3939999999999997</c:v>
                </c:pt>
                <c:pt idx="6090">
                  <c:v>3.7749999999999999</c:v>
                </c:pt>
                <c:pt idx="6091">
                  <c:v>3.4689999999999999</c:v>
                </c:pt>
                <c:pt idx="6092">
                  <c:v>3.004</c:v>
                </c:pt>
                <c:pt idx="6093">
                  <c:v>1.9929999999999999</c:v>
                </c:pt>
                <c:pt idx="6094">
                  <c:v>0.93599999999999994</c:v>
                </c:pt>
                <c:pt idx="6095">
                  <c:v>1.075</c:v>
                </c:pt>
                <c:pt idx="6096">
                  <c:v>0.90299999999999991</c:v>
                </c:pt>
                <c:pt idx="6097">
                  <c:v>0.64900000000000002</c:v>
                </c:pt>
                <c:pt idx="6098">
                  <c:v>0.53300000000000003</c:v>
                </c:pt>
                <c:pt idx="6099">
                  <c:v>0.87100000000000011</c:v>
                </c:pt>
                <c:pt idx="6100">
                  <c:v>1.49</c:v>
                </c:pt>
                <c:pt idx="6101">
                  <c:v>3.4909999999999997</c:v>
                </c:pt>
                <c:pt idx="6102">
                  <c:v>4</c:v>
                </c:pt>
                <c:pt idx="6103">
                  <c:v>4.2460000000000004</c:v>
                </c:pt>
                <c:pt idx="6104">
                  <c:v>3.9979999999999998</c:v>
                </c:pt>
                <c:pt idx="6105">
                  <c:v>3.7049999999999996</c:v>
                </c:pt>
                <c:pt idx="6106">
                  <c:v>3.665</c:v>
                </c:pt>
                <c:pt idx="6107">
                  <c:v>3.3450000000000002</c:v>
                </c:pt>
                <c:pt idx="6108">
                  <c:v>3.0489999999999999</c:v>
                </c:pt>
                <c:pt idx="6109">
                  <c:v>2.8579999999999997</c:v>
                </c:pt>
                <c:pt idx="6110">
                  <c:v>2.9620000000000002</c:v>
                </c:pt>
                <c:pt idx="6111">
                  <c:v>3.069</c:v>
                </c:pt>
                <c:pt idx="6112">
                  <c:v>3.5249999999999999</c:v>
                </c:pt>
                <c:pt idx="6113">
                  <c:v>4.149</c:v>
                </c:pt>
                <c:pt idx="6114">
                  <c:v>4.5890000000000004</c:v>
                </c:pt>
                <c:pt idx="6115">
                  <c:v>4.5520000000000005</c:v>
                </c:pt>
                <c:pt idx="6116">
                  <c:v>3.694</c:v>
                </c:pt>
                <c:pt idx="6117">
                  <c:v>3.411</c:v>
                </c:pt>
                <c:pt idx="6118">
                  <c:v>2.81</c:v>
                </c:pt>
                <c:pt idx="6119">
                  <c:v>1.9019999999999999</c:v>
                </c:pt>
                <c:pt idx="6120">
                  <c:v>1.208</c:v>
                </c:pt>
                <c:pt idx="6121">
                  <c:v>1.0710000000000002</c:v>
                </c:pt>
                <c:pt idx="6122">
                  <c:v>0.54800000000000004</c:v>
                </c:pt>
                <c:pt idx="6123">
                  <c:v>0.83299999999999996</c:v>
                </c:pt>
                <c:pt idx="6124">
                  <c:v>1.401</c:v>
                </c:pt>
                <c:pt idx="6125">
                  <c:v>2.3010000000000002</c:v>
                </c:pt>
                <c:pt idx="6126">
                  <c:v>2.8719999999999999</c:v>
                </c:pt>
                <c:pt idx="6127">
                  <c:v>2.3069999999999999</c:v>
                </c:pt>
                <c:pt idx="6128">
                  <c:v>1.5920000000000001</c:v>
                </c:pt>
                <c:pt idx="6129">
                  <c:v>1.341</c:v>
                </c:pt>
                <c:pt idx="6130">
                  <c:v>1.2730000000000001</c:v>
                </c:pt>
                <c:pt idx="6131">
                  <c:v>1.0740000000000001</c:v>
                </c:pt>
                <c:pt idx="6132">
                  <c:v>1.206</c:v>
                </c:pt>
                <c:pt idx="6133">
                  <c:v>1.01</c:v>
                </c:pt>
                <c:pt idx="6134">
                  <c:v>0.91799999999999993</c:v>
                </c:pt>
                <c:pt idx="6135">
                  <c:v>0.91600000000000004</c:v>
                </c:pt>
                <c:pt idx="6136">
                  <c:v>0.91199999999999992</c:v>
                </c:pt>
                <c:pt idx="6137">
                  <c:v>1.6239999999999999</c:v>
                </c:pt>
                <c:pt idx="6138">
                  <c:v>1.6030000000000002</c:v>
                </c:pt>
                <c:pt idx="6139">
                  <c:v>1.607</c:v>
                </c:pt>
                <c:pt idx="6140">
                  <c:v>1.206</c:v>
                </c:pt>
                <c:pt idx="6141">
                  <c:v>1.0669999999999999</c:v>
                </c:pt>
                <c:pt idx="6142">
                  <c:v>0.86</c:v>
                </c:pt>
                <c:pt idx="6143">
                  <c:v>-1.1039999999999999</c:v>
                </c:pt>
                <c:pt idx="6144">
                  <c:v>-0.49199999999999999</c:v>
                </c:pt>
                <c:pt idx="6145">
                  <c:v>-0.79100000000000004</c:v>
                </c:pt>
                <c:pt idx="6146">
                  <c:v>-0.71</c:v>
                </c:pt>
                <c:pt idx="6147">
                  <c:v>-0.16999999999999998</c:v>
                </c:pt>
                <c:pt idx="6148">
                  <c:v>0.94199999999999995</c:v>
                </c:pt>
                <c:pt idx="6149">
                  <c:v>3.1079999999999997</c:v>
                </c:pt>
                <c:pt idx="6150">
                  <c:v>3.5469999999999997</c:v>
                </c:pt>
                <c:pt idx="6151">
                  <c:v>3.6979999999999995</c:v>
                </c:pt>
                <c:pt idx="6152">
                  <c:v>3.5030000000000001</c:v>
                </c:pt>
                <c:pt idx="6153">
                  <c:v>3.4460000000000002</c:v>
                </c:pt>
                <c:pt idx="6154">
                  <c:v>3.4369999999999998</c:v>
                </c:pt>
                <c:pt idx="6155">
                  <c:v>3.0550000000000002</c:v>
                </c:pt>
                <c:pt idx="6156">
                  <c:v>2.9729999999999999</c:v>
                </c:pt>
                <c:pt idx="6157">
                  <c:v>2.5859999999999999</c:v>
                </c:pt>
                <c:pt idx="6158">
                  <c:v>2.7269999999999999</c:v>
                </c:pt>
                <c:pt idx="6159">
                  <c:v>2.794</c:v>
                </c:pt>
                <c:pt idx="6160">
                  <c:v>3.214</c:v>
                </c:pt>
                <c:pt idx="6161">
                  <c:v>3.4909999999999997</c:v>
                </c:pt>
                <c:pt idx="6162">
                  <c:v>3.5880000000000001</c:v>
                </c:pt>
                <c:pt idx="6163">
                  <c:v>3.6090000000000004</c:v>
                </c:pt>
                <c:pt idx="6164">
                  <c:v>3.4450000000000003</c:v>
                </c:pt>
                <c:pt idx="6165">
                  <c:v>2.6659999999999999</c:v>
                </c:pt>
                <c:pt idx="6166">
                  <c:v>1.903</c:v>
                </c:pt>
                <c:pt idx="6167">
                  <c:v>2.0529999999999999</c:v>
                </c:pt>
                <c:pt idx="6168">
                  <c:v>1.228</c:v>
                </c:pt>
                <c:pt idx="6169">
                  <c:v>1.4</c:v>
                </c:pt>
                <c:pt idx="6170">
                  <c:v>1.669</c:v>
                </c:pt>
                <c:pt idx="6171">
                  <c:v>2.2069999999999999</c:v>
                </c:pt>
                <c:pt idx="6172">
                  <c:v>2.96</c:v>
                </c:pt>
                <c:pt idx="6173">
                  <c:v>4.024</c:v>
                </c:pt>
                <c:pt idx="6174">
                  <c:v>4.43</c:v>
                </c:pt>
                <c:pt idx="6175">
                  <c:v>4.4799999999999995</c:v>
                </c:pt>
                <c:pt idx="6176">
                  <c:v>4.0960000000000001</c:v>
                </c:pt>
                <c:pt idx="6177">
                  <c:v>3.9979999999999998</c:v>
                </c:pt>
                <c:pt idx="6178">
                  <c:v>3.8959999999999999</c:v>
                </c:pt>
                <c:pt idx="6179">
                  <c:v>3.6689999999999996</c:v>
                </c:pt>
                <c:pt idx="6180">
                  <c:v>3.3049999999999997</c:v>
                </c:pt>
                <c:pt idx="6181">
                  <c:v>3.6399999999999997</c:v>
                </c:pt>
                <c:pt idx="6182">
                  <c:v>3.6130000000000004</c:v>
                </c:pt>
                <c:pt idx="6183">
                  <c:v>3.8649999999999998</c:v>
                </c:pt>
                <c:pt idx="6184">
                  <c:v>4.2509999999999994</c:v>
                </c:pt>
                <c:pt idx="6185">
                  <c:v>4.5469999999999997</c:v>
                </c:pt>
                <c:pt idx="6186">
                  <c:v>4.8</c:v>
                </c:pt>
                <c:pt idx="6187">
                  <c:v>4.7949999999999999</c:v>
                </c:pt>
                <c:pt idx="6188">
                  <c:v>4.2050000000000001</c:v>
                </c:pt>
                <c:pt idx="6189">
                  <c:v>3.7909999999999995</c:v>
                </c:pt>
                <c:pt idx="6190">
                  <c:v>3.1399999999999997</c:v>
                </c:pt>
                <c:pt idx="6191">
                  <c:v>3.3950000000000005</c:v>
                </c:pt>
                <c:pt idx="6192">
                  <c:v>3.2</c:v>
                </c:pt>
                <c:pt idx="6193">
                  <c:v>3.157</c:v>
                </c:pt>
                <c:pt idx="6194">
                  <c:v>3.101</c:v>
                </c:pt>
                <c:pt idx="6195">
                  <c:v>3.0819999999999999</c:v>
                </c:pt>
                <c:pt idx="6196">
                  <c:v>3.1440000000000001</c:v>
                </c:pt>
                <c:pt idx="6197">
                  <c:v>3.194</c:v>
                </c:pt>
                <c:pt idx="6198">
                  <c:v>3.47</c:v>
                </c:pt>
                <c:pt idx="6199">
                  <c:v>4.0380000000000003</c:v>
                </c:pt>
                <c:pt idx="6200">
                  <c:v>4.0920000000000005</c:v>
                </c:pt>
                <c:pt idx="6201">
                  <c:v>4.0630000000000006</c:v>
                </c:pt>
                <c:pt idx="6202">
                  <c:v>3.5450000000000004</c:v>
                </c:pt>
                <c:pt idx="6203">
                  <c:v>3.7930000000000001</c:v>
                </c:pt>
                <c:pt idx="6204">
                  <c:v>3.5289999999999999</c:v>
                </c:pt>
                <c:pt idx="6205">
                  <c:v>3.2990000000000004</c:v>
                </c:pt>
                <c:pt idx="6206">
                  <c:v>3.3899999999999997</c:v>
                </c:pt>
                <c:pt idx="6207">
                  <c:v>3.55</c:v>
                </c:pt>
                <c:pt idx="6208">
                  <c:v>4.0030000000000001</c:v>
                </c:pt>
                <c:pt idx="6209">
                  <c:v>4.4640000000000004</c:v>
                </c:pt>
                <c:pt idx="6210">
                  <c:v>4.8010000000000002</c:v>
                </c:pt>
                <c:pt idx="6211">
                  <c:v>4.67</c:v>
                </c:pt>
                <c:pt idx="6212">
                  <c:v>4.3540000000000001</c:v>
                </c:pt>
                <c:pt idx="6213">
                  <c:v>4.0329999999999995</c:v>
                </c:pt>
                <c:pt idx="6214">
                  <c:v>3.5009999999999999</c:v>
                </c:pt>
                <c:pt idx="6215">
                  <c:v>3.2270000000000003</c:v>
                </c:pt>
                <c:pt idx="6216">
                  <c:v>3.04</c:v>
                </c:pt>
                <c:pt idx="6217">
                  <c:v>3.0059999999999998</c:v>
                </c:pt>
                <c:pt idx="6218">
                  <c:v>2.9430000000000001</c:v>
                </c:pt>
                <c:pt idx="6219">
                  <c:v>2.9180000000000001</c:v>
                </c:pt>
                <c:pt idx="6220">
                  <c:v>2.9379999999999997</c:v>
                </c:pt>
                <c:pt idx="6221">
                  <c:v>2.9980000000000002</c:v>
                </c:pt>
                <c:pt idx="6222">
                  <c:v>3.0089999999999999</c:v>
                </c:pt>
                <c:pt idx="6223">
                  <c:v>3.2039999999999997</c:v>
                </c:pt>
                <c:pt idx="6224">
                  <c:v>3.2590000000000003</c:v>
                </c:pt>
                <c:pt idx="6225">
                  <c:v>3.2159999999999997</c:v>
                </c:pt>
                <c:pt idx="6226">
                  <c:v>3.2649999999999997</c:v>
                </c:pt>
                <c:pt idx="6227">
                  <c:v>3.2049999999999996</c:v>
                </c:pt>
                <c:pt idx="6228">
                  <c:v>3.0309999999999997</c:v>
                </c:pt>
                <c:pt idx="6229">
                  <c:v>3.0010000000000003</c:v>
                </c:pt>
                <c:pt idx="6230">
                  <c:v>2.972</c:v>
                </c:pt>
                <c:pt idx="6231">
                  <c:v>3.0049999999999999</c:v>
                </c:pt>
                <c:pt idx="6232">
                  <c:v>3.2149999999999999</c:v>
                </c:pt>
                <c:pt idx="6233">
                  <c:v>4.0999999999999996</c:v>
                </c:pt>
                <c:pt idx="6234">
                  <c:v>4.5090000000000003</c:v>
                </c:pt>
                <c:pt idx="6235">
                  <c:v>4.6950000000000003</c:v>
                </c:pt>
                <c:pt idx="6236">
                  <c:v>4.2380000000000004</c:v>
                </c:pt>
                <c:pt idx="6237">
                  <c:v>3.8270000000000004</c:v>
                </c:pt>
                <c:pt idx="6238">
                  <c:v>3.3090000000000002</c:v>
                </c:pt>
                <c:pt idx="6239">
                  <c:v>3.2770000000000001</c:v>
                </c:pt>
                <c:pt idx="6240">
                  <c:v>3.2079999999999997</c:v>
                </c:pt>
                <c:pt idx="6241">
                  <c:v>3.21</c:v>
                </c:pt>
                <c:pt idx="6242">
                  <c:v>3.1420000000000003</c:v>
                </c:pt>
                <c:pt idx="6243">
                  <c:v>3.2</c:v>
                </c:pt>
                <c:pt idx="6244">
                  <c:v>3.2600000000000002</c:v>
                </c:pt>
                <c:pt idx="6245">
                  <c:v>4.3890000000000002</c:v>
                </c:pt>
                <c:pt idx="6246">
                  <c:v>5.1059999999999999</c:v>
                </c:pt>
                <c:pt idx="6247">
                  <c:v>5.3229999999999995</c:v>
                </c:pt>
                <c:pt idx="6248">
                  <c:v>5.1710000000000003</c:v>
                </c:pt>
                <c:pt idx="6249">
                  <c:v>5.1590000000000007</c:v>
                </c:pt>
                <c:pt idx="6250">
                  <c:v>4.5039999999999996</c:v>
                </c:pt>
                <c:pt idx="6251">
                  <c:v>4.109</c:v>
                </c:pt>
                <c:pt idx="6252">
                  <c:v>3.7909999999999995</c:v>
                </c:pt>
                <c:pt idx="6253">
                  <c:v>3.6090000000000004</c:v>
                </c:pt>
                <c:pt idx="6254">
                  <c:v>4.1880000000000006</c:v>
                </c:pt>
                <c:pt idx="6255">
                  <c:v>4.3920000000000003</c:v>
                </c:pt>
                <c:pt idx="6256">
                  <c:v>4.5609999999999999</c:v>
                </c:pt>
                <c:pt idx="6257">
                  <c:v>4.9409999999999998</c:v>
                </c:pt>
                <c:pt idx="6258">
                  <c:v>5.2889999999999997</c:v>
                </c:pt>
                <c:pt idx="6259">
                  <c:v>5.3140000000000001</c:v>
                </c:pt>
                <c:pt idx="6260">
                  <c:v>4.4580000000000002</c:v>
                </c:pt>
                <c:pt idx="6261">
                  <c:v>4.0549999999999997</c:v>
                </c:pt>
                <c:pt idx="6262">
                  <c:v>3.3200000000000003</c:v>
                </c:pt>
                <c:pt idx="6263">
                  <c:v>3.31</c:v>
                </c:pt>
                <c:pt idx="6264">
                  <c:v>3.2130000000000001</c:v>
                </c:pt>
                <c:pt idx="6265">
                  <c:v>3.1280000000000001</c:v>
                </c:pt>
                <c:pt idx="6266">
                  <c:v>3.08</c:v>
                </c:pt>
                <c:pt idx="6267">
                  <c:v>3.1070000000000002</c:v>
                </c:pt>
                <c:pt idx="6268">
                  <c:v>3.3220000000000001</c:v>
                </c:pt>
                <c:pt idx="6269">
                  <c:v>4</c:v>
                </c:pt>
                <c:pt idx="6270">
                  <c:v>5.0020000000000007</c:v>
                </c:pt>
                <c:pt idx="6271">
                  <c:v>5.3759999999999994</c:v>
                </c:pt>
                <c:pt idx="6272">
                  <c:v>5.1100000000000003</c:v>
                </c:pt>
                <c:pt idx="6273">
                  <c:v>4.9990000000000006</c:v>
                </c:pt>
                <c:pt idx="6274">
                  <c:v>4.9369999999999994</c:v>
                </c:pt>
                <c:pt idx="6275">
                  <c:v>4.49</c:v>
                </c:pt>
                <c:pt idx="6276">
                  <c:v>4.3899999999999997</c:v>
                </c:pt>
                <c:pt idx="6277">
                  <c:v>3.9799999999999995</c:v>
                </c:pt>
                <c:pt idx="6278">
                  <c:v>3.8359999999999999</c:v>
                </c:pt>
                <c:pt idx="6279">
                  <c:v>3.8939999999999997</c:v>
                </c:pt>
                <c:pt idx="6280">
                  <c:v>4.298</c:v>
                </c:pt>
                <c:pt idx="6281">
                  <c:v>4.6259999999999994</c:v>
                </c:pt>
                <c:pt idx="6282">
                  <c:v>5.0009999999999994</c:v>
                </c:pt>
                <c:pt idx="6283">
                  <c:v>4.7960000000000003</c:v>
                </c:pt>
                <c:pt idx="6284">
                  <c:v>4</c:v>
                </c:pt>
                <c:pt idx="6285">
                  <c:v>3.7340000000000004</c:v>
                </c:pt>
                <c:pt idx="6286">
                  <c:v>3.5740000000000003</c:v>
                </c:pt>
                <c:pt idx="6287">
                  <c:v>2.9969999999999999</c:v>
                </c:pt>
                <c:pt idx="6288">
                  <c:v>2.9489999999999998</c:v>
                </c:pt>
                <c:pt idx="6289">
                  <c:v>2.847</c:v>
                </c:pt>
                <c:pt idx="6290">
                  <c:v>2.5989999999999998</c:v>
                </c:pt>
                <c:pt idx="6291">
                  <c:v>2.6559999999999997</c:v>
                </c:pt>
                <c:pt idx="6292">
                  <c:v>3.105</c:v>
                </c:pt>
                <c:pt idx="6293">
                  <c:v>3.9490000000000003</c:v>
                </c:pt>
                <c:pt idx="6294">
                  <c:v>4.6989999999999998</c:v>
                </c:pt>
                <c:pt idx="6295">
                  <c:v>4.7930000000000001</c:v>
                </c:pt>
                <c:pt idx="6296">
                  <c:v>4.4990000000000006</c:v>
                </c:pt>
                <c:pt idx="6297">
                  <c:v>4.6840000000000002</c:v>
                </c:pt>
                <c:pt idx="6298">
                  <c:v>4.3879999999999999</c:v>
                </c:pt>
                <c:pt idx="6299">
                  <c:v>3.7</c:v>
                </c:pt>
                <c:pt idx="6300">
                  <c:v>3.5469999999999997</c:v>
                </c:pt>
                <c:pt idx="6301">
                  <c:v>3.7509999999999999</c:v>
                </c:pt>
                <c:pt idx="6302">
                  <c:v>3.407</c:v>
                </c:pt>
                <c:pt idx="6303">
                  <c:v>4</c:v>
                </c:pt>
                <c:pt idx="6304">
                  <c:v>4.3940000000000001</c:v>
                </c:pt>
                <c:pt idx="6305">
                  <c:v>4.8929999999999998</c:v>
                </c:pt>
                <c:pt idx="6306">
                  <c:v>5.202</c:v>
                </c:pt>
                <c:pt idx="6307">
                  <c:v>5.1029999999999998</c:v>
                </c:pt>
                <c:pt idx="6308">
                  <c:v>4.391</c:v>
                </c:pt>
                <c:pt idx="6309">
                  <c:v>3.944</c:v>
                </c:pt>
                <c:pt idx="6310">
                  <c:v>3.4609999999999999</c:v>
                </c:pt>
                <c:pt idx="6311">
                  <c:v>3.2610000000000001</c:v>
                </c:pt>
                <c:pt idx="6312">
                  <c:v>3.08</c:v>
                </c:pt>
                <c:pt idx="6313">
                  <c:v>2.9660000000000002</c:v>
                </c:pt>
                <c:pt idx="6314">
                  <c:v>2.9489999999999998</c:v>
                </c:pt>
                <c:pt idx="6315">
                  <c:v>2.9980000000000002</c:v>
                </c:pt>
                <c:pt idx="6316">
                  <c:v>3.2109999999999999</c:v>
                </c:pt>
                <c:pt idx="6317">
                  <c:v>4</c:v>
                </c:pt>
                <c:pt idx="6318">
                  <c:v>4.7969999999999997</c:v>
                </c:pt>
                <c:pt idx="6319">
                  <c:v>5.0969999999999995</c:v>
                </c:pt>
                <c:pt idx="6320">
                  <c:v>4.7030000000000003</c:v>
                </c:pt>
                <c:pt idx="6321">
                  <c:v>4.3469999999999995</c:v>
                </c:pt>
                <c:pt idx="6322">
                  <c:v>3.9479999999999995</c:v>
                </c:pt>
                <c:pt idx="6323">
                  <c:v>3.59</c:v>
                </c:pt>
                <c:pt idx="6324">
                  <c:v>3.5270000000000001</c:v>
                </c:pt>
                <c:pt idx="6325">
                  <c:v>3.4549999999999996</c:v>
                </c:pt>
                <c:pt idx="6326">
                  <c:v>3.44</c:v>
                </c:pt>
                <c:pt idx="6327">
                  <c:v>3.7520000000000002</c:v>
                </c:pt>
                <c:pt idx="6328">
                  <c:v>4.3479999999999999</c:v>
                </c:pt>
                <c:pt idx="6329">
                  <c:v>4.8729999999999993</c:v>
                </c:pt>
                <c:pt idx="6330">
                  <c:v>5.2770000000000001</c:v>
                </c:pt>
                <c:pt idx="6331">
                  <c:v>5.0750000000000002</c:v>
                </c:pt>
                <c:pt idx="6332">
                  <c:v>4.2200000000000006</c:v>
                </c:pt>
                <c:pt idx="6333">
                  <c:v>3.8329999999999997</c:v>
                </c:pt>
                <c:pt idx="6334">
                  <c:v>3.4729999999999999</c:v>
                </c:pt>
                <c:pt idx="6335">
                  <c:v>3.2240000000000002</c:v>
                </c:pt>
                <c:pt idx="6336">
                  <c:v>3.1670000000000003</c:v>
                </c:pt>
                <c:pt idx="6337">
                  <c:v>3.04</c:v>
                </c:pt>
                <c:pt idx="6338">
                  <c:v>3.0019999999999998</c:v>
                </c:pt>
                <c:pt idx="6339">
                  <c:v>3.0300000000000002</c:v>
                </c:pt>
                <c:pt idx="6340">
                  <c:v>3.19</c:v>
                </c:pt>
                <c:pt idx="6341">
                  <c:v>4.0060000000000002</c:v>
                </c:pt>
                <c:pt idx="6342">
                  <c:v>4.8179999999999996</c:v>
                </c:pt>
                <c:pt idx="6343">
                  <c:v>4.9799999999999995</c:v>
                </c:pt>
                <c:pt idx="6344">
                  <c:v>4.9710000000000001</c:v>
                </c:pt>
                <c:pt idx="6345">
                  <c:v>4.7170000000000005</c:v>
                </c:pt>
                <c:pt idx="6346">
                  <c:v>4.5340000000000007</c:v>
                </c:pt>
                <c:pt idx="6347">
                  <c:v>4.0340000000000007</c:v>
                </c:pt>
                <c:pt idx="6348">
                  <c:v>3.8069999999999999</c:v>
                </c:pt>
                <c:pt idx="6349">
                  <c:v>3.6579999999999999</c:v>
                </c:pt>
                <c:pt idx="6350">
                  <c:v>3.657</c:v>
                </c:pt>
                <c:pt idx="6351">
                  <c:v>3.7310000000000003</c:v>
                </c:pt>
                <c:pt idx="6352">
                  <c:v>4.327</c:v>
                </c:pt>
                <c:pt idx="6353">
                  <c:v>4.5920000000000005</c:v>
                </c:pt>
                <c:pt idx="6354">
                  <c:v>4.8920000000000003</c:v>
                </c:pt>
                <c:pt idx="6355">
                  <c:v>4.7210000000000001</c:v>
                </c:pt>
                <c:pt idx="6356">
                  <c:v>4.33</c:v>
                </c:pt>
                <c:pt idx="6357">
                  <c:v>3.9509999999999996</c:v>
                </c:pt>
                <c:pt idx="6358">
                  <c:v>3.7950000000000004</c:v>
                </c:pt>
                <c:pt idx="6359">
                  <c:v>3.4670000000000001</c:v>
                </c:pt>
                <c:pt idx="6360">
                  <c:v>3.1989999999999998</c:v>
                </c:pt>
                <c:pt idx="6361">
                  <c:v>3.194</c:v>
                </c:pt>
                <c:pt idx="6362">
                  <c:v>3.1909999999999998</c:v>
                </c:pt>
                <c:pt idx="6363">
                  <c:v>3.1429999999999998</c:v>
                </c:pt>
                <c:pt idx="6364">
                  <c:v>3.181</c:v>
                </c:pt>
                <c:pt idx="6365">
                  <c:v>3.34</c:v>
                </c:pt>
                <c:pt idx="6366">
                  <c:v>3.903</c:v>
                </c:pt>
                <c:pt idx="6367">
                  <c:v>4.1539999999999999</c:v>
                </c:pt>
                <c:pt idx="6368">
                  <c:v>4.2930000000000001</c:v>
                </c:pt>
                <c:pt idx="6369">
                  <c:v>4.1909999999999998</c:v>
                </c:pt>
                <c:pt idx="6370">
                  <c:v>3.9899999999999998</c:v>
                </c:pt>
                <c:pt idx="6371">
                  <c:v>3.1909999999999998</c:v>
                </c:pt>
                <c:pt idx="6372">
                  <c:v>3.2170000000000001</c:v>
                </c:pt>
                <c:pt idx="6373">
                  <c:v>3.2119999999999997</c:v>
                </c:pt>
                <c:pt idx="6374">
                  <c:v>3.2</c:v>
                </c:pt>
                <c:pt idx="6375">
                  <c:v>3.2770000000000001</c:v>
                </c:pt>
                <c:pt idx="6376">
                  <c:v>3.722</c:v>
                </c:pt>
                <c:pt idx="6377">
                  <c:v>4.2439999999999998</c:v>
                </c:pt>
                <c:pt idx="6378">
                  <c:v>4.5200000000000005</c:v>
                </c:pt>
                <c:pt idx="6379">
                  <c:v>4.4930000000000003</c:v>
                </c:pt>
                <c:pt idx="6380">
                  <c:v>3.9079999999999999</c:v>
                </c:pt>
                <c:pt idx="6381">
                  <c:v>3.5789999999999997</c:v>
                </c:pt>
                <c:pt idx="6382">
                  <c:v>3.1719999999999997</c:v>
                </c:pt>
                <c:pt idx="6383">
                  <c:v>3.1760000000000002</c:v>
                </c:pt>
                <c:pt idx="6384">
                  <c:v>3.0510000000000002</c:v>
                </c:pt>
                <c:pt idx="6385">
                  <c:v>3.1030000000000002</c:v>
                </c:pt>
                <c:pt idx="6386">
                  <c:v>3.077</c:v>
                </c:pt>
                <c:pt idx="6387">
                  <c:v>3.0550000000000002</c:v>
                </c:pt>
                <c:pt idx="6388">
                  <c:v>3.1059999999999999</c:v>
                </c:pt>
                <c:pt idx="6389">
                  <c:v>3.1819999999999999</c:v>
                </c:pt>
                <c:pt idx="6390">
                  <c:v>3.2090000000000005</c:v>
                </c:pt>
                <c:pt idx="6391">
                  <c:v>3.4899999999999998</c:v>
                </c:pt>
                <c:pt idx="6392">
                  <c:v>3.5569999999999999</c:v>
                </c:pt>
                <c:pt idx="6393">
                  <c:v>3.5249999999999999</c:v>
                </c:pt>
                <c:pt idx="6394">
                  <c:v>3.5609999999999999</c:v>
                </c:pt>
                <c:pt idx="6395">
                  <c:v>3.5209999999999999</c:v>
                </c:pt>
                <c:pt idx="6396">
                  <c:v>3.2709999999999999</c:v>
                </c:pt>
                <c:pt idx="6397">
                  <c:v>3.1520000000000001</c:v>
                </c:pt>
                <c:pt idx="6398">
                  <c:v>3.137</c:v>
                </c:pt>
                <c:pt idx="6399">
                  <c:v>3.1619999999999999</c:v>
                </c:pt>
                <c:pt idx="6400">
                  <c:v>3.5340000000000003</c:v>
                </c:pt>
                <c:pt idx="6401">
                  <c:v>4.2389999999999999</c:v>
                </c:pt>
                <c:pt idx="6402">
                  <c:v>4.694</c:v>
                </c:pt>
                <c:pt idx="6403">
                  <c:v>4.4990000000000006</c:v>
                </c:pt>
                <c:pt idx="6404">
                  <c:v>4.2200000000000006</c:v>
                </c:pt>
                <c:pt idx="6405">
                  <c:v>4.1079999999999997</c:v>
                </c:pt>
                <c:pt idx="6406">
                  <c:v>3.2450000000000001</c:v>
                </c:pt>
                <c:pt idx="6407">
                  <c:v>3.2969999999999997</c:v>
                </c:pt>
                <c:pt idx="6408">
                  <c:v>3.169</c:v>
                </c:pt>
                <c:pt idx="6409">
                  <c:v>3.1100000000000003</c:v>
                </c:pt>
                <c:pt idx="6410">
                  <c:v>3.1019999999999999</c:v>
                </c:pt>
                <c:pt idx="6411">
                  <c:v>3.05</c:v>
                </c:pt>
                <c:pt idx="6412">
                  <c:v>3.2490000000000001</c:v>
                </c:pt>
                <c:pt idx="6413">
                  <c:v>4.4420000000000002</c:v>
                </c:pt>
                <c:pt idx="6414">
                  <c:v>5.2439999999999998</c:v>
                </c:pt>
                <c:pt idx="6415">
                  <c:v>5.3770000000000007</c:v>
                </c:pt>
                <c:pt idx="6416">
                  <c:v>5.24</c:v>
                </c:pt>
                <c:pt idx="6417">
                  <c:v>5.1100000000000003</c:v>
                </c:pt>
                <c:pt idx="6418">
                  <c:v>4.8950000000000005</c:v>
                </c:pt>
                <c:pt idx="6419">
                  <c:v>4.4930000000000003</c:v>
                </c:pt>
                <c:pt idx="6420">
                  <c:v>4.24</c:v>
                </c:pt>
                <c:pt idx="6421">
                  <c:v>4.0510000000000002</c:v>
                </c:pt>
                <c:pt idx="6422">
                  <c:v>4.2009999999999996</c:v>
                </c:pt>
                <c:pt idx="6423">
                  <c:v>4.3929999999999998</c:v>
                </c:pt>
                <c:pt idx="6424">
                  <c:v>4.6130000000000004</c:v>
                </c:pt>
                <c:pt idx="6425">
                  <c:v>4.9809999999999999</c:v>
                </c:pt>
                <c:pt idx="6426">
                  <c:v>5.2</c:v>
                </c:pt>
                <c:pt idx="6427">
                  <c:v>5.0439999999999996</c:v>
                </c:pt>
                <c:pt idx="6428">
                  <c:v>4.1959999999999997</c:v>
                </c:pt>
                <c:pt idx="6429">
                  <c:v>3.4899999999999998</c:v>
                </c:pt>
                <c:pt idx="6430">
                  <c:v>3.4850000000000003</c:v>
                </c:pt>
                <c:pt idx="6431">
                  <c:v>3.5369999999999999</c:v>
                </c:pt>
                <c:pt idx="6432">
                  <c:v>3.242</c:v>
                </c:pt>
                <c:pt idx="6433">
                  <c:v>3.1360000000000001</c:v>
                </c:pt>
                <c:pt idx="6434">
                  <c:v>3.133</c:v>
                </c:pt>
                <c:pt idx="6435">
                  <c:v>3.1879999999999997</c:v>
                </c:pt>
                <c:pt idx="6436">
                  <c:v>3.3609999999999998</c:v>
                </c:pt>
                <c:pt idx="6437">
                  <c:v>4.2520000000000007</c:v>
                </c:pt>
                <c:pt idx="6438">
                  <c:v>5.1779999999999999</c:v>
                </c:pt>
                <c:pt idx="6439">
                  <c:v>5.5200000000000005</c:v>
                </c:pt>
                <c:pt idx="6440">
                  <c:v>5.0810000000000004</c:v>
                </c:pt>
                <c:pt idx="6441">
                  <c:v>4.6029999999999998</c:v>
                </c:pt>
                <c:pt idx="6442">
                  <c:v>4.1100000000000003</c:v>
                </c:pt>
                <c:pt idx="6443">
                  <c:v>3.6090000000000004</c:v>
                </c:pt>
                <c:pt idx="6444">
                  <c:v>3.5130000000000003</c:v>
                </c:pt>
                <c:pt idx="6445">
                  <c:v>3.4829999999999997</c:v>
                </c:pt>
                <c:pt idx="6446">
                  <c:v>3.59</c:v>
                </c:pt>
                <c:pt idx="6447">
                  <c:v>3.9530000000000003</c:v>
                </c:pt>
                <c:pt idx="6448">
                  <c:v>4.6049999999999995</c:v>
                </c:pt>
                <c:pt idx="6449">
                  <c:v>4.9930000000000003</c:v>
                </c:pt>
                <c:pt idx="6450">
                  <c:v>5.4659999999999993</c:v>
                </c:pt>
                <c:pt idx="6451">
                  <c:v>4.9420000000000002</c:v>
                </c:pt>
                <c:pt idx="6452">
                  <c:v>3.6340000000000003</c:v>
                </c:pt>
                <c:pt idx="6453">
                  <c:v>3.3929999999999998</c:v>
                </c:pt>
                <c:pt idx="6454">
                  <c:v>3.5430000000000001</c:v>
                </c:pt>
                <c:pt idx="6455">
                  <c:v>3.3409999999999997</c:v>
                </c:pt>
                <c:pt idx="6456">
                  <c:v>3.2119999999999997</c:v>
                </c:pt>
                <c:pt idx="6457">
                  <c:v>3.2030000000000003</c:v>
                </c:pt>
                <c:pt idx="6458">
                  <c:v>3.1559999999999997</c:v>
                </c:pt>
                <c:pt idx="6459">
                  <c:v>3.214</c:v>
                </c:pt>
                <c:pt idx="6460">
                  <c:v>3.37</c:v>
                </c:pt>
                <c:pt idx="6461">
                  <c:v>4.5069999999999997</c:v>
                </c:pt>
                <c:pt idx="6462">
                  <c:v>5.4399999999999995</c:v>
                </c:pt>
                <c:pt idx="6463">
                  <c:v>5.7</c:v>
                </c:pt>
                <c:pt idx="6464">
                  <c:v>5.1590000000000007</c:v>
                </c:pt>
                <c:pt idx="6465">
                  <c:v>4.6100000000000003</c:v>
                </c:pt>
                <c:pt idx="6466">
                  <c:v>4.1159999999999997</c:v>
                </c:pt>
                <c:pt idx="6467">
                  <c:v>3.4430000000000001</c:v>
                </c:pt>
                <c:pt idx="6468">
                  <c:v>3.4899999999999998</c:v>
                </c:pt>
                <c:pt idx="6469">
                  <c:v>3.4420000000000002</c:v>
                </c:pt>
                <c:pt idx="6470">
                  <c:v>3.5960000000000001</c:v>
                </c:pt>
                <c:pt idx="6471">
                  <c:v>3.8939999999999997</c:v>
                </c:pt>
                <c:pt idx="6472">
                  <c:v>4.508</c:v>
                </c:pt>
                <c:pt idx="6473">
                  <c:v>4.9990000000000006</c:v>
                </c:pt>
                <c:pt idx="6474">
                  <c:v>5.4859999999999998</c:v>
                </c:pt>
                <c:pt idx="6475">
                  <c:v>4.7990000000000004</c:v>
                </c:pt>
                <c:pt idx="6476">
                  <c:v>4.2949999999999999</c:v>
                </c:pt>
                <c:pt idx="6477">
                  <c:v>3.843</c:v>
                </c:pt>
                <c:pt idx="6478">
                  <c:v>3.2939999999999996</c:v>
                </c:pt>
                <c:pt idx="6479">
                  <c:v>3.2079999999999997</c:v>
                </c:pt>
                <c:pt idx="6480">
                  <c:v>3.177</c:v>
                </c:pt>
                <c:pt idx="6481">
                  <c:v>3.1579999999999999</c:v>
                </c:pt>
                <c:pt idx="6482">
                  <c:v>3.101</c:v>
                </c:pt>
                <c:pt idx="6483">
                  <c:v>3.105</c:v>
                </c:pt>
                <c:pt idx="6484">
                  <c:v>3.34</c:v>
                </c:pt>
                <c:pt idx="6485">
                  <c:v>4.0200000000000005</c:v>
                </c:pt>
                <c:pt idx="6486">
                  <c:v>4.9210000000000003</c:v>
                </c:pt>
                <c:pt idx="6487">
                  <c:v>4.9429999999999996</c:v>
                </c:pt>
                <c:pt idx="6488">
                  <c:v>4.7080000000000002</c:v>
                </c:pt>
                <c:pt idx="6489">
                  <c:v>4.5270000000000001</c:v>
                </c:pt>
                <c:pt idx="6490">
                  <c:v>4.4350000000000005</c:v>
                </c:pt>
                <c:pt idx="6491">
                  <c:v>3.9200000000000004</c:v>
                </c:pt>
                <c:pt idx="6492">
                  <c:v>3.9200000000000004</c:v>
                </c:pt>
                <c:pt idx="6493">
                  <c:v>3.8450000000000002</c:v>
                </c:pt>
                <c:pt idx="6494">
                  <c:v>4.1669999999999998</c:v>
                </c:pt>
                <c:pt idx="6495">
                  <c:v>4.4119999999999999</c:v>
                </c:pt>
                <c:pt idx="6496">
                  <c:v>4.6929999999999996</c:v>
                </c:pt>
                <c:pt idx="6497">
                  <c:v>4.7509999999999994</c:v>
                </c:pt>
                <c:pt idx="6498">
                  <c:v>4.9779999999999998</c:v>
                </c:pt>
                <c:pt idx="6499">
                  <c:v>4.7490000000000006</c:v>
                </c:pt>
                <c:pt idx="6500">
                  <c:v>3.85</c:v>
                </c:pt>
                <c:pt idx="6501">
                  <c:v>3.496</c:v>
                </c:pt>
                <c:pt idx="6502">
                  <c:v>3.2960000000000003</c:v>
                </c:pt>
                <c:pt idx="6503">
                  <c:v>3.3850000000000002</c:v>
                </c:pt>
                <c:pt idx="6504">
                  <c:v>3.2880000000000003</c:v>
                </c:pt>
                <c:pt idx="6505">
                  <c:v>3.15</c:v>
                </c:pt>
                <c:pt idx="6506">
                  <c:v>3.1100000000000003</c:v>
                </c:pt>
                <c:pt idx="6507">
                  <c:v>3.097</c:v>
                </c:pt>
                <c:pt idx="6508">
                  <c:v>3.1909999999999998</c:v>
                </c:pt>
                <c:pt idx="6509">
                  <c:v>4.0670000000000002</c:v>
                </c:pt>
                <c:pt idx="6510">
                  <c:v>4.9909999999999997</c:v>
                </c:pt>
                <c:pt idx="6511">
                  <c:v>5.12</c:v>
                </c:pt>
                <c:pt idx="6512">
                  <c:v>4.9990000000000006</c:v>
                </c:pt>
                <c:pt idx="6513">
                  <c:v>4.7990000000000004</c:v>
                </c:pt>
                <c:pt idx="6514">
                  <c:v>4.7080000000000002</c:v>
                </c:pt>
                <c:pt idx="6515">
                  <c:v>3.8649999999999998</c:v>
                </c:pt>
                <c:pt idx="6516">
                  <c:v>3.9130000000000003</c:v>
                </c:pt>
                <c:pt idx="6517">
                  <c:v>3.6859999999999999</c:v>
                </c:pt>
                <c:pt idx="6518">
                  <c:v>3.8450000000000002</c:v>
                </c:pt>
                <c:pt idx="6519">
                  <c:v>4.1229999999999993</c:v>
                </c:pt>
                <c:pt idx="6520">
                  <c:v>4.5170000000000003</c:v>
                </c:pt>
                <c:pt idx="6521">
                  <c:v>4.7930000000000001</c:v>
                </c:pt>
                <c:pt idx="6522">
                  <c:v>4.7990000000000004</c:v>
                </c:pt>
                <c:pt idx="6523">
                  <c:v>3.91</c:v>
                </c:pt>
                <c:pt idx="6524">
                  <c:v>3.2210000000000001</c:v>
                </c:pt>
                <c:pt idx="6525">
                  <c:v>3.694</c:v>
                </c:pt>
                <c:pt idx="6526">
                  <c:v>3.06</c:v>
                </c:pt>
                <c:pt idx="6527">
                  <c:v>2.3879999999999999</c:v>
                </c:pt>
                <c:pt idx="6528">
                  <c:v>2.609</c:v>
                </c:pt>
                <c:pt idx="6529">
                  <c:v>2.665</c:v>
                </c:pt>
                <c:pt idx="6530">
                  <c:v>2.8730000000000002</c:v>
                </c:pt>
                <c:pt idx="6531">
                  <c:v>2.903</c:v>
                </c:pt>
                <c:pt idx="6532">
                  <c:v>3.0019999999999998</c:v>
                </c:pt>
                <c:pt idx="6533">
                  <c:v>3.1960000000000002</c:v>
                </c:pt>
                <c:pt idx="6534">
                  <c:v>3.8600000000000003</c:v>
                </c:pt>
                <c:pt idx="6535">
                  <c:v>3.9</c:v>
                </c:pt>
                <c:pt idx="6536">
                  <c:v>4.2490000000000006</c:v>
                </c:pt>
                <c:pt idx="6537">
                  <c:v>4.2569999999999997</c:v>
                </c:pt>
                <c:pt idx="6538">
                  <c:v>4.32</c:v>
                </c:pt>
                <c:pt idx="6539">
                  <c:v>3.875</c:v>
                </c:pt>
                <c:pt idx="6540">
                  <c:v>3.282</c:v>
                </c:pt>
                <c:pt idx="6541">
                  <c:v>3.1840000000000002</c:v>
                </c:pt>
                <c:pt idx="6542">
                  <c:v>3.3</c:v>
                </c:pt>
                <c:pt idx="6543">
                  <c:v>3.7520000000000002</c:v>
                </c:pt>
                <c:pt idx="6544">
                  <c:v>4.1770000000000005</c:v>
                </c:pt>
                <c:pt idx="6545">
                  <c:v>4.5060000000000002</c:v>
                </c:pt>
                <c:pt idx="6546">
                  <c:v>4.8250000000000002</c:v>
                </c:pt>
                <c:pt idx="6547">
                  <c:v>4.5009999999999994</c:v>
                </c:pt>
                <c:pt idx="6548">
                  <c:v>3.7490000000000001</c:v>
                </c:pt>
                <c:pt idx="6549">
                  <c:v>3.218</c:v>
                </c:pt>
                <c:pt idx="6550">
                  <c:v>2.9059999999999997</c:v>
                </c:pt>
                <c:pt idx="6551">
                  <c:v>1.2949999999999999</c:v>
                </c:pt>
                <c:pt idx="6552">
                  <c:v>1.484</c:v>
                </c:pt>
                <c:pt idx="6553">
                  <c:v>1.905</c:v>
                </c:pt>
                <c:pt idx="6554">
                  <c:v>2.2149999999999999</c:v>
                </c:pt>
                <c:pt idx="6555">
                  <c:v>2.29</c:v>
                </c:pt>
                <c:pt idx="6556">
                  <c:v>2.31</c:v>
                </c:pt>
                <c:pt idx="6557">
                  <c:v>2.5659999999999998</c:v>
                </c:pt>
                <c:pt idx="6558">
                  <c:v>2.7399999999999998</c:v>
                </c:pt>
                <c:pt idx="6559">
                  <c:v>3.2709999999999999</c:v>
                </c:pt>
                <c:pt idx="6560">
                  <c:v>3.8109999999999999</c:v>
                </c:pt>
                <c:pt idx="6561">
                  <c:v>3.839</c:v>
                </c:pt>
                <c:pt idx="6562">
                  <c:v>3.8579999999999997</c:v>
                </c:pt>
                <c:pt idx="6563">
                  <c:v>3.8289999999999997</c:v>
                </c:pt>
                <c:pt idx="6564">
                  <c:v>2.968</c:v>
                </c:pt>
                <c:pt idx="6565">
                  <c:v>2.609</c:v>
                </c:pt>
                <c:pt idx="6566">
                  <c:v>2.6640000000000001</c:v>
                </c:pt>
                <c:pt idx="6567">
                  <c:v>2.7839999999999998</c:v>
                </c:pt>
                <c:pt idx="6568">
                  <c:v>3.7</c:v>
                </c:pt>
                <c:pt idx="6569">
                  <c:v>4.6130000000000004</c:v>
                </c:pt>
                <c:pt idx="6570">
                  <c:v>4.99</c:v>
                </c:pt>
                <c:pt idx="6571">
                  <c:v>4.5979999999999999</c:v>
                </c:pt>
                <c:pt idx="6572">
                  <c:v>3.1949999999999998</c:v>
                </c:pt>
                <c:pt idx="6573">
                  <c:v>2.6079999999999997</c:v>
                </c:pt>
                <c:pt idx="6574">
                  <c:v>1.3939999999999999</c:v>
                </c:pt>
                <c:pt idx="6575">
                  <c:v>1.8640000000000001</c:v>
                </c:pt>
                <c:pt idx="6576">
                  <c:v>1.29</c:v>
                </c:pt>
                <c:pt idx="6577">
                  <c:v>0.57199999999999995</c:v>
                </c:pt>
                <c:pt idx="6578">
                  <c:v>3.4000000000000002E-2</c:v>
                </c:pt>
                <c:pt idx="6579">
                  <c:v>0.28999999999999998</c:v>
                </c:pt>
                <c:pt idx="6580">
                  <c:v>0.93699999999999994</c:v>
                </c:pt>
                <c:pt idx="6581">
                  <c:v>1.3980000000000001</c:v>
                </c:pt>
                <c:pt idx="6582">
                  <c:v>2.1320000000000001</c:v>
                </c:pt>
                <c:pt idx="6583">
                  <c:v>2.1379999999999999</c:v>
                </c:pt>
                <c:pt idx="6584">
                  <c:v>2.1379999999999999</c:v>
                </c:pt>
                <c:pt idx="6585">
                  <c:v>2.0289999999999999</c:v>
                </c:pt>
                <c:pt idx="6586">
                  <c:v>2.5289999999999999</c:v>
                </c:pt>
                <c:pt idx="6587">
                  <c:v>2.21</c:v>
                </c:pt>
                <c:pt idx="6588">
                  <c:v>1.482</c:v>
                </c:pt>
                <c:pt idx="6589">
                  <c:v>1.46</c:v>
                </c:pt>
                <c:pt idx="6590">
                  <c:v>1.9300000000000002</c:v>
                </c:pt>
                <c:pt idx="6591">
                  <c:v>1.9899999999999998</c:v>
                </c:pt>
                <c:pt idx="6592">
                  <c:v>3.129</c:v>
                </c:pt>
                <c:pt idx="6593">
                  <c:v>3.1230000000000002</c:v>
                </c:pt>
                <c:pt idx="6594">
                  <c:v>3.6040000000000001</c:v>
                </c:pt>
                <c:pt idx="6595">
                  <c:v>2.9279999999999999</c:v>
                </c:pt>
                <c:pt idx="6596">
                  <c:v>2.2679999999999998</c:v>
                </c:pt>
                <c:pt idx="6597">
                  <c:v>1.518</c:v>
                </c:pt>
                <c:pt idx="6598">
                  <c:v>0.93900000000000006</c:v>
                </c:pt>
                <c:pt idx="6599">
                  <c:v>1.3260000000000001</c:v>
                </c:pt>
                <c:pt idx="6600">
                  <c:v>1.395</c:v>
                </c:pt>
                <c:pt idx="6601">
                  <c:v>1.2310000000000001</c:v>
                </c:pt>
                <c:pt idx="6602">
                  <c:v>1.5089999999999999</c:v>
                </c:pt>
                <c:pt idx="6603">
                  <c:v>1.9510000000000001</c:v>
                </c:pt>
                <c:pt idx="6604">
                  <c:v>2.1579999999999999</c:v>
                </c:pt>
                <c:pt idx="6605">
                  <c:v>2.8280000000000003</c:v>
                </c:pt>
                <c:pt idx="6606">
                  <c:v>3.141</c:v>
                </c:pt>
                <c:pt idx="6607">
                  <c:v>3.5950000000000002</c:v>
                </c:pt>
                <c:pt idx="6608">
                  <c:v>3.4899999999999998</c:v>
                </c:pt>
                <c:pt idx="6609">
                  <c:v>3.2030000000000003</c:v>
                </c:pt>
                <c:pt idx="6610">
                  <c:v>3.2689999999999997</c:v>
                </c:pt>
                <c:pt idx="6611">
                  <c:v>2.4870000000000001</c:v>
                </c:pt>
                <c:pt idx="6612">
                  <c:v>1.7909999999999999</c:v>
                </c:pt>
                <c:pt idx="6613">
                  <c:v>1.109</c:v>
                </c:pt>
                <c:pt idx="6614">
                  <c:v>1.2470000000000001</c:v>
                </c:pt>
                <c:pt idx="6615">
                  <c:v>1.6629999999999998</c:v>
                </c:pt>
                <c:pt idx="6616">
                  <c:v>2.762</c:v>
                </c:pt>
                <c:pt idx="6617">
                  <c:v>3.306</c:v>
                </c:pt>
                <c:pt idx="6618">
                  <c:v>3.9539999999999997</c:v>
                </c:pt>
                <c:pt idx="6619">
                  <c:v>3.0629999999999997</c:v>
                </c:pt>
                <c:pt idx="6620">
                  <c:v>3.0659999999999998</c:v>
                </c:pt>
                <c:pt idx="6621">
                  <c:v>3.0089999999999999</c:v>
                </c:pt>
                <c:pt idx="6622">
                  <c:v>2.2079999999999997</c:v>
                </c:pt>
                <c:pt idx="6623">
                  <c:v>1.8089999999999999</c:v>
                </c:pt>
                <c:pt idx="6624">
                  <c:v>1.8649999999999998</c:v>
                </c:pt>
                <c:pt idx="6625">
                  <c:v>2.0880000000000001</c:v>
                </c:pt>
                <c:pt idx="6626">
                  <c:v>1.8059999999999998</c:v>
                </c:pt>
                <c:pt idx="6627">
                  <c:v>2.2629999999999999</c:v>
                </c:pt>
                <c:pt idx="6628">
                  <c:v>3</c:v>
                </c:pt>
                <c:pt idx="6629">
                  <c:v>4.5220000000000002</c:v>
                </c:pt>
                <c:pt idx="6630">
                  <c:v>5.4610000000000003</c:v>
                </c:pt>
                <c:pt idx="6631">
                  <c:v>5.593</c:v>
                </c:pt>
                <c:pt idx="6632">
                  <c:v>4.42</c:v>
                </c:pt>
                <c:pt idx="6633">
                  <c:v>3.5340000000000003</c:v>
                </c:pt>
                <c:pt idx="6634">
                  <c:v>3.117</c:v>
                </c:pt>
                <c:pt idx="6635">
                  <c:v>2.2800000000000002</c:v>
                </c:pt>
                <c:pt idx="6636">
                  <c:v>1.996</c:v>
                </c:pt>
                <c:pt idx="6637">
                  <c:v>2.2770000000000001</c:v>
                </c:pt>
                <c:pt idx="6638">
                  <c:v>2.5</c:v>
                </c:pt>
                <c:pt idx="6639">
                  <c:v>2.5059999999999998</c:v>
                </c:pt>
                <c:pt idx="6640">
                  <c:v>3.306</c:v>
                </c:pt>
                <c:pt idx="6641">
                  <c:v>3.38</c:v>
                </c:pt>
                <c:pt idx="6642">
                  <c:v>3.593</c:v>
                </c:pt>
                <c:pt idx="6643">
                  <c:v>3.0260000000000002</c:v>
                </c:pt>
                <c:pt idx="6644">
                  <c:v>2.21</c:v>
                </c:pt>
                <c:pt idx="6645">
                  <c:v>2.0620000000000003</c:v>
                </c:pt>
                <c:pt idx="6646">
                  <c:v>4.9000000000000002E-2</c:v>
                </c:pt>
                <c:pt idx="6647">
                  <c:v>0.40899999999999997</c:v>
                </c:pt>
                <c:pt idx="6648">
                  <c:v>0.20899999999999999</c:v>
                </c:pt>
                <c:pt idx="6649">
                  <c:v>0.18</c:v>
                </c:pt>
                <c:pt idx="6650">
                  <c:v>0.89100000000000001</c:v>
                </c:pt>
                <c:pt idx="6651">
                  <c:v>1.246</c:v>
                </c:pt>
                <c:pt idx="6652">
                  <c:v>1.698</c:v>
                </c:pt>
                <c:pt idx="6653">
                  <c:v>3.1309999999999998</c:v>
                </c:pt>
                <c:pt idx="6654">
                  <c:v>3.5840000000000005</c:v>
                </c:pt>
                <c:pt idx="6655">
                  <c:v>4.1920000000000002</c:v>
                </c:pt>
                <c:pt idx="6656">
                  <c:v>3.1040000000000001</c:v>
                </c:pt>
                <c:pt idx="6657">
                  <c:v>2.4980000000000002</c:v>
                </c:pt>
                <c:pt idx="6658">
                  <c:v>2.044</c:v>
                </c:pt>
                <c:pt idx="6659">
                  <c:v>0.97100000000000009</c:v>
                </c:pt>
                <c:pt idx="6660">
                  <c:v>1.218</c:v>
                </c:pt>
                <c:pt idx="6661">
                  <c:v>1.081</c:v>
                </c:pt>
                <c:pt idx="6662">
                  <c:v>1.0840000000000001</c:v>
                </c:pt>
                <c:pt idx="6663">
                  <c:v>1.089</c:v>
                </c:pt>
                <c:pt idx="6664">
                  <c:v>1.468</c:v>
                </c:pt>
                <c:pt idx="6665">
                  <c:v>2.5</c:v>
                </c:pt>
                <c:pt idx="6666">
                  <c:v>2.996</c:v>
                </c:pt>
                <c:pt idx="6667">
                  <c:v>2.6079999999999997</c:v>
                </c:pt>
                <c:pt idx="6668">
                  <c:v>2.7960000000000003</c:v>
                </c:pt>
                <c:pt idx="6669">
                  <c:v>1.0840000000000001</c:v>
                </c:pt>
                <c:pt idx="6670">
                  <c:v>1.181</c:v>
                </c:pt>
                <c:pt idx="6671">
                  <c:v>9.5000000000000001E-2</c:v>
                </c:pt>
                <c:pt idx="6672">
                  <c:v>0.9880000000000001</c:v>
                </c:pt>
                <c:pt idx="6673">
                  <c:v>0.32300000000000001</c:v>
                </c:pt>
                <c:pt idx="6674">
                  <c:v>4.2999999999999997E-2</c:v>
                </c:pt>
                <c:pt idx="6675">
                  <c:v>0.44600000000000001</c:v>
                </c:pt>
                <c:pt idx="6676">
                  <c:v>1.0779999999999998</c:v>
                </c:pt>
                <c:pt idx="6677">
                  <c:v>3.1079999999999997</c:v>
                </c:pt>
                <c:pt idx="6678">
                  <c:v>3.7869999999999999</c:v>
                </c:pt>
                <c:pt idx="6679">
                  <c:v>3.4939999999999998</c:v>
                </c:pt>
                <c:pt idx="6680">
                  <c:v>3.3979999999999997</c:v>
                </c:pt>
                <c:pt idx="6681">
                  <c:v>3.2950000000000004</c:v>
                </c:pt>
                <c:pt idx="6682">
                  <c:v>3.2950000000000004</c:v>
                </c:pt>
                <c:pt idx="6683">
                  <c:v>3.2130000000000001</c:v>
                </c:pt>
                <c:pt idx="6684">
                  <c:v>3.0350000000000001</c:v>
                </c:pt>
                <c:pt idx="6685">
                  <c:v>2.9449999999999998</c:v>
                </c:pt>
                <c:pt idx="6686">
                  <c:v>2.9279999999999999</c:v>
                </c:pt>
                <c:pt idx="6687">
                  <c:v>3.2409999999999997</c:v>
                </c:pt>
                <c:pt idx="6688">
                  <c:v>3.69</c:v>
                </c:pt>
                <c:pt idx="6689">
                  <c:v>4.6920000000000002</c:v>
                </c:pt>
                <c:pt idx="6690">
                  <c:v>4.8520000000000003</c:v>
                </c:pt>
                <c:pt idx="6691">
                  <c:v>4.2039999999999997</c:v>
                </c:pt>
                <c:pt idx="6692">
                  <c:v>3.5100000000000002</c:v>
                </c:pt>
                <c:pt idx="6693">
                  <c:v>3.06</c:v>
                </c:pt>
                <c:pt idx="6694">
                  <c:v>2.6870000000000003</c:v>
                </c:pt>
                <c:pt idx="6695">
                  <c:v>1.385</c:v>
                </c:pt>
                <c:pt idx="6696">
                  <c:v>1.1850000000000001</c:v>
                </c:pt>
                <c:pt idx="6697">
                  <c:v>1.0720000000000001</c:v>
                </c:pt>
                <c:pt idx="6698">
                  <c:v>1.1039999999999999</c:v>
                </c:pt>
                <c:pt idx="6699">
                  <c:v>0.9</c:v>
                </c:pt>
                <c:pt idx="6700">
                  <c:v>0.89399999999999991</c:v>
                </c:pt>
                <c:pt idx="6701">
                  <c:v>1.0939999999999999</c:v>
                </c:pt>
                <c:pt idx="6702">
                  <c:v>1.2210000000000001</c:v>
                </c:pt>
                <c:pt idx="6703">
                  <c:v>2.492</c:v>
                </c:pt>
                <c:pt idx="6704">
                  <c:v>1.7390000000000001</c:v>
                </c:pt>
                <c:pt idx="6705">
                  <c:v>1.077</c:v>
                </c:pt>
                <c:pt idx="6706">
                  <c:v>1.121</c:v>
                </c:pt>
                <c:pt idx="6707">
                  <c:v>0.35699999999999998</c:v>
                </c:pt>
                <c:pt idx="6708">
                  <c:v>0</c:v>
                </c:pt>
                <c:pt idx="6709">
                  <c:v>-9.5000000000000001E-2</c:v>
                </c:pt>
                <c:pt idx="6710">
                  <c:v>-0.13500000000000001</c:v>
                </c:pt>
                <c:pt idx="6711">
                  <c:v>-9.4E-2</c:v>
                </c:pt>
                <c:pt idx="6712">
                  <c:v>8.8999999999999996E-2</c:v>
                </c:pt>
                <c:pt idx="6713">
                  <c:v>0.83000000000000007</c:v>
                </c:pt>
                <c:pt idx="6714">
                  <c:v>1.012</c:v>
                </c:pt>
                <c:pt idx="6715">
                  <c:v>0.253</c:v>
                </c:pt>
                <c:pt idx="6716">
                  <c:v>0.308</c:v>
                </c:pt>
                <c:pt idx="6717">
                  <c:v>0.25900000000000001</c:v>
                </c:pt>
                <c:pt idx="6718">
                  <c:v>4.7E-2</c:v>
                </c:pt>
                <c:pt idx="6719">
                  <c:v>-9.6000000000000002E-2</c:v>
                </c:pt>
                <c:pt idx="6720">
                  <c:v>-0.23700000000000002</c:v>
                </c:pt>
                <c:pt idx="6721">
                  <c:v>-3.0000000000000001E-3</c:v>
                </c:pt>
                <c:pt idx="6722">
                  <c:v>-9.6000000000000002E-2</c:v>
                </c:pt>
                <c:pt idx="6723">
                  <c:v>-8.0000000000000002E-3</c:v>
                </c:pt>
                <c:pt idx="6724">
                  <c:v>0.876</c:v>
                </c:pt>
                <c:pt idx="6725">
                  <c:v>0.252</c:v>
                </c:pt>
                <c:pt idx="6726">
                  <c:v>1.2189999999999999</c:v>
                </c:pt>
                <c:pt idx="6727">
                  <c:v>2.7969999999999997</c:v>
                </c:pt>
                <c:pt idx="6728">
                  <c:v>2.9670000000000001</c:v>
                </c:pt>
                <c:pt idx="6729">
                  <c:v>3.2479999999999998</c:v>
                </c:pt>
                <c:pt idx="6730">
                  <c:v>3.8280000000000003</c:v>
                </c:pt>
                <c:pt idx="6731">
                  <c:v>3.0209999999999999</c:v>
                </c:pt>
                <c:pt idx="6732">
                  <c:v>2.8029999999999999</c:v>
                </c:pt>
                <c:pt idx="6733">
                  <c:v>2.6260000000000003</c:v>
                </c:pt>
                <c:pt idx="6734">
                  <c:v>2.1850000000000001</c:v>
                </c:pt>
                <c:pt idx="6735">
                  <c:v>2.7440000000000002</c:v>
                </c:pt>
                <c:pt idx="6736">
                  <c:v>3.246</c:v>
                </c:pt>
                <c:pt idx="6737">
                  <c:v>4.0049999999999999</c:v>
                </c:pt>
                <c:pt idx="6738">
                  <c:v>4.7969999999999997</c:v>
                </c:pt>
                <c:pt idx="6739">
                  <c:v>4.3920000000000003</c:v>
                </c:pt>
                <c:pt idx="6740">
                  <c:v>4.0939999999999994</c:v>
                </c:pt>
                <c:pt idx="6741">
                  <c:v>4.0950000000000006</c:v>
                </c:pt>
                <c:pt idx="6742">
                  <c:v>3.5249999999999999</c:v>
                </c:pt>
                <c:pt idx="6743">
                  <c:v>3.2060000000000004</c:v>
                </c:pt>
                <c:pt idx="6744">
                  <c:v>3.0640000000000001</c:v>
                </c:pt>
                <c:pt idx="6745">
                  <c:v>3.0019999999999998</c:v>
                </c:pt>
                <c:pt idx="6746">
                  <c:v>3.0089999999999999</c:v>
                </c:pt>
                <c:pt idx="6747">
                  <c:v>3.0010000000000003</c:v>
                </c:pt>
                <c:pt idx="6748">
                  <c:v>3.2</c:v>
                </c:pt>
                <c:pt idx="6749">
                  <c:v>4.298</c:v>
                </c:pt>
                <c:pt idx="6750">
                  <c:v>5.1479999999999997</c:v>
                </c:pt>
                <c:pt idx="6751">
                  <c:v>5.4749999999999996</c:v>
                </c:pt>
                <c:pt idx="6752">
                  <c:v>5.1139999999999999</c:v>
                </c:pt>
                <c:pt idx="6753">
                  <c:v>5.1139999999999999</c:v>
                </c:pt>
                <c:pt idx="6754">
                  <c:v>4.7119999999999997</c:v>
                </c:pt>
                <c:pt idx="6755">
                  <c:v>4.1210000000000004</c:v>
                </c:pt>
                <c:pt idx="6756">
                  <c:v>3.9939999999999998</c:v>
                </c:pt>
                <c:pt idx="6757">
                  <c:v>4.0060000000000002</c:v>
                </c:pt>
                <c:pt idx="6758">
                  <c:v>4.141</c:v>
                </c:pt>
                <c:pt idx="6759">
                  <c:v>4.3789999999999996</c:v>
                </c:pt>
                <c:pt idx="6760">
                  <c:v>5.0520000000000005</c:v>
                </c:pt>
                <c:pt idx="6761">
                  <c:v>5.9829999999999997</c:v>
                </c:pt>
                <c:pt idx="6762">
                  <c:v>6.2009999999999996</c:v>
                </c:pt>
                <c:pt idx="6763">
                  <c:v>4.6360000000000001</c:v>
                </c:pt>
                <c:pt idx="6764">
                  <c:v>3.8579999999999997</c:v>
                </c:pt>
                <c:pt idx="6765">
                  <c:v>3.722</c:v>
                </c:pt>
                <c:pt idx="6766">
                  <c:v>3.2930000000000001</c:v>
                </c:pt>
                <c:pt idx="6767">
                  <c:v>3.0219999999999998</c:v>
                </c:pt>
                <c:pt idx="6768">
                  <c:v>2.996</c:v>
                </c:pt>
                <c:pt idx="6769">
                  <c:v>3.0190000000000001</c:v>
                </c:pt>
                <c:pt idx="6770">
                  <c:v>3</c:v>
                </c:pt>
                <c:pt idx="6771">
                  <c:v>3.0739999999999998</c:v>
                </c:pt>
                <c:pt idx="6772">
                  <c:v>3.1789999999999998</c:v>
                </c:pt>
                <c:pt idx="6773">
                  <c:v>3.778</c:v>
                </c:pt>
                <c:pt idx="6774">
                  <c:v>4.8849999999999998</c:v>
                </c:pt>
                <c:pt idx="6775">
                  <c:v>5.694</c:v>
                </c:pt>
                <c:pt idx="6776">
                  <c:v>5.5609999999999999</c:v>
                </c:pt>
                <c:pt idx="6777">
                  <c:v>4.3070000000000004</c:v>
                </c:pt>
                <c:pt idx="6778">
                  <c:v>4.2359999999999998</c:v>
                </c:pt>
                <c:pt idx="6779">
                  <c:v>4</c:v>
                </c:pt>
                <c:pt idx="6780">
                  <c:v>3.8299999999999996</c:v>
                </c:pt>
                <c:pt idx="6781">
                  <c:v>3.7240000000000002</c:v>
                </c:pt>
                <c:pt idx="6782">
                  <c:v>3.589</c:v>
                </c:pt>
                <c:pt idx="6783">
                  <c:v>3.5369999999999999</c:v>
                </c:pt>
                <c:pt idx="6784">
                  <c:v>3.6819999999999999</c:v>
                </c:pt>
                <c:pt idx="6785">
                  <c:v>3.9899999999999998</c:v>
                </c:pt>
                <c:pt idx="6786">
                  <c:v>4.2919999999999998</c:v>
                </c:pt>
                <c:pt idx="6787">
                  <c:v>3.5460000000000003</c:v>
                </c:pt>
                <c:pt idx="6788">
                  <c:v>3.3029999999999999</c:v>
                </c:pt>
                <c:pt idx="6789">
                  <c:v>3.0510000000000002</c:v>
                </c:pt>
                <c:pt idx="6790">
                  <c:v>2.2760000000000002</c:v>
                </c:pt>
                <c:pt idx="6791">
                  <c:v>2.2039999999999997</c:v>
                </c:pt>
                <c:pt idx="6792">
                  <c:v>2.1309999999999998</c:v>
                </c:pt>
                <c:pt idx="6793">
                  <c:v>2.2789999999999999</c:v>
                </c:pt>
                <c:pt idx="6794">
                  <c:v>2.3090000000000002</c:v>
                </c:pt>
                <c:pt idx="6795">
                  <c:v>2.7050000000000001</c:v>
                </c:pt>
                <c:pt idx="6796">
                  <c:v>2.9829999999999997</c:v>
                </c:pt>
                <c:pt idx="6797">
                  <c:v>3.8929999999999998</c:v>
                </c:pt>
                <c:pt idx="6798">
                  <c:v>4.7</c:v>
                </c:pt>
                <c:pt idx="6799">
                  <c:v>4.9930000000000003</c:v>
                </c:pt>
                <c:pt idx="6800">
                  <c:v>4.3810000000000002</c:v>
                </c:pt>
                <c:pt idx="6801">
                  <c:v>4.0999999999999996</c:v>
                </c:pt>
                <c:pt idx="6802">
                  <c:v>3.8909999999999996</c:v>
                </c:pt>
                <c:pt idx="6803">
                  <c:v>3.1890000000000001</c:v>
                </c:pt>
                <c:pt idx="6804">
                  <c:v>3.181</c:v>
                </c:pt>
                <c:pt idx="6805">
                  <c:v>3.0539999999999998</c:v>
                </c:pt>
                <c:pt idx="6806">
                  <c:v>3.17</c:v>
                </c:pt>
                <c:pt idx="6807">
                  <c:v>3.6350000000000002</c:v>
                </c:pt>
                <c:pt idx="6808">
                  <c:v>4.1180000000000003</c:v>
                </c:pt>
                <c:pt idx="6809">
                  <c:v>4.298</c:v>
                </c:pt>
                <c:pt idx="6810">
                  <c:v>4.649</c:v>
                </c:pt>
                <c:pt idx="6811">
                  <c:v>3.9899999999999998</c:v>
                </c:pt>
                <c:pt idx="6812">
                  <c:v>3.1930000000000001</c:v>
                </c:pt>
                <c:pt idx="6813">
                  <c:v>2.9579999999999997</c:v>
                </c:pt>
                <c:pt idx="6814">
                  <c:v>2.2090000000000001</c:v>
                </c:pt>
                <c:pt idx="6815">
                  <c:v>1.3320000000000001</c:v>
                </c:pt>
                <c:pt idx="6816">
                  <c:v>1.266</c:v>
                </c:pt>
                <c:pt idx="6817">
                  <c:v>1.2669999999999999</c:v>
                </c:pt>
                <c:pt idx="6818">
                  <c:v>0.97</c:v>
                </c:pt>
                <c:pt idx="6819">
                  <c:v>1.028</c:v>
                </c:pt>
                <c:pt idx="6820">
                  <c:v>1.117</c:v>
                </c:pt>
                <c:pt idx="6821">
                  <c:v>2.8039999999999998</c:v>
                </c:pt>
                <c:pt idx="6822">
                  <c:v>3.8090000000000002</c:v>
                </c:pt>
                <c:pt idx="6823">
                  <c:v>3.6990000000000003</c:v>
                </c:pt>
                <c:pt idx="6824">
                  <c:v>3.0539999999999998</c:v>
                </c:pt>
                <c:pt idx="6825">
                  <c:v>2.149</c:v>
                </c:pt>
                <c:pt idx="6826">
                  <c:v>1.752</c:v>
                </c:pt>
                <c:pt idx="6827">
                  <c:v>1.278</c:v>
                </c:pt>
                <c:pt idx="6828">
                  <c:v>1.3539999999999999</c:v>
                </c:pt>
                <c:pt idx="6829">
                  <c:v>1.512</c:v>
                </c:pt>
                <c:pt idx="6830">
                  <c:v>2.1619999999999999</c:v>
                </c:pt>
                <c:pt idx="6831">
                  <c:v>2.6040000000000001</c:v>
                </c:pt>
                <c:pt idx="6832">
                  <c:v>3.4929999999999999</c:v>
                </c:pt>
                <c:pt idx="6833">
                  <c:v>4.2050000000000001</c:v>
                </c:pt>
                <c:pt idx="6834">
                  <c:v>4.6319999999999997</c:v>
                </c:pt>
                <c:pt idx="6835">
                  <c:v>4.0979999999999999</c:v>
                </c:pt>
                <c:pt idx="6836">
                  <c:v>4.2939999999999996</c:v>
                </c:pt>
                <c:pt idx="6837">
                  <c:v>3.8959999999999999</c:v>
                </c:pt>
                <c:pt idx="6838">
                  <c:v>3.137</c:v>
                </c:pt>
                <c:pt idx="6839">
                  <c:v>3.0529999999999999</c:v>
                </c:pt>
                <c:pt idx="6840">
                  <c:v>2.9379999999999997</c:v>
                </c:pt>
                <c:pt idx="6841">
                  <c:v>2.8340000000000001</c:v>
                </c:pt>
                <c:pt idx="6842">
                  <c:v>2.8460000000000001</c:v>
                </c:pt>
                <c:pt idx="6843">
                  <c:v>2.903</c:v>
                </c:pt>
                <c:pt idx="6844">
                  <c:v>3.1469999999999998</c:v>
                </c:pt>
                <c:pt idx="6845">
                  <c:v>4.3079999999999998</c:v>
                </c:pt>
                <c:pt idx="6846">
                  <c:v>5.9930000000000003</c:v>
                </c:pt>
                <c:pt idx="6847">
                  <c:v>6.4819999999999993</c:v>
                </c:pt>
                <c:pt idx="6848">
                  <c:v>5.0810000000000004</c:v>
                </c:pt>
                <c:pt idx="6849">
                  <c:v>4.6459999999999999</c:v>
                </c:pt>
                <c:pt idx="6850">
                  <c:v>4.4399999999999995</c:v>
                </c:pt>
                <c:pt idx="6851">
                  <c:v>3.8029999999999999</c:v>
                </c:pt>
                <c:pt idx="6852">
                  <c:v>3.3490000000000002</c:v>
                </c:pt>
                <c:pt idx="6853">
                  <c:v>3.129</c:v>
                </c:pt>
                <c:pt idx="6854">
                  <c:v>3.472</c:v>
                </c:pt>
                <c:pt idx="6855">
                  <c:v>3.6990000000000003</c:v>
                </c:pt>
                <c:pt idx="6856">
                  <c:v>4.6450000000000005</c:v>
                </c:pt>
                <c:pt idx="6857">
                  <c:v>5.59</c:v>
                </c:pt>
                <c:pt idx="6858">
                  <c:v>4.99</c:v>
                </c:pt>
                <c:pt idx="6859">
                  <c:v>3.9270000000000005</c:v>
                </c:pt>
                <c:pt idx="6860">
                  <c:v>3.5209999999999999</c:v>
                </c:pt>
                <c:pt idx="6861">
                  <c:v>3.1659999999999999</c:v>
                </c:pt>
                <c:pt idx="6862">
                  <c:v>2.9630000000000001</c:v>
                </c:pt>
                <c:pt idx="6863">
                  <c:v>2.8</c:v>
                </c:pt>
                <c:pt idx="6864">
                  <c:v>2.6989999999999998</c:v>
                </c:pt>
                <c:pt idx="6865">
                  <c:v>2.7410000000000001</c:v>
                </c:pt>
                <c:pt idx="6866">
                  <c:v>2.6399999999999997</c:v>
                </c:pt>
                <c:pt idx="6867">
                  <c:v>2.617</c:v>
                </c:pt>
                <c:pt idx="6868">
                  <c:v>2.6100000000000003</c:v>
                </c:pt>
                <c:pt idx="6869">
                  <c:v>2.8</c:v>
                </c:pt>
                <c:pt idx="6870">
                  <c:v>3.399</c:v>
                </c:pt>
                <c:pt idx="6871">
                  <c:v>3.9420000000000002</c:v>
                </c:pt>
                <c:pt idx="6872">
                  <c:v>3.5950000000000002</c:v>
                </c:pt>
                <c:pt idx="6873">
                  <c:v>2.8039999999999998</c:v>
                </c:pt>
                <c:pt idx="6874">
                  <c:v>2.286</c:v>
                </c:pt>
                <c:pt idx="6875">
                  <c:v>2.6070000000000002</c:v>
                </c:pt>
                <c:pt idx="6876">
                  <c:v>1.2669999999999999</c:v>
                </c:pt>
                <c:pt idx="6877">
                  <c:v>1.331</c:v>
                </c:pt>
                <c:pt idx="6878">
                  <c:v>2.6420000000000003</c:v>
                </c:pt>
                <c:pt idx="6879">
                  <c:v>3.1440000000000001</c:v>
                </c:pt>
                <c:pt idx="6880">
                  <c:v>4.0020000000000007</c:v>
                </c:pt>
                <c:pt idx="6881">
                  <c:v>4.9710000000000001</c:v>
                </c:pt>
                <c:pt idx="6882">
                  <c:v>5.2509999999999994</c:v>
                </c:pt>
                <c:pt idx="6883">
                  <c:v>4.3970000000000002</c:v>
                </c:pt>
                <c:pt idx="6884">
                  <c:v>4.0030000000000001</c:v>
                </c:pt>
                <c:pt idx="6885">
                  <c:v>3.907</c:v>
                </c:pt>
                <c:pt idx="6886">
                  <c:v>3.1429999999999998</c:v>
                </c:pt>
                <c:pt idx="6887">
                  <c:v>3.4259999999999997</c:v>
                </c:pt>
                <c:pt idx="6888">
                  <c:v>3.1559999999999997</c:v>
                </c:pt>
                <c:pt idx="6889">
                  <c:v>3.0409999999999999</c:v>
                </c:pt>
                <c:pt idx="6890">
                  <c:v>2.927</c:v>
                </c:pt>
                <c:pt idx="6891">
                  <c:v>2.9039999999999999</c:v>
                </c:pt>
                <c:pt idx="6892">
                  <c:v>2.891</c:v>
                </c:pt>
                <c:pt idx="6893">
                  <c:v>3.1179999999999999</c:v>
                </c:pt>
                <c:pt idx="6894">
                  <c:v>3.59</c:v>
                </c:pt>
                <c:pt idx="6895">
                  <c:v>3.4219999999999997</c:v>
                </c:pt>
                <c:pt idx="6896">
                  <c:v>3.3240000000000003</c:v>
                </c:pt>
                <c:pt idx="6897">
                  <c:v>3.1579999999999999</c:v>
                </c:pt>
                <c:pt idx="6898">
                  <c:v>3.097</c:v>
                </c:pt>
                <c:pt idx="6899">
                  <c:v>2.2770000000000001</c:v>
                </c:pt>
                <c:pt idx="6900">
                  <c:v>1.7070000000000001</c:v>
                </c:pt>
                <c:pt idx="6901">
                  <c:v>2.2440000000000002</c:v>
                </c:pt>
                <c:pt idx="6902">
                  <c:v>2.6629999999999998</c:v>
                </c:pt>
                <c:pt idx="6903">
                  <c:v>2.8029999999999999</c:v>
                </c:pt>
                <c:pt idx="6904">
                  <c:v>3.9380000000000002</c:v>
                </c:pt>
                <c:pt idx="6905">
                  <c:v>4.5049999999999999</c:v>
                </c:pt>
                <c:pt idx="6906">
                  <c:v>4.5039999999999996</c:v>
                </c:pt>
                <c:pt idx="6907">
                  <c:v>3.1749999999999998</c:v>
                </c:pt>
                <c:pt idx="6908">
                  <c:v>3.173</c:v>
                </c:pt>
                <c:pt idx="6909">
                  <c:v>2.9089999999999998</c:v>
                </c:pt>
                <c:pt idx="6910">
                  <c:v>1.8399999999999999</c:v>
                </c:pt>
                <c:pt idx="6911">
                  <c:v>2.2989999999999999</c:v>
                </c:pt>
                <c:pt idx="6912">
                  <c:v>2.1260000000000003</c:v>
                </c:pt>
                <c:pt idx="6913">
                  <c:v>2.1859999999999999</c:v>
                </c:pt>
                <c:pt idx="6914">
                  <c:v>2.1789999999999998</c:v>
                </c:pt>
                <c:pt idx="6915">
                  <c:v>2.2930000000000001</c:v>
                </c:pt>
                <c:pt idx="6916">
                  <c:v>2.8899999999999997</c:v>
                </c:pt>
                <c:pt idx="6917">
                  <c:v>4.2</c:v>
                </c:pt>
                <c:pt idx="6918">
                  <c:v>5.5340000000000007</c:v>
                </c:pt>
                <c:pt idx="6919">
                  <c:v>5.165</c:v>
                </c:pt>
                <c:pt idx="6920">
                  <c:v>4.3119999999999994</c:v>
                </c:pt>
                <c:pt idx="6921">
                  <c:v>3.7299999999999995</c:v>
                </c:pt>
                <c:pt idx="6922">
                  <c:v>3.3159999999999998</c:v>
                </c:pt>
                <c:pt idx="6923">
                  <c:v>3.226</c:v>
                </c:pt>
                <c:pt idx="6924">
                  <c:v>3.1680000000000001</c:v>
                </c:pt>
                <c:pt idx="6925">
                  <c:v>4.056</c:v>
                </c:pt>
                <c:pt idx="6926">
                  <c:v>4.25</c:v>
                </c:pt>
                <c:pt idx="6927">
                  <c:v>4.4619999999999997</c:v>
                </c:pt>
                <c:pt idx="6928">
                  <c:v>5.09</c:v>
                </c:pt>
                <c:pt idx="6929">
                  <c:v>6.3469999999999995</c:v>
                </c:pt>
                <c:pt idx="6930">
                  <c:v>6.673</c:v>
                </c:pt>
                <c:pt idx="6931">
                  <c:v>4.5950000000000006</c:v>
                </c:pt>
                <c:pt idx="6932">
                  <c:v>3.9049999999999998</c:v>
                </c:pt>
                <c:pt idx="6933">
                  <c:v>3.407</c:v>
                </c:pt>
                <c:pt idx="6934">
                  <c:v>3.1109999999999998</c:v>
                </c:pt>
                <c:pt idx="6935">
                  <c:v>2.895</c:v>
                </c:pt>
                <c:pt idx="6936">
                  <c:v>2.702</c:v>
                </c:pt>
                <c:pt idx="6937">
                  <c:v>2.6989999999999998</c:v>
                </c:pt>
                <c:pt idx="6938">
                  <c:v>2.7039999999999997</c:v>
                </c:pt>
                <c:pt idx="6939">
                  <c:v>2.806</c:v>
                </c:pt>
                <c:pt idx="6940">
                  <c:v>3.0569999999999999</c:v>
                </c:pt>
                <c:pt idx="6941">
                  <c:v>3.4990000000000001</c:v>
                </c:pt>
                <c:pt idx="6942">
                  <c:v>4.6159999999999997</c:v>
                </c:pt>
                <c:pt idx="6943">
                  <c:v>4.4969999999999999</c:v>
                </c:pt>
                <c:pt idx="6944">
                  <c:v>3.6950000000000003</c:v>
                </c:pt>
                <c:pt idx="6945">
                  <c:v>3.3460000000000001</c:v>
                </c:pt>
                <c:pt idx="6946">
                  <c:v>3.1339999999999999</c:v>
                </c:pt>
                <c:pt idx="6947">
                  <c:v>2.9239999999999999</c:v>
                </c:pt>
                <c:pt idx="6948">
                  <c:v>3.0219999999999998</c:v>
                </c:pt>
                <c:pt idx="6949">
                  <c:v>2.972</c:v>
                </c:pt>
                <c:pt idx="6950">
                  <c:v>3.28</c:v>
                </c:pt>
                <c:pt idx="6951">
                  <c:v>3.5469999999999997</c:v>
                </c:pt>
                <c:pt idx="6952">
                  <c:v>4.7919999999999998</c:v>
                </c:pt>
                <c:pt idx="6953">
                  <c:v>6.3360000000000003</c:v>
                </c:pt>
                <c:pt idx="6954">
                  <c:v>6.7919999999999998</c:v>
                </c:pt>
                <c:pt idx="6955">
                  <c:v>4.7380000000000004</c:v>
                </c:pt>
                <c:pt idx="6956">
                  <c:v>4.3609999999999998</c:v>
                </c:pt>
                <c:pt idx="6957">
                  <c:v>3.9990000000000001</c:v>
                </c:pt>
                <c:pt idx="6958">
                  <c:v>3.6789999999999998</c:v>
                </c:pt>
                <c:pt idx="6959">
                  <c:v>3.3220000000000001</c:v>
                </c:pt>
                <c:pt idx="6960">
                  <c:v>3.4020000000000001</c:v>
                </c:pt>
                <c:pt idx="6961">
                  <c:v>3.4020000000000001</c:v>
                </c:pt>
                <c:pt idx="6962">
                  <c:v>3.1890000000000001</c:v>
                </c:pt>
                <c:pt idx="6963">
                  <c:v>3.181</c:v>
                </c:pt>
                <c:pt idx="6964">
                  <c:v>3.6030000000000002</c:v>
                </c:pt>
                <c:pt idx="6965">
                  <c:v>4.9870000000000001</c:v>
                </c:pt>
                <c:pt idx="6966">
                  <c:v>6.6</c:v>
                </c:pt>
                <c:pt idx="6967">
                  <c:v>6.9939999999999998</c:v>
                </c:pt>
                <c:pt idx="6968">
                  <c:v>6.7909999999999995</c:v>
                </c:pt>
                <c:pt idx="6969">
                  <c:v>6.4420000000000002</c:v>
                </c:pt>
                <c:pt idx="6970">
                  <c:v>6.3079999999999998</c:v>
                </c:pt>
                <c:pt idx="6971">
                  <c:v>4.7930000000000001</c:v>
                </c:pt>
                <c:pt idx="6972">
                  <c:v>4.5969999999999995</c:v>
                </c:pt>
                <c:pt idx="6973">
                  <c:v>4.6070000000000002</c:v>
                </c:pt>
                <c:pt idx="6974">
                  <c:v>5.5840000000000005</c:v>
                </c:pt>
                <c:pt idx="6975">
                  <c:v>6.2649999999999997</c:v>
                </c:pt>
                <c:pt idx="6976">
                  <c:v>6.5659999999999998</c:v>
                </c:pt>
                <c:pt idx="6977">
                  <c:v>7.3409999999999993</c:v>
                </c:pt>
                <c:pt idx="6978">
                  <c:v>8.3019999999999996</c:v>
                </c:pt>
                <c:pt idx="6979">
                  <c:v>6.6840000000000002</c:v>
                </c:pt>
                <c:pt idx="6980">
                  <c:v>5.4270000000000005</c:v>
                </c:pt>
                <c:pt idx="6981">
                  <c:v>4.0449999999999999</c:v>
                </c:pt>
                <c:pt idx="6982">
                  <c:v>3.694</c:v>
                </c:pt>
                <c:pt idx="6983">
                  <c:v>3.4279999999999999</c:v>
                </c:pt>
                <c:pt idx="6984">
                  <c:v>3.4259999999999997</c:v>
                </c:pt>
                <c:pt idx="6985">
                  <c:v>3.3590000000000004</c:v>
                </c:pt>
                <c:pt idx="6986">
                  <c:v>3.3740000000000001</c:v>
                </c:pt>
                <c:pt idx="6987">
                  <c:v>3.4</c:v>
                </c:pt>
                <c:pt idx="6988">
                  <c:v>3.4889999999999999</c:v>
                </c:pt>
                <c:pt idx="6989">
                  <c:v>5.3710000000000004</c:v>
                </c:pt>
                <c:pt idx="6990">
                  <c:v>6.766</c:v>
                </c:pt>
                <c:pt idx="6991">
                  <c:v>6.854000000000001</c:v>
                </c:pt>
                <c:pt idx="6992">
                  <c:v>6.7819999999999991</c:v>
                </c:pt>
                <c:pt idx="6993">
                  <c:v>6.2069999999999999</c:v>
                </c:pt>
                <c:pt idx="6994">
                  <c:v>4.9969999999999999</c:v>
                </c:pt>
                <c:pt idx="6995">
                  <c:v>4.657</c:v>
                </c:pt>
                <c:pt idx="6996">
                  <c:v>4.1549999999999994</c:v>
                </c:pt>
                <c:pt idx="6997">
                  <c:v>4.0529999999999999</c:v>
                </c:pt>
                <c:pt idx="6998">
                  <c:v>4.3630000000000004</c:v>
                </c:pt>
                <c:pt idx="6999">
                  <c:v>4.9909999999999997</c:v>
                </c:pt>
                <c:pt idx="7000">
                  <c:v>5.8010000000000002</c:v>
                </c:pt>
                <c:pt idx="7001">
                  <c:v>6.1270000000000007</c:v>
                </c:pt>
                <c:pt idx="7002">
                  <c:v>5.43</c:v>
                </c:pt>
                <c:pt idx="7003">
                  <c:v>4.1549999999999994</c:v>
                </c:pt>
                <c:pt idx="7004">
                  <c:v>3.46</c:v>
                </c:pt>
                <c:pt idx="7005">
                  <c:v>3.4869999999999997</c:v>
                </c:pt>
                <c:pt idx="7006">
                  <c:v>3.1040000000000001</c:v>
                </c:pt>
                <c:pt idx="7007">
                  <c:v>2.9620000000000002</c:v>
                </c:pt>
                <c:pt idx="7008">
                  <c:v>2.9020000000000001</c:v>
                </c:pt>
                <c:pt idx="7009">
                  <c:v>2.9059999999999997</c:v>
                </c:pt>
                <c:pt idx="7010">
                  <c:v>2.988</c:v>
                </c:pt>
                <c:pt idx="7011">
                  <c:v>3</c:v>
                </c:pt>
                <c:pt idx="7012">
                  <c:v>3.101</c:v>
                </c:pt>
                <c:pt idx="7013">
                  <c:v>3.9909999999999997</c:v>
                </c:pt>
                <c:pt idx="7014">
                  <c:v>4.7050000000000001</c:v>
                </c:pt>
                <c:pt idx="7015">
                  <c:v>5.1280000000000001</c:v>
                </c:pt>
                <c:pt idx="7016">
                  <c:v>4.7</c:v>
                </c:pt>
                <c:pt idx="7017">
                  <c:v>4.3140000000000001</c:v>
                </c:pt>
                <c:pt idx="7018">
                  <c:v>4.1280000000000001</c:v>
                </c:pt>
                <c:pt idx="7019">
                  <c:v>3.7590000000000003</c:v>
                </c:pt>
                <c:pt idx="7020">
                  <c:v>3.306</c:v>
                </c:pt>
                <c:pt idx="7021">
                  <c:v>3.2890000000000001</c:v>
                </c:pt>
                <c:pt idx="7022">
                  <c:v>3.2610000000000001</c:v>
                </c:pt>
                <c:pt idx="7023">
                  <c:v>3.3039999999999998</c:v>
                </c:pt>
                <c:pt idx="7024">
                  <c:v>4.4610000000000003</c:v>
                </c:pt>
                <c:pt idx="7025">
                  <c:v>4.7859999999999996</c:v>
                </c:pt>
                <c:pt idx="7026">
                  <c:v>4.694</c:v>
                </c:pt>
                <c:pt idx="7027">
                  <c:v>3.8979999999999997</c:v>
                </c:pt>
                <c:pt idx="7028">
                  <c:v>4.1840000000000002</c:v>
                </c:pt>
                <c:pt idx="7029">
                  <c:v>3.5859999999999999</c:v>
                </c:pt>
                <c:pt idx="7030">
                  <c:v>3.274</c:v>
                </c:pt>
                <c:pt idx="7031">
                  <c:v>3.5</c:v>
                </c:pt>
                <c:pt idx="7032">
                  <c:v>3.2520000000000002</c:v>
                </c:pt>
                <c:pt idx="7033">
                  <c:v>3.2049999999999996</c:v>
                </c:pt>
                <c:pt idx="7034">
                  <c:v>3.0840000000000001</c:v>
                </c:pt>
                <c:pt idx="7035">
                  <c:v>2.9350000000000001</c:v>
                </c:pt>
                <c:pt idx="7036">
                  <c:v>3.0300000000000002</c:v>
                </c:pt>
                <c:pt idx="7037">
                  <c:v>3.1160000000000001</c:v>
                </c:pt>
                <c:pt idx="7038">
                  <c:v>3.5880000000000001</c:v>
                </c:pt>
                <c:pt idx="7039">
                  <c:v>4.1909999999999998</c:v>
                </c:pt>
                <c:pt idx="7040">
                  <c:v>4.6070000000000002</c:v>
                </c:pt>
                <c:pt idx="7041">
                  <c:v>4.7709999999999999</c:v>
                </c:pt>
                <c:pt idx="7042">
                  <c:v>4.5979999999999999</c:v>
                </c:pt>
                <c:pt idx="7043">
                  <c:v>3.5</c:v>
                </c:pt>
                <c:pt idx="7044">
                  <c:v>3.1019999999999999</c:v>
                </c:pt>
                <c:pt idx="7045">
                  <c:v>3.2090000000000005</c:v>
                </c:pt>
                <c:pt idx="7046">
                  <c:v>3.2</c:v>
                </c:pt>
                <c:pt idx="7047">
                  <c:v>3.2090000000000005</c:v>
                </c:pt>
                <c:pt idx="7048">
                  <c:v>3.6560000000000001</c:v>
                </c:pt>
                <c:pt idx="7049">
                  <c:v>4.0200000000000005</c:v>
                </c:pt>
                <c:pt idx="7050">
                  <c:v>4.0709999999999997</c:v>
                </c:pt>
                <c:pt idx="7051">
                  <c:v>3.1749999999999998</c:v>
                </c:pt>
                <c:pt idx="7052">
                  <c:v>2.859</c:v>
                </c:pt>
                <c:pt idx="7053">
                  <c:v>2.75</c:v>
                </c:pt>
                <c:pt idx="7054">
                  <c:v>1.548</c:v>
                </c:pt>
                <c:pt idx="7055">
                  <c:v>1.9100000000000001</c:v>
                </c:pt>
                <c:pt idx="7056">
                  <c:v>1.903</c:v>
                </c:pt>
                <c:pt idx="7057">
                  <c:v>1.69</c:v>
                </c:pt>
                <c:pt idx="7058">
                  <c:v>1.298</c:v>
                </c:pt>
                <c:pt idx="7059">
                  <c:v>0.92400000000000004</c:v>
                </c:pt>
                <c:pt idx="7060">
                  <c:v>0.52300000000000002</c:v>
                </c:pt>
                <c:pt idx="7061">
                  <c:v>0.98599999999999999</c:v>
                </c:pt>
                <c:pt idx="7062">
                  <c:v>0.98499999999999999</c:v>
                </c:pt>
                <c:pt idx="7063">
                  <c:v>1.3039999999999998</c:v>
                </c:pt>
                <c:pt idx="7064">
                  <c:v>1.29</c:v>
                </c:pt>
                <c:pt idx="7065">
                  <c:v>1.3089999999999999</c:v>
                </c:pt>
                <c:pt idx="7066">
                  <c:v>1.4300000000000002</c:v>
                </c:pt>
                <c:pt idx="7067">
                  <c:v>1.3580000000000001</c:v>
                </c:pt>
                <c:pt idx="7068">
                  <c:v>1.3439999999999999</c:v>
                </c:pt>
                <c:pt idx="7069">
                  <c:v>1.35</c:v>
                </c:pt>
                <c:pt idx="7070">
                  <c:v>2.339</c:v>
                </c:pt>
                <c:pt idx="7071">
                  <c:v>2.8649999999999998</c:v>
                </c:pt>
                <c:pt idx="7072">
                  <c:v>3.4450000000000003</c:v>
                </c:pt>
                <c:pt idx="7073">
                  <c:v>4.99</c:v>
                </c:pt>
                <c:pt idx="7074">
                  <c:v>4.9969999999999999</c:v>
                </c:pt>
                <c:pt idx="7075">
                  <c:v>4.492</c:v>
                </c:pt>
                <c:pt idx="7076">
                  <c:v>3.5880000000000001</c:v>
                </c:pt>
                <c:pt idx="7077">
                  <c:v>3.2240000000000002</c:v>
                </c:pt>
                <c:pt idx="7078">
                  <c:v>2.9050000000000002</c:v>
                </c:pt>
                <c:pt idx="7079">
                  <c:v>2.8609999999999998</c:v>
                </c:pt>
                <c:pt idx="7080">
                  <c:v>2.786</c:v>
                </c:pt>
                <c:pt idx="7081">
                  <c:v>2.6429999999999998</c:v>
                </c:pt>
                <c:pt idx="7082">
                  <c:v>2.3069999999999999</c:v>
                </c:pt>
                <c:pt idx="7083">
                  <c:v>2.222</c:v>
                </c:pt>
                <c:pt idx="7084">
                  <c:v>3.0329999999999999</c:v>
                </c:pt>
                <c:pt idx="7085">
                  <c:v>4.2359999999999998</c:v>
                </c:pt>
                <c:pt idx="7086">
                  <c:v>5.0209999999999999</c:v>
                </c:pt>
                <c:pt idx="7087">
                  <c:v>5</c:v>
                </c:pt>
                <c:pt idx="7088">
                  <c:v>4.5389999999999997</c:v>
                </c:pt>
                <c:pt idx="7089">
                  <c:v>4.6020000000000003</c:v>
                </c:pt>
                <c:pt idx="7090">
                  <c:v>4.6100000000000003</c:v>
                </c:pt>
                <c:pt idx="7091">
                  <c:v>4.3159999999999998</c:v>
                </c:pt>
                <c:pt idx="7092">
                  <c:v>4.6340000000000003</c:v>
                </c:pt>
                <c:pt idx="7093">
                  <c:v>4.6740000000000004</c:v>
                </c:pt>
                <c:pt idx="7094">
                  <c:v>4.601</c:v>
                </c:pt>
                <c:pt idx="7095">
                  <c:v>4.6079999999999997</c:v>
                </c:pt>
                <c:pt idx="7096">
                  <c:v>4.9659999999999993</c:v>
                </c:pt>
                <c:pt idx="7097">
                  <c:v>5.42</c:v>
                </c:pt>
                <c:pt idx="7098">
                  <c:v>5.391</c:v>
                </c:pt>
                <c:pt idx="7099">
                  <c:v>5.0119999999999996</c:v>
                </c:pt>
                <c:pt idx="7100">
                  <c:v>4.548</c:v>
                </c:pt>
                <c:pt idx="7101">
                  <c:v>3.7700000000000005</c:v>
                </c:pt>
                <c:pt idx="7102">
                  <c:v>3.6</c:v>
                </c:pt>
                <c:pt idx="7103">
                  <c:v>3.1680000000000001</c:v>
                </c:pt>
                <c:pt idx="7104">
                  <c:v>3.2409999999999997</c:v>
                </c:pt>
                <c:pt idx="7105">
                  <c:v>3.2090000000000005</c:v>
                </c:pt>
                <c:pt idx="7106">
                  <c:v>3.1670000000000003</c:v>
                </c:pt>
                <c:pt idx="7107">
                  <c:v>3.2069999999999999</c:v>
                </c:pt>
                <c:pt idx="7108">
                  <c:v>3.4299999999999997</c:v>
                </c:pt>
                <c:pt idx="7109">
                  <c:v>4.3559999999999999</c:v>
                </c:pt>
                <c:pt idx="7110">
                  <c:v>4.6590000000000007</c:v>
                </c:pt>
                <c:pt idx="7111">
                  <c:v>5.391</c:v>
                </c:pt>
                <c:pt idx="7112">
                  <c:v>4.8420000000000005</c:v>
                </c:pt>
                <c:pt idx="7113">
                  <c:v>4.9079999999999995</c:v>
                </c:pt>
                <c:pt idx="7114">
                  <c:v>4.5389999999999997</c:v>
                </c:pt>
                <c:pt idx="7115">
                  <c:v>3.8579999999999997</c:v>
                </c:pt>
                <c:pt idx="7116">
                  <c:v>3.8229999999999995</c:v>
                </c:pt>
                <c:pt idx="7117">
                  <c:v>3.6990000000000003</c:v>
                </c:pt>
                <c:pt idx="7118">
                  <c:v>3.6990000000000003</c:v>
                </c:pt>
                <c:pt idx="7119">
                  <c:v>3.6100000000000003</c:v>
                </c:pt>
                <c:pt idx="7120">
                  <c:v>3.968</c:v>
                </c:pt>
                <c:pt idx="7121">
                  <c:v>4.49</c:v>
                </c:pt>
                <c:pt idx="7122">
                  <c:v>3.9560000000000004</c:v>
                </c:pt>
                <c:pt idx="7123">
                  <c:v>3.3</c:v>
                </c:pt>
                <c:pt idx="7124">
                  <c:v>3.2600000000000002</c:v>
                </c:pt>
                <c:pt idx="7125">
                  <c:v>3.0179999999999998</c:v>
                </c:pt>
                <c:pt idx="7126">
                  <c:v>2.702</c:v>
                </c:pt>
                <c:pt idx="7127">
                  <c:v>1.5779999999999998</c:v>
                </c:pt>
                <c:pt idx="7128">
                  <c:v>1.5050000000000001</c:v>
                </c:pt>
                <c:pt idx="7129">
                  <c:v>1.2789999999999999</c:v>
                </c:pt>
                <c:pt idx="7130">
                  <c:v>1.399</c:v>
                </c:pt>
                <c:pt idx="7131">
                  <c:v>1.7030000000000001</c:v>
                </c:pt>
                <c:pt idx="7132">
                  <c:v>2.6350000000000002</c:v>
                </c:pt>
                <c:pt idx="7133">
                  <c:v>3.4670000000000001</c:v>
                </c:pt>
                <c:pt idx="7134">
                  <c:v>4.484</c:v>
                </c:pt>
                <c:pt idx="7135">
                  <c:v>4.5</c:v>
                </c:pt>
                <c:pt idx="7136">
                  <c:v>4.3940000000000001</c:v>
                </c:pt>
                <c:pt idx="7137">
                  <c:v>3.7109999999999999</c:v>
                </c:pt>
                <c:pt idx="7138">
                  <c:v>3.157</c:v>
                </c:pt>
                <c:pt idx="7139">
                  <c:v>2.9790000000000001</c:v>
                </c:pt>
                <c:pt idx="7140">
                  <c:v>2.9660000000000002</c:v>
                </c:pt>
                <c:pt idx="7141">
                  <c:v>3</c:v>
                </c:pt>
                <c:pt idx="7142">
                  <c:v>3.105</c:v>
                </c:pt>
                <c:pt idx="7143">
                  <c:v>3.403</c:v>
                </c:pt>
                <c:pt idx="7144">
                  <c:v>4.4740000000000002</c:v>
                </c:pt>
                <c:pt idx="7145">
                  <c:v>5.056</c:v>
                </c:pt>
                <c:pt idx="7146">
                  <c:v>5.6850000000000005</c:v>
                </c:pt>
                <c:pt idx="7147">
                  <c:v>4.6189999999999998</c:v>
                </c:pt>
                <c:pt idx="7148">
                  <c:v>4.5920000000000005</c:v>
                </c:pt>
                <c:pt idx="7149">
                  <c:v>4.0579999999999998</c:v>
                </c:pt>
                <c:pt idx="7150">
                  <c:v>3.3090000000000002</c:v>
                </c:pt>
                <c:pt idx="7151">
                  <c:v>3.1670000000000003</c:v>
                </c:pt>
                <c:pt idx="7152">
                  <c:v>3.218</c:v>
                </c:pt>
                <c:pt idx="7153">
                  <c:v>3.2210000000000001</c:v>
                </c:pt>
                <c:pt idx="7154">
                  <c:v>3.2250000000000001</c:v>
                </c:pt>
                <c:pt idx="7155">
                  <c:v>3.2250000000000001</c:v>
                </c:pt>
                <c:pt idx="7156">
                  <c:v>3.536</c:v>
                </c:pt>
                <c:pt idx="7157">
                  <c:v>4.5250000000000004</c:v>
                </c:pt>
                <c:pt idx="7158">
                  <c:v>5.593</c:v>
                </c:pt>
                <c:pt idx="7159">
                  <c:v>5.6929999999999996</c:v>
                </c:pt>
                <c:pt idx="7160">
                  <c:v>5.1899999999999995</c:v>
                </c:pt>
                <c:pt idx="7161">
                  <c:v>4.601</c:v>
                </c:pt>
                <c:pt idx="7162">
                  <c:v>4.3250000000000002</c:v>
                </c:pt>
                <c:pt idx="7163">
                  <c:v>3.8299999999999996</c:v>
                </c:pt>
                <c:pt idx="7164">
                  <c:v>3.2380000000000004</c:v>
                </c:pt>
                <c:pt idx="7165">
                  <c:v>3.3069999999999999</c:v>
                </c:pt>
                <c:pt idx="7166">
                  <c:v>3.6970000000000001</c:v>
                </c:pt>
                <c:pt idx="7167">
                  <c:v>4.5419999999999998</c:v>
                </c:pt>
                <c:pt idx="7168">
                  <c:v>4.891</c:v>
                </c:pt>
                <c:pt idx="7169">
                  <c:v>5.0030000000000001</c:v>
                </c:pt>
                <c:pt idx="7170">
                  <c:v>5.093</c:v>
                </c:pt>
                <c:pt idx="7171">
                  <c:v>4.0990000000000002</c:v>
                </c:pt>
                <c:pt idx="7172">
                  <c:v>3.4969999999999999</c:v>
                </c:pt>
                <c:pt idx="7173">
                  <c:v>3.2340000000000004</c:v>
                </c:pt>
                <c:pt idx="7174">
                  <c:v>3.0920000000000001</c:v>
                </c:pt>
                <c:pt idx="7175">
                  <c:v>2.2480000000000002</c:v>
                </c:pt>
                <c:pt idx="7176">
                  <c:v>2.1710000000000003</c:v>
                </c:pt>
                <c:pt idx="7177">
                  <c:v>1.29</c:v>
                </c:pt>
                <c:pt idx="7178">
                  <c:v>1.2810000000000001</c:v>
                </c:pt>
                <c:pt idx="7179">
                  <c:v>1.9039999999999999</c:v>
                </c:pt>
                <c:pt idx="7180">
                  <c:v>2.4010000000000002</c:v>
                </c:pt>
                <c:pt idx="7181">
                  <c:v>3.2</c:v>
                </c:pt>
                <c:pt idx="7182">
                  <c:v>3.6789999999999998</c:v>
                </c:pt>
                <c:pt idx="7183">
                  <c:v>3.8909999999999996</c:v>
                </c:pt>
                <c:pt idx="7184">
                  <c:v>3.8689999999999998</c:v>
                </c:pt>
                <c:pt idx="7185">
                  <c:v>3.8359999999999999</c:v>
                </c:pt>
                <c:pt idx="7186">
                  <c:v>3.3520000000000003</c:v>
                </c:pt>
                <c:pt idx="7187">
                  <c:v>2.851</c:v>
                </c:pt>
                <c:pt idx="7188">
                  <c:v>2.597</c:v>
                </c:pt>
                <c:pt idx="7189">
                  <c:v>2.7090000000000001</c:v>
                </c:pt>
                <c:pt idx="7190">
                  <c:v>2.6989999999999998</c:v>
                </c:pt>
                <c:pt idx="7191">
                  <c:v>3.0010000000000003</c:v>
                </c:pt>
                <c:pt idx="7192">
                  <c:v>3.78</c:v>
                </c:pt>
                <c:pt idx="7193">
                  <c:v>4.4930000000000003</c:v>
                </c:pt>
                <c:pt idx="7194">
                  <c:v>4.6929999999999996</c:v>
                </c:pt>
                <c:pt idx="7195">
                  <c:v>4.4180000000000001</c:v>
                </c:pt>
                <c:pt idx="7196">
                  <c:v>3.5990000000000002</c:v>
                </c:pt>
                <c:pt idx="7197">
                  <c:v>3.2039999999999997</c:v>
                </c:pt>
                <c:pt idx="7198">
                  <c:v>1.9170000000000003</c:v>
                </c:pt>
                <c:pt idx="7199">
                  <c:v>1.6039999999999999</c:v>
                </c:pt>
                <c:pt idx="7200">
                  <c:v>0.94100000000000006</c:v>
                </c:pt>
                <c:pt idx="7201">
                  <c:v>3.0000000000000001E-3</c:v>
                </c:pt>
                <c:pt idx="7202">
                  <c:v>-0.96899999999999997</c:v>
                </c:pt>
                <c:pt idx="7203">
                  <c:v>-1.302</c:v>
                </c:pt>
                <c:pt idx="7204">
                  <c:v>-1.5009999999999999</c:v>
                </c:pt>
                <c:pt idx="7205">
                  <c:v>-0.96</c:v>
                </c:pt>
                <c:pt idx="7206">
                  <c:v>1.2E-2</c:v>
                </c:pt>
                <c:pt idx="7207">
                  <c:v>1.2E-2</c:v>
                </c:pt>
                <c:pt idx="7208">
                  <c:v>0.54100000000000004</c:v>
                </c:pt>
                <c:pt idx="7209">
                  <c:v>2.7000000000000003E-2</c:v>
                </c:pt>
                <c:pt idx="7210">
                  <c:v>1.0999999999999999E-2</c:v>
                </c:pt>
                <c:pt idx="7211">
                  <c:v>-0.01</c:v>
                </c:pt>
                <c:pt idx="7212">
                  <c:v>-1.3380000000000001</c:v>
                </c:pt>
                <c:pt idx="7213">
                  <c:v>-3.1420000000000003</c:v>
                </c:pt>
                <c:pt idx="7214">
                  <c:v>-1.7030000000000001</c:v>
                </c:pt>
                <c:pt idx="7215">
                  <c:v>-0.40199999999999997</c:v>
                </c:pt>
                <c:pt idx="7216">
                  <c:v>8.0000000000000002E-3</c:v>
                </c:pt>
                <c:pt idx="7217">
                  <c:v>0.75600000000000001</c:v>
                </c:pt>
                <c:pt idx="7218">
                  <c:v>0.88900000000000001</c:v>
                </c:pt>
                <c:pt idx="7219">
                  <c:v>2.3E-2</c:v>
                </c:pt>
                <c:pt idx="7220">
                  <c:v>-3.819</c:v>
                </c:pt>
                <c:pt idx="7221">
                  <c:v>-4.9979999999999993</c:v>
                </c:pt>
                <c:pt idx="7222">
                  <c:v>-7.0090000000000003</c:v>
                </c:pt>
                <c:pt idx="7223">
                  <c:v>-7.9939999999999998</c:v>
                </c:pt>
                <c:pt idx="7224">
                  <c:v>-8.3000000000000007</c:v>
                </c:pt>
                <c:pt idx="7225">
                  <c:v>-8.3060000000000009</c:v>
                </c:pt>
                <c:pt idx="7226">
                  <c:v>-8.3000000000000007</c:v>
                </c:pt>
                <c:pt idx="7227">
                  <c:v>-8.3030000000000008</c:v>
                </c:pt>
                <c:pt idx="7228">
                  <c:v>-8.3040000000000003</c:v>
                </c:pt>
                <c:pt idx="7229">
                  <c:v>-8.3019999999999996</c:v>
                </c:pt>
                <c:pt idx="7230">
                  <c:v>-8.3010000000000002</c:v>
                </c:pt>
                <c:pt idx="7231">
                  <c:v>-8</c:v>
                </c:pt>
                <c:pt idx="7232">
                  <c:v>-7.9959999999999996</c:v>
                </c:pt>
                <c:pt idx="7233">
                  <c:v>-7.6019999999999994</c:v>
                </c:pt>
                <c:pt idx="7234">
                  <c:v>-6.7080000000000002</c:v>
                </c:pt>
                <c:pt idx="7235">
                  <c:v>-8.1950000000000003</c:v>
                </c:pt>
                <c:pt idx="7236">
                  <c:v>-6.706999999999999</c:v>
                </c:pt>
                <c:pt idx="7237">
                  <c:v>-8.0069999999999997</c:v>
                </c:pt>
                <c:pt idx="7238">
                  <c:v>-7.9950000000000001</c:v>
                </c:pt>
                <c:pt idx="7239">
                  <c:v>-7.6059999999999999</c:v>
                </c:pt>
                <c:pt idx="7240">
                  <c:v>-9.1999999999999998E-2</c:v>
                </c:pt>
                <c:pt idx="7241">
                  <c:v>0.85099999999999998</c:v>
                </c:pt>
                <c:pt idx="7242">
                  <c:v>2.762</c:v>
                </c:pt>
                <c:pt idx="7243">
                  <c:v>2.9769999999999999</c:v>
                </c:pt>
                <c:pt idx="7244">
                  <c:v>2.206</c:v>
                </c:pt>
                <c:pt idx="7245">
                  <c:v>1.7</c:v>
                </c:pt>
                <c:pt idx="7246">
                  <c:v>1.244</c:v>
                </c:pt>
                <c:pt idx="7247">
                  <c:v>-7.0049999999999999</c:v>
                </c:pt>
                <c:pt idx="7248">
                  <c:v>7.4999999999999997E-2</c:v>
                </c:pt>
                <c:pt idx="7249">
                  <c:v>1E-3</c:v>
                </c:pt>
                <c:pt idx="7250">
                  <c:v>8.0000000000000002E-3</c:v>
                </c:pt>
                <c:pt idx="7251">
                  <c:v>0.40499999999999997</c:v>
                </c:pt>
                <c:pt idx="7252">
                  <c:v>0.29500000000000004</c:v>
                </c:pt>
                <c:pt idx="7253">
                  <c:v>1.8089999999999999</c:v>
                </c:pt>
                <c:pt idx="7254">
                  <c:v>2.8420000000000001</c:v>
                </c:pt>
                <c:pt idx="7255">
                  <c:v>3.6429999999999998</c:v>
                </c:pt>
                <c:pt idx="7256">
                  <c:v>3.3479999999999999</c:v>
                </c:pt>
                <c:pt idx="7257">
                  <c:v>3.0379999999999998</c:v>
                </c:pt>
                <c:pt idx="7258">
                  <c:v>2.9739999999999998</c:v>
                </c:pt>
                <c:pt idx="7259">
                  <c:v>2.9460000000000002</c:v>
                </c:pt>
                <c:pt idx="7260">
                  <c:v>2.9699999999999998</c:v>
                </c:pt>
                <c:pt idx="7261">
                  <c:v>2.9980000000000002</c:v>
                </c:pt>
                <c:pt idx="7262">
                  <c:v>3.6360000000000001</c:v>
                </c:pt>
                <c:pt idx="7263">
                  <c:v>4.399</c:v>
                </c:pt>
                <c:pt idx="7264">
                  <c:v>4.6340000000000003</c:v>
                </c:pt>
                <c:pt idx="7265">
                  <c:v>6.1</c:v>
                </c:pt>
                <c:pt idx="7266">
                  <c:v>7.0090000000000003</c:v>
                </c:pt>
                <c:pt idx="7267">
                  <c:v>5.1979999999999995</c:v>
                </c:pt>
                <c:pt idx="7268">
                  <c:v>4.8130000000000006</c:v>
                </c:pt>
                <c:pt idx="7269">
                  <c:v>4.718</c:v>
                </c:pt>
                <c:pt idx="7270">
                  <c:v>4.6049999999999995</c:v>
                </c:pt>
                <c:pt idx="7271">
                  <c:v>4.1970000000000001</c:v>
                </c:pt>
                <c:pt idx="7272">
                  <c:v>3.008</c:v>
                </c:pt>
                <c:pt idx="7273">
                  <c:v>3.089</c:v>
                </c:pt>
                <c:pt idx="7274">
                  <c:v>3.0010000000000003</c:v>
                </c:pt>
                <c:pt idx="7275">
                  <c:v>2.9089999999999998</c:v>
                </c:pt>
                <c:pt idx="7276">
                  <c:v>3.0289999999999999</c:v>
                </c:pt>
                <c:pt idx="7277">
                  <c:v>3.2240000000000002</c:v>
                </c:pt>
                <c:pt idx="7278">
                  <c:v>3.8939999999999997</c:v>
                </c:pt>
                <c:pt idx="7279">
                  <c:v>3.79</c:v>
                </c:pt>
                <c:pt idx="7280">
                  <c:v>4.109</c:v>
                </c:pt>
                <c:pt idx="7281">
                  <c:v>3.992</c:v>
                </c:pt>
                <c:pt idx="7282">
                  <c:v>3.7979999999999996</c:v>
                </c:pt>
                <c:pt idx="7283">
                  <c:v>3.9969999999999999</c:v>
                </c:pt>
                <c:pt idx="7284">
                  <c:v>3.6950000000000003</c:v>
                </c:pt>
                <c:pt idx="7285">
                  <c:v>3.4140000000000001</c:v>
                </c:pt>
                <c:pt idx="7286">
                  <c:v>3.5649999999999999</c:v>
                </c:pt>
                <c:pt idx="7287">
                  <c:v>3.899</c:v>
                </c:pt>
                <c:pt idx="7288">
                  <c:v>4.2450000000000001</c:v>
                </c:pt>
                <c:pt idx="7289">
                  <c:v>4.6920000000000002</c:v>
                </c:pt>
                <c:pt idx="7290">
                  <c:v>4.7359999999999998</c:v>
                </c:pt>
                <c:pt idx="7291">
                  <c:v>4.431</c:v>
                </c:pt>
                <c:pt idx="7292">
                  <c:v>3.9</c:v>
                </c:pt>
                <c:pt idx="7293">
                  <c:v>3.71</c:v>
                </c:pt>
                <c:pt idx="7294">
                  <c:v>3.4979999999999998</c:v>
                </c:pt>
                <c:pt idx="7295">
                  <c:v>3.0819999999999999</c:v>
                </c:pt>
                <c:pt idx="7296">
                  <c:v>2.6909999999999998</c:v>
                </c:pt>
                <c:pt idx="7297">
                  <c:v>2.306</c:v>
                </c:pt>
                <c:pt idx="7298">
                  <c:v>2.2269999999999999</c:v>
                </c:pt>
                <c:pt idx="7299">
                  <c:v>2.2969999999999997</c:v>
                </c:pt>
                <c:pt idx="7300">
                  <c:v>2.6659999999999999</c:v>
                </c:pt>
                <c:pt idx="7301">
                  <c:v>2.7030000000000003</c:v>
                </c:pt>
                <c:pt idx="7302">
                  <c:v>2.907</c:v>
                </c:pt>
                <c:pt idx="7303">
                  <c:v>3.1</c:v>
                </c:pt>
                <c:pt idx="7304">
                  <c:v>3.6060000000000003</c:v>
                </c:pt>
                <c:pt idx="7305">
                  <c:v>3.5159999999999996</c:v>
                </c:pt>
                <c:pt idx="7306">
                  <c:v>3.2369999999999997</c:v>
                </c:pt>
                <c:pt idx="7307">
                  <c:v>3.3079999999999998</c:v>
                </c:pt>
                <c:pt idx="7308">
                  <c:v>2.9790000000000001</c:v>
                </c:pt>
                <c:pt idx="7309">
                  <c:v>2.9059999999999997</c:v>
                </c:pt>
                <c:pt idx="7310">
                  <c:v>2.9180000000000001</c:v>
                </c:pt>
                <c:pt idx="7311">
                  <c:v>3.0010000000000003</c:v>
                </c:pt>
                <c:pt idx="7312">
                  <c:v>3.6930000000000001</c:v>
                </c:pt>
                <c:pt idx="7313">
                  <c:v>4.2490000000000006</c:v>
                </c:pt>
                <c:pt idx="7314">
                  <c:v>4.3929999999999998</c:v>
                </c:pt>
                <c:pt idx="7315">
                  <c:v>4.1970000000000001</c:v>
                </c:pt>
                <c:pt idx="7316">
                  <c:v>3.6520000000000001</c:v>
                </c:pt>
                <c:pt idx="7317">
                  <c:v>3.0070000000000001</c:v>
                </c:pt>
                <c:pt idx="7318">
                  <c:v>2.702</c:v>
                </c:pt>
                <c:pt idx="7319">
                  <c:v>1.8969999999999998</c:v>
                </c:pt>
                <c:pt idx="7320">
                  <c:v>2.0179999999999998</c:v>
                </c:pt>
                <c:pt idx="7321">
                  <c:v>1.262</c:v>
                </c:pt>
                <c:pt idx="7322">
                  <c:v>1.2609999999999999</c:v>
                </c:pt>
                <c:pt idx="7323">
                  <c:v>1.0960000000000001</c:v>
                </c:pt>
                <c:pt idx="7324">
                  <c:v>1.4039999999999999</c:v>
                </c:pt>
                <c:pt idx="7325">
                  <c:v>2.597</c:v>
                </c:pt>
                <c:pt idx="7326">
                  <c:v>3.5049999999999999</c:v>
                </c:pt>
                <c:pt idx="7327">
                  <c:v>4.59</c:v>
                </c:pt>
                <c:pt idx="7328">
                  <c:v>4.383</c:v>
                </c:pt>
                <c:pt idx="7329">
                  <c:v>3.5590000000000002</c:v>
                </c:pt>
                <c:pt idx="7330">
                  <c:v>3.2329999999999997</c:v>
                </c:pt>
                <c:pt idx="7331">
                  <c:v>3.2359999999999998</c:v>
                </c:pt>
                <c:pt idx="7332">
                  <c:v>3.1320000000000001</c:v>
                </c:pt>
                <c:pt idx="7333">
                  <c:v>3.2490000000000001</c:v>
                </c:pt>
                <c:pt idx="7334">
                  <c:v>3.3939999999999997</c:v>
                </c:pt>
                <c:pt idx="7335">
                  <c:v>3.91</c:v>
                </c:pt>
                <c:pt idx="7336">
                  <c:v>4.5950000000000006</c:v>
                </c:pt>
                <c:pt idx="7337">
                  <c:v>5.1909999999999998</c:v>
                </c:pt>
                <c:pt idx="7338">
                  <c:v>5.1920000000000002</c:v>
                </c:pt>
                <c:pt idx="7339">
                  <c:v>5.0069999999999997</c:v>
                </c:pt>
                <c:pt idx="7340">
                  <c:v>4.601</c:v>
                </c:pt>
                <c:pt idx="7341">
                  <c:v>4.2060000000000004</c:v>
                </c:pt>
                <c:pt idx="7342">
                  <c:v>3.6119999999999997</c:v>
                </c:pt>
                <c:pt idx="7343">
                  <c:v>3.5450000000000004</c:v>
                </c:pt>
                <c:pt idx="7344">
                  <c:v>3.6070000000000002</c:v>
                </c:pt>
                <c:pt idx="7345">
                  <c:v>3.6090000000000004</c:v>
                </c:pt>
                <c:pt idx="7346">
                  <c:v>3.6130000000000004</c:v>
                </c:pt>
                <c:pt idx="7347">
                  <c:v>3.6090000000000004</c:v>
                </c:pt>
                <c:pt idx="7348">
                  <c:v>3.8240000000000003</c:v>
                </c:pt>
                <c:pt idx="7349">
                  <c:v>4.0659999999999998</c:v>
                </c:pt>
                <c:pt idx="7350">
                  <c:v>5.2969999999999997</c:v>
                </c:pt>
                <c:pt idx="7351">
                  <c:v>6.1740000000000004</c:v>
                </c:pt>
                <c:pt idx="7352">
                  <c:v>6.58</c:v>
                </c:pt>
                <c:pt idx="7353">
                  <c:v>6.218</c:v>
                </c:pt>
                <c:pt idx="7354">
                  <c:v>5.8689999999999998</c:v>
                </c:pt>
                <c:pt idx="7355">
                  <c:v>5.867</c:v>
                </c:pt>
                <c:pt idx="7356">
                  <c:v>5.4550000000000001</c:v>
                </c:pt>
                <c:pt idx="7357">
                  <c:v>5.15</c:v>
                </c:pt>
                <c:pt idx="7358">
                  <c:v>5.117</c:v>
                </c:pt>
                <c:pt idx="7359">
                  <c:v>5.6639999999999997</c:v>
                </c:pt>
                <c:pt idx="7360">
                  <c:v>6.0880000000000001</c:v>
                </c:pt>
                <c:pt idx="7361">
                  <c:v>6.6</c:v>
                </c:pt>
                <c:pt idx="7362">
                  <c:v>6.8680000000000003</c:v>
                </c:pt>
                <c:pt idx="7363">
                  <c:v>5.8630000000000004</c:v>
                </c:pt>
                <c:pt idx="7364">
                  <c:v>4.9009999999999998</c:v>
                </c:pt>
                <c:pt idx="7365">
                  <c:v>3.9009999999999998</c:v>
                </c:pt>
                <c:pt idx="7366">
                  <c:v>3.6109999999999998</c:v>
                </c:pt>
                <c:pt idx="7367">
                  <c:v>3.4969999999999999</c:v>
                </c:pt>
                <c:pt idx="7368">
                  <c:v>3.6159999999999997</c:v>
                </c:pt>
                <c:pt idx="7369">
                  <c:v>3.5060000000000002</c:v>
                </c:pt>
                <c:pt idx="7370">
                  <c:v>3.4420000000000002</c:v>
                </c:pt>
                <c:pt idx="7371">
                  <c:v>3.3609999999999998</c:v>
                </c:pt>
                <c:pt idx="7372">
                  <c:v>3.34</c:v>
                </c:pt>
                <c:pt idx="7373">
                  <c:v>3.3220000000000001</c:v>
                </c:pt>
                <c:pt idx="7374">
                  <c:v>3.3729999999999998</c:v>
                </c:pt>
                <c:pt idx="7375">
                  <c:v>3.7630000000000003</c:v>
                </c:pt>
                <c:pt idx="7376">
                  <c:v>4.2990000000000004</c:v>
                </c:pt>
                <c:pt idx="7377">
                  <c:v>4.0389999999999997</c:v>
                </c:pt>
                <c:pt idx="7378">
                  <c:v>3.9840000000000004</c:v>
                </c:pt>
                <c:pt idx="7379">
                  <c:v>3.7020000000000004</c:v>
                </c:pt>
                <c:pt idx="7380">
                  <c:v>3.6100000000000003</c:v>
                </c:pt>
                <c:pt idx="7381">
                  <c:v>3.4329999999999998</c:v>
                </c:pt>
                <c:pt idx="7382">
                  <c:v>3.4340000000000002</c:v>
                </c:pt>
                <c:pt idx="7383">
                  <c:v>3.504</c:v>
                </c:pt>
                <c:pt idx="7384">
                  <c:v>3.7030000000000003</c:v>
                </c:pt>
                <c:pt idx="7385">
                  <c:v>4.3940000000000001</c:v>
                </c:pt>
                <c:pt idx="7386">
                  <c:v>3.5509999999999997</c:v>
                </c:pt>
                <c:pt idx="7387">
                  <c:v>3.2250000000000001</c:v>
                </c:pt>
                <c:pt idx="7388">
                  <c:v>2.883</c:v>
                </c:pt>
                <c:pt idx="7389">
                  <c:v>2.677</c:v>
                </c:pt>
                <c:pt idx="7390">
                  <c:v>2.653</c:v>
                </c:pt>
                <c:pt idx="7391">
                  <c:v>2.0649999999999999</c:v>
                </c:pt>
                <c:pt idx="7392">
                  <c:v>1.3199999999999998</c:v>
                </c:pt>
                <c:pt idx="7393">
                  <c:v>1.3199999999999998</c:v>
                </c:pt>
                <c:pt idx="7394">
                  <c:v>1.464</c:v>
                </c:pt>
                <c:pt idx="7395">
                  <c:v>1.1679999999999999</c:v>
                </c:pt>
                <c:pt idx="7396">
                  <c:v>1.393</c:v>
                </c:pt>
                <c:pt idx="7397">
                  <c:v>2.0010000000000003</c:v>
                </c:pt>
                <c:pt idx="7398">
                  <c:v>2.1870000000000003</c:v>
                </c:pt>
                <c:pt idx="7399">
                  <c:v>2.46</c:v>
                </c:pt>
                <c:pt idx="7400">
                  <c:v>3.1469999999999998</c:v>
                </c:pt>
                <c:pt idx="7401">
                  <c:v>3.3920000000000003</c:v>
                </c:pt>
                <c:pt idx="7402">
                  <c:v>3.6539999999999999</c:v>
                </c:pt>
                <c:pt idx="7403">
                  <c:v>3.8899999999999997</c:v>
                </c:pt>
                <c:pt idx="7404">
                  <c:v>3.6109999999999998</c:v>
                </c:pt>
                <c:pt idx="7405">
                  <c:v>3.62</c:v>
                </c:pt>
                <c:pt idx="7406">
                  <c:v>3.3780000000000001</c:v>
                </c:pt>
                <c:pt idx="7407">
                  <c:v>3.3959999999999999</c:v>
                </c:pt>
                <c:pt idx="7408">
                  <c:v>3.5</c:v>
                </c:pt>
                <c:pt idx="7409">
                  <c:v>4.1820000000000004</c:v>
                </c:pt>
                <c:pt idx="7410">
                  <c:v>4.1740000000000004</c:v>
                </c:pt>
                <c:pt idx="7411">
                  <c:v>4.282</c:v>
                </c:pt>
                <c:pt idx="7412">
                  <c:v>4.0909999999999993</c:v>
                </c:pt>
                <c:pt idx="7413">
                  <c:v>3.9590000000000005</c:v>
                </c:pt>
                <c:pt idx="7414">
                  <c:v>3.8869999999999996</c:v>
                </c:pt>
                <c:pt idx="7415">
                  <c:v>3.5</c:v>
                </c:pt>
                <c:pt idx="7416">
                  <c:v>3.1739999999999999</c:v>
                </c:pt>
                <c:pt idx="7417">
                  <c:v>3.3729999999999998</c:v>
                </c:pt>
                <c:pt idx="7418">
                  <c:v>3.3020000000000005</c:v>
                </c:pt>
                <c:pt idx="7419">
                  <c:v>2.7610000000000001</c:v>
                </c:pt>
                <c:pt idx="7420">
                  <c:v>2.81</c:v>
                </c:pt>
                <c:pt idx="7421">
                  <c:v>3.2990000000000004</c:v>
                </c:pt>
                <c:pt idx="7422">
                  <c:v>4.4829999999999997</c:v>
                </c:pt>
                <c:pt idx="7423">
                  <c:v>5.4960000000000004</c:v>
                </c:pt>
                <c:pt idx="7424">
                  <c:v>6.0380000000000003</c:v>
                </c:pt>
                <c:pt idx="7425">
                  <c:v>5.5380000000000003</c:v>
                </c:pt>
                <c:pt idx="7426">
                  <c:v>5.4950000000000001</c:v>
                </c:pt>
                <c:pt idx="7427">
                  <c:v>5.4969999999999999</c:v>
                </c:pt>
                <c:pt idx="7428">
                  <c:v>5.4930000000000003</c:v>
                </c:pt>
                <c:pt idx="7429">
                  <c:v>5.5909999999999993</c:v>
                </c:pt>
                <c:pt idx="7430">
                  <c:v>5.593</c:v>
                </c:pt>
                <c:pt idx="7431">
                  <c:v>5.7850000000000001</c:v>
                </c:pt>
                <c:pt idx="7432">
                  <c:v>6.2560000000000002</c:v>
                </c:pt>
                <c:pt idx="7433">
                  <c:v>7.8280000000000003</c:v>
                </c:pt>
                <c:pt idx="7434">
                  <c:v>8.9930000000000003</c:v>
                </c:pt>
                <c:pt idx="7435">
                  <c:v>7.4510000000000005</c:v>
                </c:pt>
                <c:pt idx="7436">
                  <c:v>5.5020000000000007</c:v>
                </c:pt>
                <c:pt idx="7437">
                  <c:v>5.0609999999999999</c:v>
                </c:pt>
                <c:pt idx="7438">
                  <c:v>3.911</c:v>
                </c:pt>
                <c:pt idx="7439">
                  <c:v>3.71</c:v>
                </c:pt>
                <c:pt idx="7440">
                  <c:v>3.6630000000000003</c:v>
                </c:pt>
                <c:pt idx="7441">
                  <c:v>3.5049999999999999</c:v>
                </c:pt>
                <c:pt idx="7442">
                  <c:v>3.6869999999999998</c:v>
                </c:pt>
                <c:pt idx="7443">
                  <c:v>3.6020000000000003</c:v>
                </c:pt>
                <c:pt idx="7444">
                  <c:v>3.7039999999999997</c:v>
                </c:pt>
                <c:pt idx="7445">
                  <c:v>3.4430000000000001</c:v>
                </c:pt>
                <c:pt idx="7446">
                  <c:v>4.9770000000000003</c:v>
                </c:pt>
                <c:pt idx="7447">
                  <c:v>5.9260000000000002</c:v>
                </c:pt>
                <c:pt idx="7448">
                  <c:v>6.4370000000000003</c:v>
                </c:pt>
                <c:pt idx="7449">
                  <c:v>5.5069999999999997</c:v>
                </c:pt>
                <c:pt idx="7450">
                  <c:v>5.4939999999999998</c:v>
                </c:pt>
                <c:pt idx="7451">
                  <c:v>5.492</c:v>
                </c:pt>
                <c:pt idx="7452">
                  <c:v>5.3929999999999998</c:v>
                </c:pt>
                <c:pt idx="7453">
                  <c:v>5.4939999999999998</c:v>
                </c:pt>
                <c:pt idx="7454">
                  <c:v>5.6929999999999996</c:v>
                </c:pt>
                <c:pt idx="7455">
                  <c:v>6.6749999999999998</c:v>
                </c:pt>
                <c:pt idx="7456">
                  <c:v>6.5579999999999998</c:v>
                </c:pt>
                <c:pt idx="7457">
                  <c:v>8.1560000000000006</c:v>
                </c:pt>
                <c:pt idx="7458">
                  <c:v>8.23</c:v>
                </c:pt>
                <c:pt idx="7459">
                  <c:v>6.42</c:v>
                </c:pt>
                <c:pt idx="7460">
                  <c:v>5.3940000000000001</c:v>
                </c:pt>
                <c:pt idx="7461">
                  <c:v>4.694</c:v>
                </c:pt>
                <c:pt idx="7462">
                  <c:v>4.17</c:v>
                </c:pt>
                <c:pt idx="7463">
                  <c:v>3.786</c:v>
                </c:pt>
                <c:pt idx="7464">
                  <c:v>3.37</c:v>
                </c:pt>
                <c:pt idx="7465">
                  <c:v>3.3619999999999997</c:v>
                </c:pt>
                <c:pt idx="7466">
                  <c:v>3.3639999999999999</c:v>
                </c:pt>
                <c:pt idx="7467">
                  <c:v>3.3619999999999997</c:v>
                </c:pt>
                <c:pt idx="7468">
                  <c:v>3.5529999999999999</c:v>
                </c:pt>
                <c:pt idx="7469">
                  <c:v>3.6149999999999998</c:v>
                </c:pt>
                <c:pt idx="7470">
                  <c:v>5.407</c:v>
                </c:pt>
                <c:pt idx="7471">
                  <c:v>7.5760000000000005</c:v>
                </c:pt>
                <c:pt idx="7472">
                  <c:v>7.9279999999999999</c:v>
                </c:pt>
                <c:pt idx="7473">
                  <c:v>7.706999999999999</c:v>
                </c:pt>
                <c:pt idx="7474">
                  <c:v>8.4220000000000006</c:v>
                </c:pt>
                <c:pt idx="7475">
                  <c:v>8.4980000000000011</c:v>
                </c:pt>
                <c:pt idx="7476">
                  <c:v>8.379999999999999</c:v>
                </c:pt>
                <c:pt idx="7477">
                  <c:v>8.8189999999999991</c:v>
                </c:pt>
                <c:pt idx="7478">
                  <c:v>8.99</c:v>
                </c:pt>
                <c:pt idx="7479">
                  <c:v>8.1890000000000001</c:v>
                </c:pt>
                <c:pt idx="7480">
                  <c:v>8.82</c:v>
                </c:pt>
                <c:pt idx="7481">
                  <c:v>11.14</c:v>
                </c:pt>
                <c:pt idx="7482">
                  <c:v>12</c:v>
                </c:pt>
                <c:pt idx="7483">
                  <c:v>8.9930000000000003</c:v>
                </c:pt>
                <c:pt idx="7484">
                  <c:v>6.01</c:v>
                </c:pt>
                <c:pt idx="7485">
                  <c:v>5.2320000000000002</c:v>
                </c:pt>
                <c:pt idx="7486">
                  <c:v>4.8049999999999997</c:v>
                </c:pt>
                <c:pt idx="7487">
                  <c:v>3.8570000000000002</c:v>
                </c:pt>
                <c:pt idx="7488">
                  <c:v>3.8609999999999998</c:v>
                </c:pt>
                <c:pt idx="7489">
                  <c:v>3.9299999999999997</c:v>
                </c:pt>
                <c:pt idx="7490">
                  <c:v>3.8479999999999999</c:v>
                </c:pt>
                <c:pt idx="7491">
                  <c:v>4.0529999999999999</c:v>
                </c:pt>
                <c:pt idx="7492">
                  <c:v>3.9899999999999998</c:v>
                </c:pt>
                <c:pt idx="7493">
                  <c:v>4.3950000000000005</c:v>
                </c:pt>
                <c:pt idx="7494">
                  <c:v>5.8650000000000002</c:v>
                </c:pt>
                <c:pt idx="7495">
                  <c:v>7.2099999999999991</c:v>
                </c:pt>
                <c:pt idx="7496">
                  <c:v>8.4730000000000008</c:v>
                </c:pt>
                <c:pt idx="7497">
                  <c:v>6.1989999999999998</c:v>
                </c:pt>
                <c:pt idx="7498">
                  <c:v>6.1369999999999996</c:v>
                </c:pt>
                <c:pt idx="7499">
                  <c:v>6.069</c:v>
                </c:pt>
                <c:pt idx="7500">
                  <c:v>5.5119999999999996</c:v>
                </c:pt>
                <c:pt idx="7501">
                  <c:v>5.399</c:v>
                </c:pt>
                <c:pt idx="7502">
                  <c:v>5.4909999999999997</c:v>
                </c:pt>
                <c:pt idx="7503">
                  <c:v>5.5</c:v>
                </c:pt>
                <c:pt idx="7504">
                  <c:v>5.5920000000000005</c:v>
                </c:pt>
                <c:pt idx="7505">
                  <c:v>5.694</c:v>
                </c:pt>
                <c:pt idx="7506">
                  <c:v>5.593</c:v>
                </c:pt>
                <c:pt idx="7507">
                  <c:v>5.5</c:v>
                </c:pt>
                <c:pt idx="7508">
                  <c:v>4.0299999999999994</c:v>
                </c:pt>
                <c:pt idx="7509">
                  <c:v>4.2810000000000006</c:v>
                </c:pt>
                <c:pt idx="7510">
                  <c:v>3.6779999999999999</c:v>
                </c:pt>
                <c:pt idx="7511">
                  <c:v>3.3609999999999998</c:v>
                </c:pt>
                <c:pt idx="7512">
                  <c:v>2.641</c:v>
                </c:pt>
                <c:pt idx="7513">
                  <c:v>2.5350000000000001</c:v>
                </c:pt>
                <c:pt idx="7514">
                  <c:v>2.66</c:v>
                </c:pt>
                <c:pt idx="7515">
                  <c:v>2.7309999999999999</c:v>
                </c:pt>
                <c:pt idx="7516">
                  <c:v>2.71</c:v>
                </c:pt>
                <c:pt idx="7517">
                  <c:v>2.8920000000000003</c:v>
                </c:pt>
                <c:pt idx="7518">
                  <c:v>4.0149999999999997</c:v>
                </c:pt>
                <c:pt idx="7519">
                  <c:v>5.12</c:v>
                </c:pt>
                <c:pt idx="7520">
                  <c:v>4.7409999999999997</c:v>
                </c:pt>
                <c:pt idx="7521">
                  <c:v>3.8609999999999998</c:v>
                </c:pt>
                <c:pt idx="7522">
                  <c:v>3.8890000000000002</c:v>
                </c:pt>
                <c:pt idx="7523">
                  <c:v>3.879</c:v>
                </c:pt>
                <c:pt idx="7524">
                  <c:v>3.5249999999999999</c:v>
                </c:pt>
                <c:pt idx="7525">
                  <c:v>3.1160000000000001</c:v>
                </c:pt>
                <c:pt idx="7526">
                  <c:v>3.016</c:v>
                </c:pt>
                <c:pt idx="7527">
                  <c:v>3.012</c:v>
                </c:pt>
                <c:pt idx="7528">
                  <c:v>3.1019999999999999</c:v>
                </c:pt>
                <c:pt idx="7529">
                  <c:v>3.6189999999999998</c:v>
                </c:pt>
                <c:pt idx="7530">
                  <c:v>3.6020000000000003</c:v>
                </c:pt>
                <c:pt idx="7531">
                  <c:v>3.1079999999999997</c:v>
                </c:pt>
                <c:pt idx="7532">
                  <c:v>2.9390000000000001</c:v>
                </c:pt>
                <c:pt idx="7533">
                  <c:v>2.226</c:v>
                </c:pt>
                <c:pt idx="7534">
                  <c:v>1.5509999999999999</c:v>
                </c:pt>
                <c:pt idx="7535">
                  <c:v>1.1460000000000001</c:v>
                </c:pt>
                <c:pt idx="7536">
                  <c:v>0.91999999999999993</c:v>
                </c:pt>
                <c:pt idx="7537">
                  <c:v>0.20299999999999999</c:v>
                </c:pt>
                <c:pt idx="7538">
                  <c:v>8.0000000000000002E-3</c:v>
                </c:pt>
                <c:pt idx="7539">
                  <c:v>0.64700000000000002</c:v>
                </c:pt>
                <c:pt idx="7540">
                  <c:v>1.127</c:v>
                </c:pt>
                <c:pt idx="7541">
                  <c:v>1.2589999999999999</c:v>
                </c:pt>
                <c:pt idx="7542">
                  <c:v>0.96300000000000008</c:v>
                </c:pt>
                <c:pt idx="7543">
                  <c:v>1.355</c:v>
                </c:pt>
                <c:pt idx="7544">
                  <c:v>2.0100000000000002</c:v>
                </c:pt>
                <c:pt idx="7545">
                  <c:v>2.4660000000000002</c:v>
                </c:pt>
                <c:pt idx="7546">
                  <c:v>2.1469999999999998</c:v>
                </c:pt>
                <c:pt idx="7547">
                  <c:v>1.89</c:v>
                </c:pt>
                <c:pt idx="7548">
                  <c:v>2.1030000000000002</c:v>
                </c:pt>
                <c:pt idx="7549">
                  <c:v>2.286</c:v>
                </c:pt>
                <c:pt idx="7550">
                  <c:v>2.82</c:v>
                </c:pt>
                <c:pt idx="7551">
                  <c:v>3.048</c:v>
                </c:pt>
                <c:pt idx="7552">
                  <c:v>3.5810000000000004</c:v>
                </c:pt>
                <c:pt idx="7553">
                  <c:v>4.4489999999999998</c:v>
                </c:pt>
                <c:pt idx="7554">
                  <c:v>4.6760000000000002</c:v>
                </c:pt>
                <c:pt idx="7555">
                  <c:v>4.1029999999999998</c:v>
                </c:pt>
                <c:pt idx="7556">
                  <c:v>3.5920000000000001</c:v>
                </c:pt>
                <c:pt idx="7557">
                  <c:v>3.5819999999999999</c:v>
                </c:pt>
                <c:pt idx="7558">
                  <c:v>3.7060000000000004</c:v>
                </c:pt>
                <c:pt idx="7559">
                  <c:v>2.8289999999999997</c:v>
                </c:pt>
                <c:pt idx="7560">
                  <c:v>1.407</c:v>
                </c:pt>
                <c:pt idx="7561">
                  <c:v>1.599</c:v>
                </c:pt>
                <c:pt idx="7562">
                  <c:v>1.3800000000000001</c:v>
                </c:pt>
                <c:pt idx="7563">
                  <c:v>1.353</c:v>
                </c:pt>
                <c:pt idx="7564">
                  <c:v>1.5249999999999999</c:v>
                </c:pt>
                <c:pt idx="7565">
                  <c:v>2.1859999999999999</c:v>
                </c:pt>
                <c:pt idx="7566">
                  <c:v>2.2519999999999998</c:v>
                </c:pt>
                <c:pt idx="7567">
                  <c:v>2.706</c:v>
                </c:pt>
                <c:pt idx="7568">
                  <c:v>3.0940000000000003</c:v>
                </c:pt>
                <c:pt idx="7569">
                  <c:v>3.3029999999999999</c:v>
                </c:pt>
                <c:pt idx="7570">
                  <c:v>4.2789999999999999</c:v>
                </c:pt>
                <c:pt idx="7571">
                  <c:v>4.7649999999999997</c:v>
                </c:pt>
                <c:pt idx="7572">
                  <c:v>4.8130000000000006</c:v>
                </c:pt>
                <c:pt idx="7573">
                  <c:v>4.4279999999999999</c:v>
                </c:pt>
                <c:pt idx="7574">
                  <c:v>3.843</c:v>
                </c:pt>
                <c:pt idx="7575">
                  <c:v>3.78</c:v>
                </c:pt>
                <c:pt idx="7576">
                  <c:v>4.0819999999999999</c:v>
                </c:pt>
                <c:pt idx="7577">
                  <c:v>5.391</c:v>
                </c:pt>
                <c:pt idx="7578">
                  <c:v>5.3940000000000001</c:v>
                </c:pt>
                <c:pt idx="7579">
                  <c:v>4.6539999999999999</c:v>
                </c:pt>
                <c:pt idx="7580">
                  <c:v>3.9590000000000005</c:v>
                </c:pt>
                <c:pt idx="7581">
                  <c:v>3.3109999999999999</c:v>
                </c:pt>
                <c:pt idx="7582">
                  <c:v>3.3170000000000002</c:v>
                </c:pt>
                <c:pt idx="7583">
                  <c:v>2.9729999999999999</c:v>
                </c:pt>
                <c:pt idx="7584">
                  <c:v>3.1059999999999999</c:v>
                </c:pt>
                <c:pt idx="7585">
                  <c:v>3.0409999999999999</c:v>
                </c:pt>
                <c:pt idx="7586">
                  <c:v>2.964</c:v>
                </c:pt>
                <c:pt idx="7587">
                  <c:v>2.9660000000000002</c:v>
                </c:pt>
                <c:pt idx="7588">
                  <c:v>2.9790000000000001</c:v>
                </c:pt>
                <c:pt idx="7589">
                  <c:v>3.1680000000000001</c:v>
                </c:pt>
                <c:pt idx="7590">
                  <c:v>4.2759999999999998</c:v>
                </c:pt>
                <c:pt idx="7591">
                  <c:v>5.49</c:v>
                </c:pt>
                <c:pt idx="7592">
                  <c:v>5.4329999999999998</c:v>
                </c:pt>
                <c:pt idx="7593">
                  <c:v>4.8149999999999995</c:v>
                </c:pt>
                <c:pt idx="7594">
                  <c:v>4.5830000000000002</c:v>
                </c:pt>
                <c:pt idx="7595">
                  <c:v>4.6609999999999996</c:v>
                </c:pt>
                <c:pt idx="7596">
                  <c:v>4.1479999999999997</c:v>
                </c:pt>
                <c:pt idx="7597">
                  <c:v>4.8079999999999998</c:v>
                </c:pt>
                <c:pt idx="7598">
                  <c:v>5.0810000000000004</c:v>
                </c:pt>
                <c:pt idx="7599">
                  <c:v>5.4930000000000003</c:v>
                </c:pt>
                <c:pt idx="7600">
                  <c:v>5.5920000000000005</c:v>
                </c:pt>
                <c:pt idx="7601">
                  <c:v>7.008</c:v>
                </c:pt>
                <c:pt idx="7602">
                  <c:v>6.2299999999999995</c:v>
                </c:pt>
                <c:pt idx="7603">
                  <c:v>5.7729999999999997</c:v>
                </c:pt>
                <c:pt idx="7604">
                  <c:v>5.4939999999999998</c:v>
                </c:pt>
                <c:pt idx="7605">
                  <c:v>4.9000000000000004</c:v>
                </c:pt>
                <c:pt idx="7606">
                  <c:v>4.0999999999999996</c:v>
                </c:pt>
                <c:pt idx="7607">
                  <c:v>3.6549999999999998</c:v>
                </c:pt>
                <c:pt idx="7608">
                  <c:v>3.7829999999999999</c:v>
                </c:pt>
                <c:pt idx="7609">
                  <c:v>3.601</c:v>
                </c:pt>
                <c:pt idx="7610">
                  <c:v>3.403</c:v>
                </c:pt>
                <c:pt idx="7611">
                  <c:v>3.3540000000000001</c:v>
                </c:pt>
                <c:pt idx="7612">
                  <c:v>3.3899999999999997</c:v>
                </c:pt>
                <c:pt idx="7613">
                  <c:v>3.4039999999999999</c:v>
                </c:pt>
                <c:pt idx="7614">
                  <c:v>3.8119999999999998</c:v>
                </c:pt>
                <c:pt idx="7615">
                  <c:v>4.3520000000000003</c:v>
                </c:pt>
                <c:pt idx="7616">
                  <c:v>4.9580000000000002</c:v>
                </c:pt>
                <c:pt idx="7617">
                  <c:v>3.72</c:v>
                </c:pt>
                <c:pt idx="7618">
                  <c:v>3.6560000000000001</c:v>
                </c:pt>
                <c:pt idx="7619">
                  <c:v>3.6189999999999998</c:v>
                </c:pt>
                <c:pt idx="7620">
                  <c:v>3.6880000000000002</c:v>
                </c:pt>
                <c:pt idx="7621">
                  <c:v>3.66</c:v>
                </c:pt>
                <c:pt idx="7622">
                  <c:v>3.6859999999999999</c:v>
                </c:pt>
                <c:pt idx="7623">
                  <c:v>4.0069999999999997</c:v>
                </c:pt>
                <c:pt idx="7624">
                  <c:v>4.9060000000000006</c:v>
                </c:pt>
                <c:pt idx="7625">
                  <c:v>5.1710000000000003</c:v>
                </c:pt>
                <c:pt idx="7626">
                  <c:v>5.2939999999999996</c:v>
                </c:pt>
                <c:pt idx="7627">
                  <c:v>5.125</c:v>
                </c:pt>
                <c:pt idx="7628">
                  <c:v>4.492</c:v>
                </c:pt>
                <c:pt idx="7629">
                  <c:v>3.944</c:v>
                </c:pt>
                <c:pt idx="7630">
                  <c:v>3.7600000000000002</c:v>
                </c:pt>
                <c:pt idx="7631">
                  <c:v>3.6360000000000001</c:v>
                </c:pt>
                <c:pt idx="7632">
                  <c:v>3.35</c:v>
                </c:pt>
                <c:pt idx="7633">
                  <c:v>3.4060000000000001</c:v>
                </c:pt>
                <c:pt idx="7634">
                  <c:v>3.3420000000000001</c:v>
                </c:pt>
                <c:pt idx="7635">
                  <c:v>3.5619999999999998</c:v>
                </c:pt>
                <c:pt idx="7636">
                  <c:v>3.3740000000000001</c:v>
                </c:pt>
                <c:pt idx="7637">
                  <c:v>3.7</c:v>
                </c:pt>
                <c:pt idx="7638">
                  <c:v>5.85</c:v>
                </c:pt>
                <c:pt idx="7639">
                  <c:v>7.74</c:v>
                </c:pt>
                <c:pt idx="7640">
                  <c:v>7.8010000000000002</c:v>
                </c:pt>
                <c:pt idx="7641">
                  <c:v>6.8870000000000005</c:v>
                </c:pt>
                <c:pt idx="7642">
                  <c:v>6.165</c:v>
                </c:pt>
                <c:pt idx="7643">
                  <c:v>7.1760000000000002</c:v>
                </c:pt>
                <c:pt idx="7644">
                  <c:v>6.4099999999999993</c:v>
                </c:pt>
                <c:pt idx="7645">
                  <c:v>7.077</c:v>
                </c:pt>
                <c:pt idx="7646">
                  <c:v>7.2810000000000006</c:v>
                </c:pt>
                <c:pt idx="7647">
                  <c:v>7.918000000000001</c:v>
                </c:pt>
                <c:pt idx="7648">
                  <c:v>8.995000000000001</c:v>
                </c:pt>
                <c:pt idx="7649">
                  <c:v>11.209</c:v>
                </c:pt>
                <c:pt idx="7650">
                  <c:v>12.429</c:v>
                </c:pt>
                <c:pt idx="7651">
                  <c:v>8.6340000000000003</c:v>
                </c:pt>
                <c:pt idx="7652">
                  <c:v>7.6129999999999995</c:v>
                </c:pt>
                <c:pt idx="7653">
                  <c:v>6.2009999999999996</c:v>
                </c:pt>
                <c:pt idx="7654">
                  <c:v>5.1909999999999998</c:v>
                </c:pt>
                <c:pt idx="7655">
                  <c:v>3.903</c:v>
                </c:pt>
                <c:pt idx="7656">
                  <c:v>3.7039999999999997</c:v>
                </c:pt>
                <c:pt idx="7657">
                  <c:v>3.7060000000000004</c:v>
                </c:pt>
                <c:pt idx="7658">
                  <c:v>3.6130000000000004</c:v>
                </c:pt>
                <c:pt idx="7659">
                  <c:v>3.6590000000000003</c:v>
                </c:pt>
                <c:pt idx="7660">
                  <c:v>3.7039999999999997</c:v>
                </c:pt>
                <c:pt idx="7661">
                  <c:v>3.6869999999999998</c:v>
                </c:pt>
                <c:pt idx="7662">
                  <c:v>5.1609999999999996</c:v>
                </c:pt>
                <c:pt idx="7663">
                  <c:v>6.1890000000000001</c:v>
                </c:pt>
                <c:pt idx="7664">
                  <c:v>6.8629999999999995</c:v>
                </c:pt>
                <c:pt idx="7665">
                  <c:v>5.702</c:v>
                </c:pt>
                <c:pt idx="7666">
                  <c:v>5.593</c:v>
                </c:pt>
                <c:pt idx="7667">
                  <c:v>5.3959999999999999</c:v>
                </c:pt>
                <c:pt idx="7668">
                  <c:v>4.9009999999999998</c:v>
                </c:pt>
                <c:pt idx="7669">
                  <c:v>4.931</c:v>
                </c:pt>
                <c:pt idx="7670">
                  <c:v>5.4</c:v>
                </c:pt>
                <c:pt idx="7671">
                  <c:v>5.7939999999999996</c:v>
                </c:pt>
                <c:pt idx="7672">
                  <c:v>5.6159999999999997</c:v>
                </c:pt>
                <c:pt idx="7673">
                  <c:v>5.6420000000000003</c:v>
                </c:pt>
                <c:pt idx="7674">
                  <c:v>5.3929999999999998</c:v>
                </c:pt>
                <c:pt idx="7675">
                  <c:v>4.63</c:v>
                </c:pt>
                <c:pt idx="7676">
                  <c:v>3.7030000000000003</c:v>
                </c:pt>
                <c:pt idx="7677">
                  <c:v>3.8029999999999999</c:v>
                </c:pt>
                <c:pt idx="7678">
                  <c:v>3.8149999999999999</c:v>
                </c:pt>
                <c:pt idx="7679">
                  <c:v>3.5070000000000001</c:v>
                </c:pt>
                <c:pt idx="7680">
                  <c:v>3.3149999999999999</c:v>
                </c:pt>
                <c:pt idx="7681">
                  <c:v>3.2719999999999998</c:v>
                </c:pt>
                <c:pt idx="7682">
                  <c:v>3.3159999999999998</c:v>
                </c:pt>
                <c:pt idx="7683">
                  <c:v>3.4060000000000001</c:v>
                </c:pt>
                <c:pt idx="7684">
                  <c:v>3.4049999999999998</c:v>
                </c:pt>
                <c:pt idx="7685">
                  <c:v>3.6090000000000004</c:v>
                </c:pt>
                <c:pt idx="7686">
                  <c:v>4.6829999999999998</c:v>
                </c:pt>
                <c:pt idx="7687">
                  <c:v>4.9990000000000006</c:v>
                </c:pt>
                <c:pt idx="7688">
                  <c:v>5.3929999999999998</c:v>
                </c:pt>
                <c:pt idx="7689">
                  <c:v>4.9990000000000006</c:v>
                </c:pt>
                <c:pt idx="7690">
                  <c:v>4.9969999999999999</c:v>
                </c:pt>
                <c:pt idx="7691">
                  <c:v>4.9969999999999999</c:v>
                </c:pt>
                <c:pt idx="7692">
                  <c:v>4.9090000000000007</c:v>
                </c:pt>
                <c:pt idx="7693">
                  <c:v>4.6549999999999994</c:v>
                </c:pt>
                <c:pt idx="7694">
                  <c:v>4.2299999999999995</c:v>
                </c:pt>
                <c:pt idx="7695">
                  <c:v>4.9950000000000001</c:v>
                </c:pt>
                <c:pt idx="7696">
                  <c:v>4.99</c:v>
                </c:pt>
                <c:pt idx="7697">
                  <c:v>4.9909999999999997</c:v>
                </c:pt>
                <c:pt idx="7698">
                  <c:v>4.8179999999999996</c:v>
                </c:pt>
                <c:pt idx="7699">
                  <c:v>4.2969999999999997</c:v>
                </c:pt>
                <c:pt idx="7700">
                  <c:v>3.835</c:v>
                </c:pt>
                <c:pt idx="7701">
                  <c:v>3.9799999999999995</c:v>
                </c:pt>
                <c:pt idx="7702">
                  <c:v>3.6149999999999998</c:v>
                </c:pt>
                <c:pt idx="7703">
                  <c:v>3.2409999999999997</c:v>
                </c:pt>
                <c:pt idx="7704">
                  <c:v>2.778</c:v>
                </c:pt>
                <c:pt idx="7705">
                  <c:v>2.3559999999999999</c:v>
                </c:pt>
                <c:pt idx="7706">
                  <c:v>2.004</c:v>
                </c:pt>
                <c:pt idx="7707">
                  <c:v>1.7629999999999999</c:v>
                </c:pt>
                <c:pt idx="7708">
                  <c:v>1.333</c:v>
                </c:pt>
                <c:pt idx="7709">
                  <c:v>1.2869999999999999</c:v>
                </c:pt>
                <c:pt idx="7710">
                  <c:v>1.6120000000000001</c:v>
                </c:pt>
                <c:pt idx="7711">
                  <c:v>1.9379999999999999</c:v>
                </c:pt>
                <c:pt idx="7712">
                  <c:v>2.7969999999999997</c:v>
                </c:pt>
                <c:pt idx="7713">
                  <c:v>2.8609999999999998</c:v>
                </c:pt>
                <c:pt idx="7714">
                  <c:v>2.8079999999999998</c:v>
                </c:pt>
                <c:pt idx="7715">
                  <c:v>1.4970000000000001</c:v>
                </c:pt>
                <c:pt idx="7716">
                  <c:v>1.8190000000000002</c:v>
                </c:pt>
                <c:pt idx="7717">
                  <c:v>1.3009999999999999</c:v>
                </c:pt>
                <c:pt idx="7718">
                  <c:v>1.8460000000000001</c:v>
                </c:pt>
                <c:pt idx="7719">
                  <c:v>2.484</c:v>
                </c:pt>
                <c:pt idx="7720">
                  <c:v>2.8329999999999997</c:v>
                </c:pt>
                <c:pt idx="7721">
                  <c:v>2.9769999999999999</c:v>
                </c:pt>
                <c:pt idx="7722">
                  <c:v>2.9699999999999998</c:v>
                </c:pt>
                <c:pt idx="7723">
                  <c:v>2.403</c:v>
                </c:pt>
                <c:pt idx="7724">
                  <c:v>1.306</c:v>
                </c:pt>
                <c:pt idx="7725">
                  <c:v>1.2689999999999999</c:v>
                </c:pt>
                <c:pt idx="7726">
                  <c:v>1.1380000000000001</c:v>
                </c:pt>
                <c:pt idx="7727">
                  <c:v>4.0999999999999995E-2</c:v>
                </c:pt>
                <c:pt idx="7728">
                  <c:v>3.6999999999999998E-2</c:v>
                </c:pt>
                <c:pt idx="7729">
                  <c:v>0.433</c:v>
                </c:pt>
                <c:pt idx="7730">
                  <c:v>0.29100000000000004</c:v>
                </c:pt>
                <c:pt idx="7731">
                  <c:v>0.217</c:v>
                </c:pt>
                <c:pt idx="7732">
                  <c:v>0.21400000000000002</c:v>
                </c:pt>
                <c:pt idx="7733">
                  <c:v>3.0000000000000001E-3</c:v>
                </c:pt>
                <c:pt idx="7734">
                  <c:v>-3.0000000000000001E-3</c:v>
                </c:pt>
                <c:pt idx="7735">
                  <c:v>4.0000000000000001E-3</c:v>
                </c:pt>
                <c:pt idx="7736">
                  <c:v>0.50800000000000001</c:v>
                </c:pt>
                <c:pt idx="7737">
                  <c:v>2.3489999999999998</c:v>
                </c:pt>
                <c:pt idx="7738">
                  <c:v>1.2769999999999999</c:v>
                </c:pt>
                <c:pt idx="7739">
                  <c:v>2.194</c:v>
                </c:pt>
                <c:pt idx="7740">
                  <c:v>1.25</c:v>
                </c:pt>
                <c:pt idx="7741">
                  <c:v>0.90900000000000003</c:v>
                </c:pt>
                <c:pt idx="7742">
                  <c:v>0.50900000000000001</c:v>
                </c:pt>
                <c:pt idx="7743">
                  <c:v>0.96300000000000008</c:v>
                </c:pt>
                <c:pt idx="7744">
                  <c:v>0.59899999999999998</c:v>
                </c:pt>
                <c:pt idx="7745">
                  <c:v>2.3140000000000001</c:v>
                </c:pt>
                <c:pt idx="7746">
                  <c:v>2.194</c:v>
                </c:pt>
                <c:pt idx="7747">
                  <c:v>1.33</c:v>
                </c:pt>
                <c:pt idx="7748">
                  <c:v>1.262</c:v>
                </c:pt>
                <c:pt idx="7749">
                  <c:v>1.1380000000000001</c:v>
                </c:pt>
                <c:pt idx="7750">
                  <c:v>1.395</c:v>
                </c:pt>
                <c:pt idx="7751">
                  <c:v>1.2210000000000001</c:v>
                </c:pt>
                <c:pt idx="7752">
                  <c:v>1.2589999999999999</c:v>
                </c:pt>
                <c:pt idx="7753">
                  <c:v>1.2509999999999999</c:v>
                </c:pt>
                <c:pt idx="7754">
                  <c:v>1.0489999999999999</c:v>
                </c:pt>
                <c:pt idx="7755">
                  <c:v>1.1000000000000001</c:v>
                </c:pt>
                <c:pt idx="7756">
                  <c:v>1.496</c:v>
                </c:pt>
                <c:pt idx="7757">
                  <c:v>2.3809999999999998</c:v>
                </c:pt>
                <c:pt idx="7758">
                  <c:v>3.9939999999999998</c:v>
                </c:pt>
                <c:pt idx="7759">
                  <c:v>4.1989999999999998</c:v>
                </c:pt>
                <c:pt idx="7760">
                  <c:v>4.3920000000000003</c:v>
                </c:pt>
                <c:pt idx="7761">
                  <c:v>4.391</c:v>
                </c:pt>
                <c:pt idx="7762">
                  <c:v>4.3680000000000003</c:v>
                </c:pt>
                <c:pt idx="7763">
                  <c:v>4.3940000000000001</c:v>
                </c:pt>
                <c:pt idx="7764">
                  <c:v>4.4359999999999999</c:v>
                </c:pt>
                <c:pt idx="7765">
                  <c:v>4.9049999999999994</c:v>
                </c:pt>
                <c:pt idx="7766">
                  <c:v>5.3460000000000001</c:v>
                </c:pt>
                <c:pt idx="7767">
                  <c:v>5.0990000000000002</c:v>
                </c:pt>
                <c:pt idx="7768">
                  <c:v>5.93</c:v>
                </c:pt>
                <c:pt idx="7769">
                  <c:v>6.6019999999999994</c:v>
                </c:pt>
                <c:pt idx="7770">
                  <c:v>5.3380000000000001</c:v>
                </c:pt>
                <c:pt idx="7771">
                  <c:v>4.7930000000000001</c:v>
                </c:pt>
                <c:pt idx="7772">
                  <c:v>4.3950000000000005</c:v>
                </c:pt>
                <c:pt idx="7773">
                  <c:v>3.8630000000000004</c:v>
                </c:pt>
                <c:pt idx="7774">
                  <c:v>3.8759999999999999</c:v>
                </c:pt>
                <c:pt idx="7775">
                  <c:v>3.4969999999999999</c:v>
                </c:pt>
                <c:pt idx="7776">
                  <c:v>3.6030000000000002</c:v>
                </c:pt>
                <c:pt idx="7777">
                  <c:v>3.5460000000000003</c:v>
                </c:pt>
                <c:pt idx="7778">
                  <c:v>3.5630000000000002</c:v>
                </c:pt>
                <c:pt idx="7779">
                  <c:v>3.5729999999999995</c:v>
                </c:pt>
                <c:pt idx="7780">
                  <c:v>3.5420000000000003</c:v>
                </c:pt>
                <c:pt idx="7781">
                  <c:v>3.7920000000000003</c:v>
                </c:pt>
                <c:pt idx="7782">
                  <c:v>4.6509999999999998</c:v>
                </c:pt>
                <c:pt idx="7783">
                  <c:v>6.7859999999999996</c:v>
                </c:pt>
                <c:pt idx="7784">
                  <c:v>7.2629999999999999</c:v>
                </c:pt>
                <c:pt idx="7785">
                  <c:v>5.4990000000000006</c:v>
                </c:pt>
                <c:pt idx="7786">
                  <c:v>5.4260000000000002</c:v>
                </c:pt>
                <c:pt idx="7787">
                  <c:v>6.4030000000000005</c:v>
                </c:pt>
                <c:pt idx="7788">
                  <c:v>5.5270000000000001</c:v>
                </c:pt>
                <c:pt idx="7789">
                  <c:v>6.4909999999999997</c:v>
                </c:pt>
                <c:pt idx="7790">
                  <c:v>6.2649999999999997</c:v>
                </c:pt>
                <c:pt idx="7791">
                  <c:v>6.2649999999999997</c:v>
                </c:pt>
                <c:pt idx="7792">
                  <c:v>6.2649999999999997</c:v>
                </c:pt>
                <c:pt idx="7793">
                  <c:v>6.8049999999999997</c:v>
                </c:pt>
                <c:pt idx="7794">
                  <c:v>5.7460000000000004</c:v>
                </c:pt>
                <c:pt idx="7795">
                  <c:v>4.399</c:v>
                </c:pt>
                <c:pt idx="7796">
                  <c:v>3.5420000000000003</c:v>
                </c:pt>
                <c:pt idx="7797">
                  <c:v>3.2640000000000002</c:v>
                </c:pt>
                <c:pt idx="7798">
                  <c:v>3.1309999999999998</c:v>
                </c:pt>
                <c:pt idx="7799">
                  <c:v>2.9690000000000003</c:v>
                </c:pt>
                <c:pt idx="7800">
                  <c:v>2.7149999999999999</c:v>
                </c:pt>
                <c:pt idx="7801">
                  <c:v>1.5699999999999998</c:v>
                </c:pt>
                <c:pt idx="7802">
                  <c:v>1.0699999999999998</c:v>
                </c:pt>
                <c:pt idx="7803">
                  <c:v>1.0960000000000001</c:v>
                </c:pt>
                <c:pt idx="7804">
                  <c:v>1.075</c:v>
                </c:pt>
                <c:pt idx="7805">
                  <c:v>2.024</c:v>
                </c:pt>
                <c:pt idx="7806">
                  <c:v>2.992</c:v>
                </c:pt>
                <c:pt idx="7807">
                  <c:v>3.7369999999999997</c:v>
                </c:pt>
                <c:pt idx="7808">
                  <c:v>3.5720000000000001</c:v>
                </c:pt>
                <c:pt idx="7809">
                  <c:v>3.2490000000000001</c:v>
                </c:pt>
                <c:pt idx="7810">
                  <c:v>3.198</c:v>
                </c:pt>
                <c:pt idx="7811">
                  <c:v>3.18</c:v>
                </c:pt>
                <c:pt idx="7812">
                  <c:v>3.1030000000000002</c:v>
                </c:pt>
                <c:pt idx="7813">
                  <c:v>3.13</c:v>
                </c:pt>
                <c:pt idx="7814">
                  <c:v>3.2560000000000002</c:v>
                </c:pt>
                <c:pt idx="7815">
                  <c:v>4.1429999999999998</c:v>
                </c:pt>
                <c:pt idx="7816">
                  <c:v>5.0060000000000002</c:v>
                </c:pt>
                <c:pt idx="7817">
                  <c:v>6.1259999999999994</c:v>
                </c:pt>
                <c:pt idx="7818">
                  <c:v>5.093</c:v>
                </c:pt>
                <c:pt idx="7819">
                  <c:v>4.3970000000000002</c:v>
                </c:pt>
                <c:pt idx="7820">
                  <c:v>3.9990000000000001</c:v>
                </c:pt>
                <c:pt idx="7821">
                  <c:v>3.37</c:v>
                </c:pt>
                <c:pt idx="7822">
                  <c:v>2.956</c:v>
                </c:pt>
                <c:pt idx="7823">
                  <c:v>2.06</c:v>
                </c:pt>
                <c:pt idx="7824">
                  <c:v>0.96699999999999997</c:v>
                </c:pt>
                <c:pt idx="7825">
                  <c:v>1.276</c:v>
                </c:pt>
                <c:pt idx="7826">
                  <c:v>0.96400000000000008</c:v>
                </c:pt>
                <c:pt idx="7827">
                  <c:v>0.94700000000000006</c:v>
                </c:pt>
                <c:pt idx="7828">
                  <c:v>0.94600000000000006</c:v>
                </c:pt>
                <c:pt idx="7829">
                  <c:v>1.2769999999999999</c:v>
                </c:pt>
                <c:pt idx="7830">
                  <c:v>1.7100000000000002</c:v>
                </c:pt>
                <c:pt idx="7831">
                  <c:v>3.2930000000000001</c:v>
                </c:pt>
                <c:pt idx="7832">
                  <c:v>3.109</c:v>
                </c:pt>
                <c:pt idx="7833">
                  <c:v>2.996</c:v>
                </c:pt>
                <c:pt idx="7834">
                  <c:v>2.403</c:v>
                </c:pt>
                <c:pt idx="7835">
                  <c:v>1.6239999999999999</c:v>
                </c:pt>
                <c:pt idx="7836">
                  <c:v>1.2749999999999999</c:v>
                </c:pt>
                <c:pt idx="7837">
                  <c:v>1.6629999999999998</c:v>
                </c:pt>
                <c:pt idx="7838">
                  <c:v>2.6230000000000002</c:v>
                </c:pt>
                <c:pt idx="7839">
                  <c:v>3.0760000000000001</c:v>
                </c:pt>
                <c:pt idx="7840">
                  <c:v>3.1949999999999998</c:v>
                </c:pt>
                <c:pt idx="7841">
                  <c:v>3.7969999999999997</c:v>
                </c:pt>
                <c:pt idx="7842">
                  <c:v>3.7570000000000001</c:v>
                </c:pt>
                <c:pt idx="7843">
                  <c:v>3.6979999999999995</c:v>
                </c:pt>
                <c:pt idx="7844">
                  <c:v>3.3939999999999997</c:v>
                </c:pt>
                <c:pt idx="7845">
                  <c:v>2.9340000000000002</c:v>
                </c:pt>
                <c:pt idx="7846">
                  <c:v>2.7410000000000001</c:v>
                </c:pt>
                <c:pt idx="7847">
                  <c:v>2.4050000000000002</c:v>
                </c:pt>
                <c:pt idx="7848">
                  <c:v>2.6930000000000001</c:v>
                </c:pt>
                <c:pt idx="7849">
                  <c:v>2.7749999999999999</c:v>
                </c:pt>
                <c:pt idx="7850">
                  <c:v>2.8039999999999998</c:v>
                </c:pt>
                <c:pt idx="7851">
                  <c:v>2.71</c:v>
                </c:pt>
                <c:pt idx="7852">
                  <c:v>2.8220000000000001</c:v>
                </c:pt>
                <c:pt idx="7853">
                  <c:v>3.5659999999999998</c:v>
                </c:pt>
                <c:pt idx="7854">
                  <c:v>4.9009999999999998</c:v>
                </c:pt>
                <c:pt idx="7855">
                  <c:v>4.907</c:v>
                </c:pt>
                <c:pt idx="7856">
                  <c:v>4.8</c:v>
                </c:pt>
                <c:pt idx="7857">
                  <c:v>4.6920000000000002</c:v>
                </c:pt>
                <c:pt idx="7858">
                  <c:v>4.5430000000000001</c:v>
                </c:pt>
                <c:pt idx="7859">
                  <c:v>4.6500000000000004</c:v>
                </c:pt>
                <c:pt idx="7860">
                  <c:v>3.9569999999999999</c:v>
                </c:pt>
                <c:pt idx="7861">
                  <c:v>4.1130000000000004</c:v>
                </c:pt>
                <c:pt idx="7862">
                  <c:v>4.3130000000000006</c:v>
                </c:pt>
                <c:pt idx="7863">
                  <c:v>4.4909999999999997</c:v>
                </c:pt>
                <c:pt idx="7864">
                  <c:v>4.694</c:v>
                </c:pt>
                <c:pt idx="7865">
                  <c:v>5.3970000000000002</c:v>
                </c:pt>
                <c:pt idx="7866">
                  <c:v>5.6240000000000006</c:v>
                </c:pt>
                <c:pt idx="7867">
                  <c:v>5.5969999999999995</c:v>
                </c:pt>
                <c:pt idx="7868">
                  <c:v>4.8</c:v>
                </c:pt>
                <c:pt idx="7869">
                  <c:v>4.798</c:v>
                </c:pt>
                <c:pt idx="7870">
                  <c:v>4.798</c:v>
                </c:pt>
                <c:pt idx="7871">
                  <c:v>4.0990000000000002</c:v>
                </c:pt>
                <c:pt idx="7872">
                  <c:v>3.9889999999999999</c:v>
                </c:pt>
                <c:pt idx="7873">
                  <c:v>3.6189999999999998</c:v>
                </c:pt>
                <c:pt idx="7874">
                  <c:v>3.4490000000000003</c:v>
                </c:pt>
                <c:pt idx="7875">
                  <c:v>3.62</c:v>
                </c:pt>
                <c:pt idx="7876">
                  <c:v>3.8</c:v>
                </c:pt>
                <c:pt idx="7877">
                  <c:v>3.5859999999999999</c:v>
                </c:pt>
                <c:pt idx="7878">
                  <c:v>3.5030000000000001</c:v>
                </c:pt>
                <c:pt idx="7879">
                  <c:v>4.2370000000000001</c:v>
                </c:pt>
                <c:pt idx="7880">
                  <c:v>4.9950000000000001</c:v>
                </c:pt>
                <c:pt idx="7881">
                  <c:v>4.9939999999999998</c:v>
                </c:pt>
                <c:pt idx="7882">
                  <c:v>5.1970000000000001</c:v>
                </c:pt>
                <c:pt idx="7883">
                  <c:v>5.351</c:v>
                </c:pt>
                <c:pt idx="7884">
                  <c:v>4.9960000000000004</c:v>
                </c:pt>
                <c:pt idx="7885">
                  <c:v>4.6979999999999995</c:v>
                </c:pt>
                <c:pt idx="7886">
                  <c:v>3.8979999999999997</c:v>
                </c:pt>
                <c:pt idx="7887">
                  <c:v>3.5289999999999999</c:v>
                </c:pt>
                <c:pt idx="7888">
                  <c:v>3.9560000000000004</c:v>
                </c:pt>
                <c:pt idx="7889">
                  <c:v>4.4260000000000002</c:v>
                </c:pt>
                <c:pt idx="7890">
                  <c:v>3.8409999999999997</c:v>
                </c:pt>
                <c:pt idx="7891">
                  <c:v>3.7930000000000001</c:v>
                </c:pt>
                <c:pt idx="7892">
                  <c:v>3.6119999999999997</c:v>
                </c:pt>
                <c:pt idx="7893">
                  <c:v>3.2119999999999997</c:v>
                </c:pt>
                <c:pt idx="7894">
                  <c:v>3.0089999999999999</c:v>
                </c:pt>
                <c:pt idx="7895">
                  <c:v>2.758</c:v>
                </c:pt>
                <c:pt idx="7896">
                  <c:v>1.921</c:v>
                </c:pt>
                <c:pt idx="7897">
                  <c:v>1.2589999999999999</c:v>
                </c:pt>
                <c:pt idx="7898">
                  <c:v>1.1560000000000001</c:v>
                </c:pt>
                <c:pt idx="7899">
                  <c:v>1.145</c:v>
                </c:pt>
                <c:pt idx="7900">
                  <c:v>1.5740000000000001</c:v>
                </c:pt>
                <c:pt idx="7901">
                  <c:v>1.2849999999999999</c:v>
                </c:pt>
                <c:pt idx="7902">
                  <c:v>1.141</c:v>
                </c:pt>
                <c:pt idx="7903">
                  <c:v>0.97699999999999998</c:v>
                </c:pt>
                <c:pt idx="7904">
                  <c:v>1.9359999999999999</c:v>
                </c:pt>
                <c:pt idx="7905">
                  <c:v>1.1579999999999999</c:v>
                </c:pt>
                <c:pt idx="7906">
                  <c:v>1.9949999999999999</c:v>
                </c:pt>
                <c:pt idx="7907">
                  <c:v>2.16</c:v>
                </c:pt>
                <c:pt idx="7908">
                  <c:v>1.1480000000000001</c:v>
                </c:pt>
                <c:pt idx="7909">
                  <c:v>1.149</c:v>
                </c:pt>
                <c:pt idx="7910">
                  <c:v>1.575</c:v>
                </c:pt>
                <c:pt idx="7911">
                  <c:v>1.5550000000000002</c:v>
                </c:pt>
                <c:pt idx="7912">
                  <c:v>2.3600000000000003</c:v>
                </c:pt>
                <c:pt idx="7913">
                  <c:v>2.9170000000000003</c:v>
                </c:pt>
                <c:pt idx="7914">
                  <c:v>2.9430000000000001</c:v>
                </c:pt>
                <c:pt idx="7915">
                  <c:v>2.9510000000000001</c:v>
                </c:pt>
                <c:pt idx="7916">
                  <c:v>2.907</c:v>
                </c:pt>
                <c:pt idx="7917">
                  <c:v>2.9010000000000002</c:v>
                </c:pt>
                <c:pt idx="7918">
                  <c:v>2.8370000000000002</c:v>
                </c:pt>
                <c:pt idx="7919">
                  <c:v>2.194</c:v>
                </c:pt>
                <c:pt idx="7920">
                  <c:v>1.147</c:v>
                </c:pt>
                <c:pt idx="7921">
                  <c:v>1.4949999999999999</c:v>
                </c:pt>
                <c:pt idx="7922">
                  <c:v>1.706</c:v>
                </c:pt>
                <c:pt idx="7923">
                  <c:v>1.306</c:v>
                </c:pt>
                <c:pt idx="7924">
                  <c:v>1.002</c:v>
                </c:pt>
                <c:pt idx="7925">
                  <c:v>2.0960000000000001</c:v>
                </c:pt>
                <c:pt idx="7926">
                  <c:v>4.01</c:v>
                </c:pt>
                <c:pt idx="7927">
                  <c:v>3.6119999999999997</c:v>
                </c:pt>
                <c:pt idx="7928">
                  <c:v>4.0060000000000002</c:v>
                </c:pt>
                <c:pt idx="7929">
                  <c:v>3.6040000000000001</c:v>
                </c:pt>
                <c:pt idx="7930">
                  <c:v>3.4060000000000001</c:v>
                </c:pt>
                <c:pt idx="7931">
                  <c:v>3.4729999999999999</c:v>
                </c:pt>
                <c:pt idx="7932">
                  <c:v>3.1100000000000003</c:v>
                </c:pt>
                <c:pt idx="7933">
                  <c:v>3.2380000000000004</c:v>
                </c:pt>
                <c:pt idx="7934">
                  <c:v>3.3329999999999997</c:v>
                </c:pt>
                <c:pt idx="7935">
                  <c:v>3.4820000000000002</c:v>
                </c:pt>
                <c:pt idx="7936">
                  <c:v>3.5700000000000003</c:v>
                </c:pt>
                <c:pt idx="7937">
                  <c:v>4.032</c:v>
                </c:pt>
                <c:pt idx="7938">
                  <c:v>3.6700000000000004</c:v>
                </c:pt>
                <c:pt idx="7939">
                  <c:v>3.5259999999999998</c:v>
                </c:pt>
                <c:pt idx="7940">
                  <c:v>3.5950000000000002</c:v>
                </c:pt>
                <c:pt idx="7941">
                  <c:v>3.093</c:v>
                </c:pt>
                <c:pt idx="7942">
                  <c:v>3</c:v>
                </c:pt>
                <c:pt idx="7943">
                  <c:v>1.587</c:v>
                </c:pt>
                <c:pt idx="7944">
                  <c:v>2.25</c:v>
                </c:pt>
                <c:pt idx="7945">
                  <c:v>1.607</c:v>
                </c:pt>
                <c:pt idx="7946">
                  <c:v>1.546</c:v>
                </c:pt>
                <c:pt idx="7947">
                  <c:v>1.629</c:v>
                </c:pt>
                <c:pt idx="7948">
                  <c:v>2.2039999999999997</c:v>
                </c:pt>
                <c:pt idx="7949">
                  <c:v>2.4699999999999998</c:v>
                </c:pt>
                <c:pt idx="7950">
                  <c:v>3.4009999999999998</c:v>
                </c:pt>
                <c:pt idx="7951">
                  <c:v>4.0129999999999999</c:v>
                </c:pt>
                <c:pt idx="7952">
                  <c:v>3.778</c:v>
                </c:pt>
                <c:pt idx="7953">
                  <c:v>3.6390000000000002</c:v>
                </c:pt>
                <c:pt idx="7954">
                  <c:v>3.5840000000000005</c:v>
                </c:pt>
                <c:pt idx="7955">
                  <c:v>3.6049999999999995</c:v>
                </c:pt>
                <c:pt idx="7956">
                  <c:v>3.9909999999999997</c:v>
                </c:pt>
                <c:pt idx="7957">
                  <c:v>4.5069999999999997</c:v>
                </c:pt>
                <c:pt idx="7958">
                  <c:v>4.859</c:v>
                </c:pt>
                <c:pt idx="7959">
                  <c:v>5.2939999999999996</c:v>
                </c:pt>
                <c:pt idx="7960">
                  <c:v>5.1970000000000001</c:v>
                </c:pt>
                <c:pt idx="7961">
                  <c:v>5.9700000000000006</c:v>
                </c:pt>
                <c:pt idx="7962">
                  <c:v>5.298</c:v>
                </c:pt>
                <c:pt idx="7963">
                  <c:v>5.1319999999999997</c:v>
                </c:pt>
                <c:pt idx="7964">
                  <c:v>4.9990000000000006</c:v>
                </c:pt>
                <c:pt idx="7965">
                  <c:v>3.6590000000000003</c:v>
                </c:pt>
                <c:pt idx="7966">
                  <c:v>3.6640000000000001</c:v>
                </c:pt>
                <c:pt idx="7967">
                  <c:v>3.5009999999999999</c:v>
                </c:pt>
                <c:pt idx="7968">
                  <c:v>3.6560000000000001</c:v>
                </c:pt>
                <c:pt idx="7969">
                  <c:v>3.6789999999999998</c:v>
                </c:pt>
                <c:pt idx="7970">
                  <c:v>3.556</c:v>
                </c:pt>
                <c:pt idx="7971">
                  <c:v>3.5060000000000002</c:v>
                </c:pt>
                <c:pt idx="7972">
                  <c:v>3.617</c:v>
                </c:pt>
                <c:pt idx="7973">
                  <c:v>3.8969999999999998</c:v>
                </c:pt>
                <c:pt idx="7974">
                  <c:v>5.7720000000000002</c:v>
                </c:pt>
                <c:pt idx="7975">
                  <c:v>8.4969999999999999</c:v>
                </c:pt>
                <c:pt idx="7976">
                  <c:v>8.8520000000000003</c:v>
                </c:pt>
                <c:pt idx="7977">
                  <c:v>9.01</c:v>
                </c:pt>
                <c:pt idx="7978">
                  <c:v>8.8330000000000002</c:v>
                </c:pt>
                <c:pt idx="7979">
                  <c:v>8.6</c:v>
                </c:pt>
                <c:pt idx="7980">
                  <c:v>8.218</c:v>
                </c:pt>
                <c:pt idx="7981">
                  <c:v>8.24</c:v>
                </c:pt>
                <c:pt idx="7982">
                  <c:v>8.9209999999999994</c:v>
                </c:pt>
                <c:pt idx="7983">
                  <c:v>9.0400000000000009</c:v>
                </c:pt>
                <c:pt idx="7984">
                  <c:v>9.7799999999999994</c:v>
                </c:pt>
                <c:pt idx="7985">
                  <c:v>11.849</c:v>
                </c:pt>
                <c:pt idx="7986">
                  <c:v>11.036</c:v>
                </c:pt>
                <c:pt idx="7987">
                  <c:v>8.5560000000000009</c:v>
                </c:pt>
                <c:pt idx="7988">
                  <c:v>7.734</c:v>
                </c:pt>
                <c:pt idx="7989">
                  <c:v>6.4269999999999996</c:v>
                </c:pt>
                <c:pt idx="7990">
                  <c:v>5.5570000000000004</c:v>
                </c:pt>
                <c:pt idx="7991">
                  <c:v>4.7709999999999999</c:v>
                </c:pt>
                <c:pt idx="7992">
                  <c:v>4.5939999999999994</c:v>
                </c:pt>
                <c:pt idx="7993">
                  <c:v>3.8200000000000003</c:v>
                </c:pt>
                <c:pt idx="7994">
                  <c:v>3.6970000000000001</c:v>
                </c:pt>
                <c:pt idx="7995">
                  <c:v>3.6100000000000003</c:v>
                </c:pt>
                <c:pt idx="7996">
                  <c:v>3.847</c:v>
                </c:pt>
                <c:pt idx="7997">
                  <c:v>4.2720000000000002</c:v>
                </c:pt>
                <c:pt idx="7998">
                  <c:v>5.399</c:v>
                </c:pt>
                <c:pt idx="7999">
                  <c:v>8.375</c:v>
                </c:pt>
                <c:pt idx="8000">
                  <c:v>8.8159999999999989</c:v>
                </c:pt>
                <c:pt idx="8001">
                  <c:v>8.5250000000000004</c:v>
                </c:pt>
                <c:pt idx="8002">
                  <c:v>8.6790000000000003</c:v>
                </c:pt>
                <c:pt idx="8003">
                  <c:v>8.67</c:v>
                </c:pt>
                <c:pt idx="8004">
                  <c:v>8.407</c:v>
                </c:pt>
                <c:pt idx="8005">
                  <c:v>8.3339999999999996</c:v>
                </c:pt>
                <c:pt idx="8006">
                  <c:v>8.2810000000000006</c:v>
                </c:pt>
                <c:pt idx="8007">
                  <c:v>8.4220000000000006</c:v>
                </c:pt>
                <c:pt idx="8008">
                  <c:v>8.6059999999999999</c:v>
                </c:pt>
                <c:pt idx="8009">
                  <c:v>10.012</c:v>
                </c:pt>
                <c:pt idx="8010">
                  <c:v>9.51</c:v>
                </c:pt>
                <c:pt idx="8011">
                  <c:v>8.7240000000000002</c:v>
                </c:pt>
                <c:pt idx="8012">
                  <c:v>6.85</c:v>
                </c:pt>
                <c:pt idx="8013">
                  <c:v>5.1959999999999997</c:v>
                </c:pt>
                <c:pt idx="8014">
                  <c:v>3.8450000000000002</c:v>
                </c:pt>
                <c:pt idx="8015">
                  <c:v>3.6670000000000003</c:v>
                </c:pt>
                <c:pt idx="8016">
                  <c:v>3.5819999999999999</c:v>
                </c:pt>
                <c:pt idx="8017">
                  <c:v>3.8590000000000004</c:v>
                </c:pt>
                <c:pt idx="8018">
                  <c:v>3.718</c:v>
                </c:pt>
                <c:pt idx="8019">
                  <c:v>3.7</c:v>
                </c:pt>
                <c:pt idx="8020">
                  <c:v>3.742</c:v>
                </c:pt>
                <c:pt idx="8021">
                  <c:v>3.6139999999999999</c:v>
                </c:pt>
                <c:pt idx="8022">
                  <c:v>5.5969999999999995</c:v>
                </c:pt>
                <c:pt idx="8023">
                  <c:v>8.1690000000000005</c:v>
                </c:pt>
                <c:pt idx="8024">
                  <c:v>7.5010000000000003</c:v>
                </c:pt>
                <c:pt idx="8025">
                  <c:v>7.2889999999999997</c:v>
                </c:pt>
                <c:pt idx="8026">
                  <c:v>7.0379999999999994</c:v>
                </c:pt>
                <c:pt idx="8027">
                  <c:v>7.4870000000000001</c:v>
                </c:pt>
                <c:pt idx="8028">
                  <c:v>7.4909999999999997</c:v>
                </c:pt>
                <c:pt idx="8029">
                  <c:v>7.3180000000000005</c:v>
                </c:pt>
                <c:pt idx="8030">
                  <c:v>7.25</c:v>
                </c:pt>
                <c:pt idx="8031">
                  <c:v>7.4420000000000002</c:v>
                </c:pt>
                <c:pt idx="8032">
                  <c:v>7.6599999999999993</c:v>
                </c:pt>
                <c:pt idx="8033">
                  <c:v>8.5689999999999991</c:v>
                </c:pt>
                <c:pt idx="8034">
                  <c:v>8.2569999999999997</c:v>
                </c:pt>
                <c:pt idx="8035">
                  <c:v>7.7379999999999995</c:v>
                </c:pt>
                <c:pt idx="8036">
                  <c:v>6.1950000000000003</c:v>
                </c:pt>
                <c:pt idx="8037">
                  <c:v>5.2930000000000001</c:v>
                </c:pt>
                <c:pt idx="8038">
                  <c:v>4.1579999999999995</c:v>
                </c:pt>
                <c:pt idx="8039">
                  <c:v>3.7939999999999996</c:v>
                </c:pt>
                <c:pt idx="8040">
                  <c:v>3.9899999999999998</c:v>
                </c:pt>
                <c:pt idx="8041">
                  <c:v>3.9020000000000001</c:v>
                </c:pt>
                <c:pt idx="8042">
                  <c:v>3.7890000000000001</c:v>
                </c:pt>
                <c:pt idx="8043">
                  <c:v>3.782</c:v>
                </c:pt>
                <c:pt idx="8044">
                  <c:v>3.47</c:v>
                </c:pt>
                <c:pt idx="8045">
                  <c:v>3.6749999999999998</c:v>
                </c:pt>
                <c:pt idx="8046">
                  <c:v>3.407</c:v>
                </c:pt>
                <c:pt idx="8047">
                  <c:v>3.7009999999999996</c:v>
                </c:pt>
                <c:pt idx="8048">
                  <c:v>4.617</c:v>
                </c:pt>
                <c:pt idx="8049">
                  <c:v>4.6100000000000003</c:v>
                </c:pt>
                <c:pt idx="8050">
                  <c:v>4.2329999999999997</c:v>
                </c:pt>
                <c:pt idx="8051">
                  <c:v>4.4020000000000001</c:v>
                </c:pt>
                <c:pt idx="8052">
                  <c:v>4</c:v>
                </c:pt>
                <c:pt idx="8053">
                  <c:v>3.7280000000000002</c:v>
                </c:pt>
                <c:pt idx="8054">
                  <c:v>3.8210000000000002</c:v>
                </c:pt>
                <c:pt idx="8055">
                  <c:v>4.6130000000000004</c:v>
                </c:pt>
                <c:pt idx="8056">
                  <c:v>4.7960000000000003</c:v>
                </c:pt>
                <c:pt idx="8057">
                  <c:v>4.7949999999999999</c:v>
                </c:pt>
                <c:pt idx="8058">
                  <c:v>4.2990000000000004</c:v>
                </c:pt>
                <c:pt idx="8059">
                  <c:v>3.9369999999999998</c:v>
                </c:pt>
                <c:pt idx="8060">
                  <c:v>3.6789999999999998</c:v>
                </c:pt>
                <c:pt idx="8061">
                  <c:v>3.8520000000000003</c:v>
                </c:pt>
                <c:pt idx="8062">
                  <c:v>3.992</c:v>
                </c:pt>
                <c:pt idx="8063">
                  <c:v>3.5680000000000001</c:v>
                </c:pt>
                <c:pt idx="8064">
                  <c:v>3.3170000000000002</c:v>
                </c:pt>
                <c:pt idx="8065">
                  <c:v>3.1930000000000001</c:v>
                </c:pt>
                <c:pt idx="8066">
                  <c:v>3.0430000000000001</c:v>
                </c:pt>
                <c:pt idx="8067">
                  <c:v>2.83</c:v>
                </c:pt>
                <c:pt idx="8068">
                  <c:v>3.044</c:v>
                </c:pt>
                <c:pt idx="8069">
                  <c:v>2.9870000000000001</c:v>
                </c:pt>
                <c:pt idx="8070">
                  <c:v>2.9809999999999999</c:v>
                </c:pt>
                <c:pt idx="8071">
                  <c:v>2.7719999999999998</c:v>
                </c:pt>
                <c:pt idx="8072">
                  <c:v>2.9950000000000001</c:v>
                </c:pt>
                <c:pt idx="8073">
                  <c:v>3.3079999999999998</c:v>
                </c:pt>
                <c:pt idx="8074">
                  <c:v>3.4850000000000003</c:v>
                </c:pt>
                <c:pt idx="8075">
                  <c:v>3.6909999999999998</c:v>
                </c:pt>
                <c:pt idx="8076">
                  <c:v>3.7</c:v>
                </c:pt>
                <c:pt idx="8077">
                  <c:v>3.2920000000000003</c:v>
                </c:pt>
                <c:pt idx="8078">
                  <c:v>3.4060000000000001</c:v>
                </c:pt>
                <c:pt idx="8079">
                  <c:v>3.4289999999999998</c:v>
                </c:pt>
                <c:pt idx="8080">
                  <c:v>3.6970000000000001</c:v>
                </c:pt>
                <c:pt idx="8081">
                  <c:v>3.9359999999999999</c:v>
                </c:pt>
                <c:pt idx="8082">
                  <c:v>3.9</c:v>
                </c:pt>
                <c:pt idx="8083">
                  <c:v>3.7060000000000004</c:v>
                </c:pt>
                <c:pt idx="8084">
                  <c:v>3.6030000000000002</c:v>
                </c:pt>
                <c:pt idx="8085">
                  <c:v>3.3950000000000005</c:v>
                </c:pt>
                <c:pt idx="8086">
                  <c:v>3.3979999999999997</c:v>
                </c:pt>
                <c:pt idx="8087">
                  <c:v>2.8250000000000002</c:v>
                </c:pt>
                <c:pt idx="8088">
                  <c:v>1.2050000000000001</c:v>
                </c:pt>
                <c:pt idx="8089">
                  <c:v>1.7690000000000001</c:v>
                </c:pt>
                <c:pt idx="8090">
                  <c:v>1.5310000000000001</c:v>
                </c:pt>
                <c:pt idx="8091">
                  <c:v>1.2749999999999999</c:v>
                </c:pt>
                <c:pt idx="8092">
                  <c:v>1.718</c:v>
                </c:pt>
                <c:pt idx="8093">
                  <c:v>2.5049999999999999</c:v>
                </c:pt>
                <c:pt idx="8094">
                  <c:v>3.319</c:v>
                </c:pt>
                <c:pt idx="8095">
                  <c:v>3.8560000000000003</c:v>
                </c:pt>
                <c:pt idx="8096">
                  <c:v>4.29</c:v>
                </c:pt>
                <c:pt idx="8097">
                  <c:v>3.8289999999999997</c:v>
                </c:pt>
                <c:pt idx="8098">
                  <c:v>3.7060000000000004</c:v>
                </c:pt>
                <c:pt idx="8099">
                  <c:v>3.8939999999999997</c:v>
                </c:pt>
                <c:pt idx="8100">
                  <c:v>3.6360000000000001</c:v>
                </c:pt>
                <c:pt idx="8101">
                  <c:v>3.9450000000000003</c:v>
                </c:pt>
                <c:pt idx="8102">
                  <c:v>4.3970000000000002</c:v>
                </c:pt>
                <c:pt idx="8103">
                  <c:v>4.6139999999999999</c:v>
                </c:pt>
                <c:pt idx="8104">
                  <c:v>5.0960000000000001</c:v>
                </c:pt>
                <c:pt idx="8105">
                  <c:v>5.1040000000000001</c:v>
                </c:pt>
                <c:pt idx="8106">
                  <c:v>4.8849999999999998</c:v>
                </c:pt>
                <c:pt idx="8107">
                  <c:v>4.5600000000000005</c:v>
                </c:pt>
                <c:pt idx="8108">
                  <c:v>4.2380000000000004</c:v>
                </c:pt>
                <c:pt idx="8109">
                  <c:v>3.9829999999999997</c:v>
                </c:pt>
                <c:pt idx="8110">
                  <c:v>3.3530000000000002</c:v>
                </c:pt>
                <c:pt idx="8111">
                  <c:v>3.0030000000000001</c:v>
                </c:pt>
                <c:pt idx="8112">
                  <c:v>2.8690000000000002</c:v>
                </c:pt>
                <c:pt idx="8113">
                  <c:v>2.8010000000000002</c:v>
                </c:pt>
                <c:pt idx="8114">
                  <c:v>2.6879999999999997</c:v>
                </c:pt>
                <c:pt idx="8115">
                  <c:v>2.7930000000000001</c:v>
                </c:pt>
                <c:pt idx="8116">
                  <c:v>2.823</c:v>
                </c:pt>
                <c:pt idx="8117">
                  <c:v>3.073</c:v>
                </c:pt>
                <c:pt idx="8118">
                  <c:v>3.5390000000000001</c:v>
                </c:pt>
                <c:pt idx="8119">
                  <c:v>3.9689999999999999</c:v>
                </c:pt>
                <c:pt idx="8120">
                  <c:v>4.0049999999999999</c:v>
                </c:pt>
                <c:pt idx="8121">
                  <c:v>4.0359999999999996</c:v>
                </c:pt>
                <c:pt idx="8122">
                  <c:v>4.7590000000000003</c:v>
                </c:pt>
                <c:pt idx="8123">
                  <c:v>4.6779999999999999</c:v>
                </c:pt>
                <c:pt idx="8124">
                  <c:v>4.407</c:v>
                </c:pt>
                <c:pt idx="8125">
                  <c:v>4.2450000000000001</c:v>
                </c:pt>
                <c:pt idx="8126">
                  <c:v>3.9969999999999999</c:v>
                </c:pt>
                <c:pt idx="8127">
                  <c:v>3.9049999999999998</c:v>
                </c:pt>
                <c:pt idx="8128">
                  <c:v>3.9049999999999998</c:v>
                </c:pt>
                <c:pt idx="8129">
                  <c:v>4.3959999999999999</c:v>
                </c:pt>
                <c:pt idx="8130">
                  <c:v>4.0039999999999996</c:v>
                </c:pt>
                <c:pt idx="8131">
                  <c:v>4.6040000000000001</c:v>
                </c:pt>
                <c:pt idx="8132">
                  <c:v>3.5350000000000001</c:v>
                </c:pt>
                <c:pt idx="8133">
                  <c:v>3.0030000000000001</c:v>
                </c:pt>
                <c:pt idx="8134">
                  <c:v>2.806</c:v>
                </c:pt>
                <c:pt idx="8135">
                  <c:v>1.345</c:v>
                </c:pt>
                <c:pt idx="8136">
                  <c:v>1.4339999999999999</c:v>
                </c:pt>
                <c:pt idx="8137">
                  <c:v>1.234</c:v>
                </c:pt>
                <c:pt idx="8138">
                  <c:v>0.97100000000000009</c:v>
                </c:pt>
                <c:pt idx="8139">
                  <c:v>1.27</c:v>
                </c:pt>
                <c:pt idx="8140">
                  <c:v>1.4039999999999999</c:v>
                </c:pt>
                <c:pt idx="8141">
                  <c:v>1.327</c:v>
                </c:pt>
                <c:pt idx="8142">
                  <c:v>2.9569999999999999</c:v>
                </c:pt>
                <c:pt idx="8143">
                  <c:v>3.8240000000000003</c:v>
                </c:pt>
                <c:pt idx="8144">
                  <c:v>3.7590000000000003</c:v>
                </c:pt>
                <c:pt idx="8145">
                  <c:v>3.9130000000000003</c:v>
                </c:pt>
                <c:pt idx="8146">
                  <c:v>3.8220000000000001</c:v>
                </c:pt>
                <c:pt idx="8147">
                  <c:v>3.46</c:v>
                </c:pt>
                <c:pt idx="8148">
                  <c:v>3.4590000000000005</c:v>
                </c:pt>
                <c:pt idx="8149">
                  <c:v>3.6479999999999997</c:v>
                </c:pt>
                <c:pt idx="8150">
                  <c:v>3.9810000000000003</c:v>
                </c:pt>
                <c:pt idx="8151">
                  <c:v>3.9</c:v>
                </c:pt>
                <c:pt idx="8152">
                  <c:v>4.09</c:v>
                </c:pt>
                <c:pt idx="8153">
                  <c:v>4.569</c:v>
                </c:pt>
                <c:pt idx="8154">
                  <c:v>4.1959999999999997</c:v>
                </c:pt>
                <c:pt idx="8155">
                  <c:v>3.9950000000000001</c:v>
                </c:pt>
                <c:pt idx="8156">
                  <c:v>3.9009999999999998</c:v>
                </c:pt>
                <c:pt idx="8157">
                  <c:v>3.8979999999999997</c:v>
                </c:pt>
                <c:pt idx="8158">
                  <c:v>3.1970000000000001</c:v>
                </c:pt>
                <c:pt idx="8159">
                  <c:v>2.7949999999999999</c:v>
                </c:pt>
                <c:pt idx="8160">
                  <c:v>3.0469999999999997</c:v>
                </c:pt>
                <c:pt idx="8161">
                  <c:v>2.9430000000000001</c:v>
                </c:pt>
                <c:pt idx="8162">
                  <c:v>2.657</c:v>
                </c:pt>
                <c:pt idx="8163">
                  <c:v>2.7359999999999998</c:v>
                </c:pt>
                <c:pt idx="8164">
                  <c:v>3.0010000000000003</c:v>
                </c:pt>
                <c:pt idx="8165">
                  <c:v>3.2069999999999999</c:v>
                </c:pt>
                <c:pt idx="8166">
                  <c:v>4.4719999999999995</c:v>
                </c:pt>
                <c:pt idx="8167">
                  <c:v>5.1979999999999995</c:v>
                </c:pt>
                <c:pt idx="8168">
                  <c:v>4.8529999999999998</c:v>
                </c:pt>
                <c:pt idx="8169">
                  <c:v>4.3849999999999998</c:v>
                </c:pt>
                <c:pt idx="8170">
                  <c:v>3.8549999999999995</c:v>
                </c:pt>
                <c:pt idx="8171">
                  <c:v>3.31</c:v>
                </c:pt>
                <c:pt idx="8172">
                  <c:v>3.004</c:v>
                </c:pt>
                <c:pt idx="8173">
                  <c:v>3.1059999999999999</c:v>
                </c:pt>
                <c:pt idx="8174">
                  <c:v>3.2060000000000004</c:v>
                </c:pt>
                <c:pt idx="8175">
                  <c:v>3.7229999999999999</c:v>
                </c:pt>
                <c:pt idx="8176">
                  <c:v>3.8530000000000002</c:v>
                </c:pt>
                <c:pt idx="8177">
                  <c:v>3.9729999999999999</c:v>
                </c:pt>
                <c:pt idx="8178">
                  <c:v>3.7490000000000001</c:v>
                </c:pt>
                <c:pt idx="8179">
                  <c:v>3.2069999999999999</c:v>
                </c:pt>
                <c:pt idx="8180">
                  <c:v>2.806</c:v>
                </c:pt>
                <c:pt idx="8181">
                  <c:v>2.75</c:v>
                </c:pt>
                <c:pt idx="8182">
                  <c:v>2.6420000000000003</c:v>
                </c:pt>
                <c:pt idx="8183">
                  <c:v>2.2610000000000001</c:v>
                </c:pt>
                <c:pt idx="8184">
                  <c:v>1.345</c:v>
                </c:pt>
                <c:pt idx="8185">
                  <c:v>1.22</c:v>
                </c:pt>
                <c:pt idx="8186">
                  <c:v>1.05</c:v>
                </c:pt>
                <c:pt idx="8187">
                  <c:v>1.893</c:v>
                </c:pt>
                <c:pt idx="8188">
                  <c:v>2.456</c:v>
                </c:pt>
                <c:pt idx="8189">
                  <c:v>2.3050000000000002</c:v>
                </c:pt>
                <c:pt idx="8190">
                  <c:v>3.5880000000000001</c:v>
                </c:pt>
                <c:pt idx="8191">
                  <c:v>3.7700000000000005</c:v>
                </c:pt>
                <c:pt idx="8192">
                  <c:v>4.6040000000000001</c:v>
                </c:pt>
                <c:pt idx="8193">
                  <c:v>4.3929999999999998</c:v>
                </c:pt>
                <c:pt idx="8194">
                  <c:v>3.7990000000000004</c:v>
                </c:pt>
                <c:pt idx="8195">
                  <c:v>4.1509999999999998</c:v>
                </c:pt>
                <c:pt idx="8196">
                  <c:v>3.4210000000000003</c:v>
                </c:pt>
                <c:pt idx="8197">
                  <c:v>3.21</c:v>
                </c:pt>
                <c:pt idx="8198">
                  <c:v>3.2170000000000001</c:v>
                </c:pt>
                <c:pt idx="8199">
                  <c:v>3.7979999999999996</c:v>
                </c:pt>
                <c:pt idx="8200">
                  <c:v>4.157</c:v>
                </c:pt>
                <c:pt idx="8201">
                  <c:v>4.0729999999999995</c:v>
                </c:pt>
                <c:pt idx="8202">
                  <c:v>3.996</c:v>
                </c:pt>
                <c:pt idx="8203">
                  <c:v>3.8570000000000002</c:v>
                </c:pt>
                <c:pt idx="8204">
                  <c:v>3.2320000000000002</c:v>
                </c:pt>
                <c:pt idx="8205">
                  <c:v>2.8</c:v>
                </c:pt>
                <c:pt idx="8206">
                  <c:v>2.31</c:v>
                </c:pt>
                <c:pt idx="8207">
                  <c:v>0.92899999999999994</c:v>
                </c:pt>
                <c:pt idx="8208">
                  <c:v>1.5029999999999999</c:v>
                </c:pt>
                <c:pt idx="8209">
                  <c:v>1.2509999999999999</c:v>
                </c:pt>
                <c:pt idx="8210">
                  <c:v>1.0310000000000001</c:v>
                </c:pt>
                <c:pt idx="8211">
                  <c:v>0.92599999999999993</c:v>
                </c:pt>
                <c:pt idx="8212">
                  <c:v>0.91199999999999992</c:v>
                </c:pt>
                <c:pt idx="8213">
                  <c:v>0.89200000000000002</c:v>
                </c:pt>
                <c:pt idx="8214">
                  <c:v>1.006</c:v>
                </c:pt>
                <c:pt idx="8215">
                  <c:v>1.2150000000000001</c:v>
                </c:pt>
                <c:pt idx="8216">
                  <c:v>1.2410000000000001</c:v>
                </c:pt>
                <c:pt idx="8217">
                  <c:v>1.8069999999999999</c:v>
                </c:pt>
                <c:pt idx="8218">
                  <c:v>1.8960000000000001</c:v>
                </c:pt>
                <c:pt idx="8219">
                  <c:v>1.625</c:v>
                </c:pt>
                <c:pt idx="8220">
                  <c:v>1.5029999999999999</c:v>
                </c:pt>
                <c:pt idx="8221">
                  <c:v>1.2390000000000001</c:v>
                </c:pt>
                <c:pt idx="8222">
                  <c:v>1.2529999999999999</c:v>
                </c:pt>
                <c:pt idx="8223">
                  <c:v>1.9410000000000001</c:v>
                </c:pt>
                <c:pt idx="8224">
                  <c:v>2.6510000000000002</c:v>
                </c:pt>
                <c:pt idx="8225">
                  <c:v>3.1670000000000003</c:v>
                </c:pt>
                <c:pt idx="8226">
                  <c:v>2.8449999999999998</c:v>
                </c:pt>
                <c:pt idx="8227">
                  <c:v>2.456</c:v>
                </c:pt>
                <c:pt idx="8228">
                  <c:v>1.58</c:v>
                </c:pt>
                <c:pt idx="8229">
                  <c:v>1.3009999999999999</c:v>
                </c:pt>
                <c:pt idx="8230">
                  <c:v>1.504</c:v>
                </c:pt>
                <c:pt idx="8231">
                  <c:v>1.016</c:v>
                </c:pt>
                <c:pt idx="8232">
                  <c:v>1.431</c:v>
                </c:pt>
                <c:pt idx="8233">
                  <c:v>1.0920000000000001</c:v>
                </c:pt>
                <c:pt idx="8234">
                  <c:v>1.0169999999999999</c:v>
                </c:pt>
                <c:pt idx="8235">
                  <c:v>1.2090000000000001</c:v>
                </c:pt>
                <c:pt idx="8236">
                  <c:v>1.506</c:v>
                </c:pt>
                <c:pt idx="8237">
                  <c:v>1.2230000000000001</c:v>
                </c:pt>
                <c:pt idx="8238">
                  <c:v>1.228</c:v>
                </c:pt>
                <c:pt idx="8239">
                  <c:v>2.0680000000000001</c:v>
                </c:pt>
                <c:pt idx="8240">
                  <c:v>2.7850000000000001</c:v>
                </c:pt>
                <c:pt idx="8241">
                  <c:v>2.8559999999999999</c:v>
                </c:pt>
                <c:pt idx="8242">
                  <c:v>2.915</c:v>
                </c:pt>
                <c:pt idx="8243">
                  <c:v>2.9569999999999999</c:v>
                </c:pt>
                <c:pt idx="8244">
                  <c:v>2.9260000000000002</c:v>
                </c:pt>
                <c:pt idx="8245">
                  <c:v>2.8239999999999998</c:v>
                </c:pt>
                <c:pt idx="8246">
                  <c:v>2.5070000000000001</c:v>
                </c:pt>
                <c:pt idx="8247">
                  <c:v>0.91199999999999992</c:v>
                </c:pt>
                <c:pt idx="8248">
                  <c:v>0.91899999999999993</c:v>
                </c:pt>
                <c:pt idx="8249">
                  <c:v>1.7420000000000002</c:v>
                </c:pt>
                <c:pt idx="8250">
                  <c:v>1.502</c:v>
                </c:pt>
                <c:pt idx="8251">
                  <c:v>1.2050000000000001</c:v>
                </c:pt>
                <c:pt idx="8252">
                  <c:v>1.2269999999999999</c:v>
                </c:pt>
                <c:pt idx="8253">
                  <c:v>1.216</c:v>
                </c:pt>
                <c:pt idx="8254">
                  <c:v>1.4810000000000001</c:v>
                </c:pt>
                <c:pt idx="8255">
                  <c:v>1.2130000000000001</c:v>
                </c:pt>
                <c:pt idx="8256">
                  <c:v>1.5029999999999999</c:v>
                </c:pt>
                <c:pt idx="8257">
                  <c:v>1.087</c:v>
                </c:pt>
                <c:pt idx="8258">
                  <c:v>1.2589999999999999</c:v>
                </c:pt>
                <c:pt idx="8259">
                  <c:v>1.175</c:v>
                </c:pt>
                <c:pt idx="8260">
                  <c:v>1.278</c:v>
                </c:pt>
                <c:pt idx="8261">
                  <c:v>2.3220000000000001</c:v>
                </c:pt>
                <c:pt idx="8262">
                  <c:v>4.7949999999999999</c:v>
                </c:pt>
                <c:pt idx="8263">
                  <c:v>6.2</c:v>
                </c:pt>
                <c:pt idx="8264">
                  <c:v>6.3010000000000002</c:v>
                </c:pt>
                <c:pt idx="8265">
                  <c:v>6.0200000000000005</c:v>
                </c:pt>
                <c:pt idx="8266">
                  <c:v>6.2930000000000001</c:v>
                </c:pt>
                <c:pt idx="8267">
                  <c:v>6.1950000000000003</c:v>
                </c:pt>
                <c:pt idx="8268">
                  <c:v>6.4980000000000002</c:v>
                </c:pt>
                <c:pt idx="8269">
                  <c:v>5.8229999999999995</c:v>
                </c:pt>
                <c:pt idx="8270">
                  <c:v>5.3840000000000003</c:v>
                </c:pt>
                <c:pt idx="8271">
                  <c:v>5.1909999999999998</c:v>
                </c:pt>
                <c:pt idx="8272">
                  <c:v>5.3380000000000001</c:v>
                </c:pt>
                <c:pt idx="8273">
                  <c:v>5.1869999999999994</c:v>
                </c:pt>
                <c:pt idx="8274">
                  <c:v>4.74</c:v>
                </c:pt>
                <c:pt idx="8275">
                  <c:v>3.968</c:v>
                </c:pt>
                <c:pt idx="8276">
                  <c:v>4.07</c:v>
                </c:pt>
                <c:pt idx="8277">
                  <c:v>3.4430000000000001</c:v>
                </c:pt>
                <c:pt idx="8278">
                  <c:v>3.1949999999999998</c:v>
                </c:pt>
                <c:pt idx="8279">
                  <c:v>2.7350000000000003</c:v>
                </c:pt>
                <c:pt idx="8280">
                  <c:v>2.452</c:v>
                </c:pt>
                <c:pt idx="8281">
                  <c:v>2.2210000000000001</c:v>
                </c:pt>
                <c:pt idx="8282">
                  <c:v>1.458</c:v>
                </c:pt>
                <c:pt idx="8283">
                  <c:v>1.2310000000000001</c:v>
                </c:pt>
                <c:pt idx="8284">
                  <c:v>1.42</c:v>
                </c:pt>
                <c:pt idx="8285">
                  <c:v>2.6139999999999999</c:v>
                </c:pt>
                <c:pt idx="8286">
                  <c:v>3.089</c:v>
                </c:pt>
                <c:pt idx="8287">
                  <c:v>3.2320000000000002</c:v>
                </c:pt>
                <c:pt idx="8288">
                  <c:v>3.5189999999999997</c:v>
                </c:pt>
                <c:pt idx="8289">
                  <c:v>3.47</c:v>
                </c:pt>
                <c:pt idx="8290">
                  <c:v>3.4750000000000001</c:v>
                </c:pt>
                <c:pt idx="8291">
                  <c:v>3.5750000000000002</c:v>
                </c:pt>
                <c:pt idx="8292">
                  <c:v>3.6920000000000002</c:v>
                </c:pt>
                <c:pt idx="8293">
                  <c:v>3.9899999999999998</c:v>
                </c:pt>
                <c:pt idx="8294">
                  <c:v>4.3159999999999998</c:v>
                </c:pt>
                <c:pt idx="8295">
                  <c:v>4.5</c:v>
                </c:pt>
                <c:pt idx="8296">
                  <c:v>4.609</c:v>
                </c:pt>
                <c:pt idx="8297">
                  <c:v>5.0950000000000006</c:v>
                </c:pt>
                <c:pt idx="8298">
                  <c:v>4.6950000000000003</c:v>
                </c:pt>
                <c:pt idx="8299">
                  <c:v>4.6079999999999997</c:v>
                </c:pt>
                <c:pt idx="8300">
                  <c:v>4.6100000000000003</c:v>
                </c:pt>
                <c:pt idx="8301">
                  <c:v>4.0950000000000006</c:v>
                </c:pt>
                <c:pt idx="8302">
                  <c:v>3.6740000000000004</c:v>
                </c:pt>
                <c:pt idx="8303">
                  <c:v>2.7960000000000003</c:v>
                </c:pt>
                <c:pt idx="8304">
                  <c:v>2.2549999999999999</c:v>
                </c:pt>
                <c:pt idx="8305">
                  <c:v>2</c:v>
                </c:pt>
                <c:pt idx="8306">
                  <c:v>1.5960000000000001</c:v>
                </c:pt>
                <c:pt idx="8307">
                  <c:v>1.274</c:v>
                </c:pt>
                <c:pt idx="8308">
                  <c:v>1.42</c:v>
                </c:pt>
                <c:pt idx="8309">
                  <c:v>1.802</c:v>
                </c:pt>
                <c:pt idx="8310">
                  <c:v>3.2930000000000001</c:v>
                </c:pt>
                <c:pt idx="8311">
                  <c:v>3.4189999999999996</c:v>
                </c:pt>
                <c:pt idx="8312">
                  <c:v>3.8270000000000004</c:v>
                </c:pt>
                <c:pt idx="8313">
                  <c:v>3.4450000000000003</c:v>
                </c:pt>
                <c:pt idx="8314">
                  <c:v>3.097</c:v>
                </c:pt>
                <c:pt idx="8315">
                  <c:v>2.9829999999999997</c:v>
                </c:pt>
                <c:pt idx="8316">
                  <c:v>2.9699999999999998</c:v>
                </c:pt>
                <c:pt idx="8317">
                  <c:v>2.9980000000000002</c:v>
                </c:pt>
                <c:pt idx="8318">
                  <c:v>3.2439999999999998</c:v>
                </c:pt>
                <c:pt idx="8319">
                  <c:v>3.2909999999999995</c:v>
                </c:pt>
                <c:pt idx="8320">
                  <c:v>3.4490000000000003</c:v>
                </c:pt>
                <c:pt idx="8321">
                  <c:v>3.4460000000000002</c:v>
                </c:pt>
                <c:pt idx="8322">
                  <c:v>3.3939999999999997</c:v>
                </c:pt>
                <c:pt idx="8323">
                  <c:v>3.2749999999999999</c:v>
                </c:pt>
                <c:pt idx="8324">
                  <c:v>2.91</c:v>
                </c:pt>
                <c:pt idx="8325">
                  <c:v>2.262</c:v>
                </c:pt>
                <c:pt idx="8326">
                  <c:v>2.0049999999999999</c:v>
                </c:pt>
                <c:pt idx="8327">
                  <c:v>0.84499999999999997</c:v>
                </c:pt>
                <c:pt idx="8328">
                  <c:v>0.88400000000000001</c:v>
                </c:pt>
                <c:pt idx="8329">
                  <c:v>0.88000000000000012</c:v>
                </c:pt>
                <c:pt idx="8330">
                  <c:v>0.88400000000000001</c:v>
                </c:pt>
                <c:pt idx="8331">
                  <c:v>0.90100000000000002</c:v>
                </c:pt>
                <c:pt idx="8332">
                  <c:v>1.079</c:v>
                </c:pt>
                <c:pt idx="8333">
                  <c:v>1.444</c:v>
                </c:pt>
                <c:pt idx="8334">
                  <c:v>3.2630000000000003</c:v>
                </c:pt>
                <c:pt idx="8335">
                  <c:v>4.5939999999999994</c:v>
                </c:pt>
                <c:pt idx="8336">
                  <c:v>4.2140000000000004</c:v>
                </c:pt>
                <c:pt idx="8337">
                  <c:v>3.3840000000000003</c:v>
                </c:pt>
                <c:pt idx="8338">
                  <c:v>3.2060000000000004</c:v>
                </c:pt>
                <c:pt idx="8339">
                  <c:v>3.1819999999999999</c:v>
                </c:pt>
                <c:pt idx="8340">
                  <c:v>3.1539999999999999</c:v>
                </c:pt>
                <c:pt idx="8341">
                  <c:v>3.1459999999999999</c:v>
                </c:pt>
                <c:pt idx="8342">
                  <c:v>3.2530000000000001</c:v>
                </c:pt>
                <c:pt idx="8343">
                  <c:v>3.6429999999999998</c:v>
                </c:pt>
                <c:pt idx="8344">
                  <c:v>3.843</c:v>
                </c:pt>
                <c:pt idx="8345">
                  <c:v>4.9939999999999998</c:v>
                </c:pt>
                <c:pt idx="8346">
                  <c:v>5.1549999999999994</c:v>
                </c:pt>
                <c:pt idx="8347">
                  <c:v>4.806</c:v>
                </c:pt>
                <c:pt idx="8348">
                  <c:v>4.1899999999999995</c:v>
                </c:pt>
                <c:pt idx="8349">
                  <c:v>3.931</c:v>
                </c:pt>
                <c:pt idx="8350">
                  <c:v>3.4939999999999998</c:v>
                </c:pt>
                <c:pt idx="8351">
                  <c:v>2.8959999999999999</c:v>
                </c:pt>
                <c:pt idx="8352">
                  <c:v>3.2009999999999996</c:v>
                </c:pt>
                <c:pt idx="8353">
                  <c:v>3.093</c:v>
                </c:pt>
                <c:pt idx="8354">
                  <c:v>2.9</c:v>
                </c:pt>
                <c:pt idx="8355">
                  <c:v>2.8969999999999998</c:v>
                </c:pt>
                <c:pt idx="8356">
                  <c:v>2.9569999999999999</c:v>
                </c:pt>
                <c:pt idx="8357">
                  <c:v>3.3170000000000002</c:v>
                </c:pt>
                <c:pt idx="8358">
                  <c:v>4.6950000000000003</c:v>
                </c:pt>
                <c:pt idx="8359">
                  <c:v>5.7170000000000005</c:v>
                </c:pt>
                <c:pt idx="8360">
                  <c:v>5.431</c:v>
                </c:pt>
                <c:pt idx="8361">
                  <c:v>5.3929999999999998</c:v>
                </c:pt>
                <c:pt idx="8362">
                  <c:v>5.2090000000000005</c:v>
                </c:pt>
                <c:pt idx="8363">
                  <c:v>5.2509999999999994</c:v>
                </c:pt>
                <c:pt idx="8364">
                  <c:v>4.8490000000000002</c:v>
                </c:pt>
                <c:pt idx="8365">
                  <c:v>4.7919999999999998</c:v>
                </c:pt>
                <c:pt idx="8366">
                  <c:v>4.8929999999999998</c:v>
                </c:pt>
                <c:pt idx="8367">
                  <c:v>5.2939999999999996</c:v>
                </c:pt>
                <c:pt idx="8368">
                  <c:v>6.0920000000000005</c:v>
                </c:pt>
                <c:pt idx="8369">
                  <c:v>7.4540000000000006</c:v>
                </c:pt>
                <c:pt idx="8370">
                  <c:v>5.9320000000000004</c:v>
                </c:pt>
                <c:pt idx="8371">
                  <c:v>5.391</c:v>
                </c:pt>
                <c:pt idx="8372">
                  <c:v>5.0129999999999999</c:v>
                </c:pt>
                <c:pt idx="8373">
                  <c:v>4.2229999999999999</c:v>
                </c:pt>
                <c:pt idx="8374">
                  <c:v>3.7039999999999997</c:v>
                </c:pt>
                <c:pt idx="8375">
                  <c:v>3.3229999999999995</c:v>
                </c:pt>
                <c:pt idx="8376">
                  <c:v>3.5070000000000001</c:v>
                </c:pt>
                <c:pt idx="8377">
                  <c:v>3.3079999999999998</c:v>
                </c:pt>
                <c:pt idx="8378">
                  <c:v>3.2960000000000003</c:v>
                </c:pt>
                <c:pt idx="8379">
                  <c:v>3.1960000000000002</c:v>
                </c:pt>
                <c:pt idx="8380">
                  <c:v>3.2</c:v>
                </c:pt>
                <c:pt idx="8381">
                  <c:v>3.1760000000000002</c:v>
                </c:pt>
                <c:pt idx="8382">
                  <c:v>3.1579999999999999</c:v>
                </c:pt>
                <c:pt idx="8383">
                  <c:v>3.1390000000000002</c:v>
                </c:pt>
                <c:pt idx="8384">
                  <c:v>3.4009999999999998</c:v>
                </c:pt>
                <c:pt idx="8385">
                  <c:v>4.1560000000000006</c:v>
                </c:pt>
                <c:pt idx="8386">
                  <c:v>4.4340000000000002</c:v>
                </c:pt>
                <c:pt idx="8387">
                  <c:v>4.4030000000000005</c:v>
                </c:pt>
                <c:pt idx="8388">
                  <c:v>4.1689999999999996</c:v>
                </c:pt>
                <c:pt idx="8389">
                  <c:v>3.81</c:v>
                </c:pt>
                <c:pt idx="8390">
                  <c:v>3.6479999999999997</c:v>
                </c:pt>
                <c:pt idx="8391">
                  <c:v>4</c:v>
                </c:pt>
                <c:pt idx="8392">
                  <c:v>4.617</c:v>
                </c:pt>
                <c:pt idx="8393">
                  <c:v>4.8929999999999998</c:v>
                </c:pt>
                <c:pt idx="8394">
                  <c:v>4.6899999999999995</c:v>
                </c:pt>
                <c:pt idx="8395">
                  <c:v>4.2</c:v>
                </c:pt>
                <c:pt idx="8396">
                  <c:v>3.9</c:v>
                </c:pt>
                <c:pt idx="8397">
                  <c:v>3.3619999999999997</c:v>
                </c:pt>
                <c:pt idx="8398">
                  <c:v>3.3009999999999997</c:v>
                </c:pt>
                <c:pt idx="8399">
                  <c:v>2.9020000000000001</c:v>
                </c:pt>
                <c:pt idx="8400">
                  <c:v>2.8899999999999997</c:v>
                </c:pt>
                <c:pt idx="8401">
                  <c:v>2.82</c:v>
                </c:pt>
                <c:pt idx="8402">
                  <c:v>2.82</c:v>
                </c:pt>
                <c:pt idx="8403">
                  <c:v>2.794</c:v>
                </c:pt>
                <c:pt idx="8404">
                  <c:v>2.8210000000000002</c:v>
                </c:pt>
                <c:pt idx="8405">
                  <c:v>2.8380000000000001</c:v>
                </c:pt>
                <c:pt idx="8406">
                  <c:v>2.8579999999999997</c:v>
                </c:pt>
                <c:pt idx="8407">
                  <c:v>2.94</c:v>
                </c:pt>
                <c:pt idx="8408">
                  <c:v>3.1379999999999999</c:v>
                </c:pt>
                <c:pt idx="8409">
                  <c:v>3.4780000000000002</c:v>
                </c:pt>
                <c:pt idx="8410">
                  <c:v>3.8119999999999998</c:v>
                </c:pt>
                <c:pt idx="8411">
                  <c:v>4.3639999999999999</c:v>
                </c:pt>
                <c:pt idx="8412">
                  <c:v>4.157</c:v>
                </c:pt>
                <c:pt idx="8413">
                  <c:v>4.0020000000000007</c:v>
                </c:pt>
                <c:pt idx="8414">
                  <c:v>3.9079999999999999</c:v>
                </c:pt>
                <c:pt idx="8415">
                  <c:v>4.1500000000000004</c:v>
                </c:pt>
                <c:pt idx="8416">
                  <c:v>4.5739999999999998</c:v>
                </c:pt>
                <c:pt idx="8417">
                  <c:v>4.6959999999999997</c:v>
                </c:pt>
                <c:pt idx="8418">
                  <c:v>4.5909999999999993</c:v>
                </c:pt>
                <c:pt idx="8419">
                  <c:v>4.2909999999999995</c:v>
                </c:pt>
                <c:pt idx="8420">
                  <c:v>3.6420000000000003</c:v>
                </c:pt>
                <c:pt idx="8421">
                  <c:v>3.2920000000000003</c:v>
                </c:pt>
                <c:pt idx="8422">
                  <c:v>3.0659999999999998</c:v>
                </c:pt>
                <c:pt idx="8423">
                  <c:v>2.859</c:v>
                </c:pt>
                <c:pt idx="8424">
                  <c:v>3.0430000000000001</c:v>
                </c:pt>
                <c:pt idx="8425">
                  <c:v>2.9899999999999998</c:v>
                </c:pt>
                <c:pt idx="8426">
                  <c:v>2.8149999999999999</c:v>
                </c:pt>
                <c:pt idx="8427">
                  <c:v>2.7389999999999999</c:v>
                </c:pt>
                <c:pt idx="8428">
                  <c:v>2.871</c:v>
                </c:pt>
                <c:pt idx="8429">
                  <c:v>3.3729999999999998</c:v>
                </c:pt>
                <c:pt idx="8430">
                  <c:v>4.62</c:v>
                </c:pt>
                <c:pt idx="8431">
                  <c:v>6.3950000000000005</c:v>
                </c:pt>
                <c:pt idx="8432">
                  <c:v>6.4420000000000002</c:v>
                </c:pt>
                <c:pt idx="8433">
                  <c:v>6.4079999999999995</c:v>
                </c:pt>
                <c:pt idx="8434">
                  <c:v>6.4279999999999999</c:v>
                </c:pt>
                <c:pt idx="8435">
                  <c:v>6.9650000000000007</c:v>
                </c:pt>
                <c:pt idx="8436">
                  <c:v>6.8230000000000004</c:v>
                </c:pt>
                <c:pt idx="8437">
                  <c:v>6.9969999999999999</c:v>
                </c:pt>
                <c:pt idx="8438">
                  <c:v>6.9489999999999998</c:v>
                </c:pt>
                <c:pt idx="8439">
                  <c:v>7.1319999999999997</c:v>
                </c:pt>
                <c:pt idx="8440">
                  <c:v>7.35</c:v>
                </c:pt>
                <c:pt idx="8441">
                  <c:v>7.9719999999999995</c:v>
                </c:pt>
                <c:pt idx="8442">
                  <c:v>7.5840000000000005</c:v>
                </c:pt>
                <c:pt idx="8443">
                  <c:v>6.8870000000000005</c:v>
                </c:pt>
                <c:pt idx="8444">
                  <c:v>6.3310000000000004</c:v>
                </c:pt>
                <c:pt idx="8445">
                  <c:v>5.6579999999999995</c:v>
                </c:pt>
                <c:pt idx="8446">
                  <c:v>4.5030000000000001</c:v>
                </c:pt>
                <c:pt idx="8447">
                  <c:v>3.7290000000000001</c:v>
                </c:pt>
                <c:pt idx="8448">
                  <c:v>4.4340000000000002</c:v>
                </c:pt>
                <c:pt idx="8449">
                  <c:v>3.8069999999999999</c:v>
                </c:pt>
                <c:pt idx="8450">
                  <c:v>3.7590000000000003</c:v>
                </c:pt>
                <c:pt idx="8451">
                  <c:v>3.65</c:v>
                </c:pt>
                <c:pt idx="8452">
                  <c:v>3.8890000000000002</c:v>
                </c:pt>
                <c:pt idx="8453">
                  <c:v>4.101</c:v>
                </c:pt>
                <c:pt idx="8454">
                  <c:v>5.367</c:v>
                </c:pt>
                <c:pt idx="8455">
                  <c:v>6.8170000000000002</c:v>
                </c:pt>
                <c:pt idx="8456">
                  <c:v>7.6909999999999998</c:v>
                </c:pt>
                <c:pt idx="8457">
                  <c:v>7.7060000000000004</c:v>
                </c:pt>
                <c:pt idx="8458">
                  <c:v>7.5299999999999994</c:v>
                </c:pt>
                <c:pt idx="8459">
                  <c:v>7.4</c:v>
                </c:pt>
                <c:pt idx="8460">
                  <c:v>7.0849999999999991</c:v>
                </c:pt>
                <c:pt idx="8461">
                  <c:v>7.0569999999999995</c:v>
                </c:pt>
                <c:pt idx="8462">
                  <c:v>7.0200000000000005</c:v>
                </c:pt>
                <c:pt idx="8463">
                  <c:v>7.0319999999999991</c:v>
                </c:pt>
                <c:pt idx="8464">
                  <c:v>7.581999999999999</c:v>
                </c:pt>
                <c:pt idx="8465">
                  <c:v>7.8280000000000003</c:v>
                </c:pt>
                <c:pt idx="8466">
                  <c:v>7.516</c:v>
                </c:pt>
                <c:pt idx="8467">
                  <c:v>7.5060000000000002</c:v>
                </c:pt>
                <c:pt idx="8468">
                  <c:v>6.6290000000000004</c:v>
                </c:pt>
                <c:pt idx="8469">
                  <c:v>5.2009999999999996</c:v>
                </c:pt>
                <c:pt idx="8470">
                  <c:v>4.8860000000000001</c:v>
                </c:pt>
                <c:pt idx="8471">
                  <c:v>4.1180000000000003</c:v>
                </c:pt>
                <c:pt idx="8472">
                  <c:v>4.4470000000000001</c:v>
                </c:pt>
                <c:pt idx="8473">
                  <c:v>4.01</c:v>
                </c:pt>
                <c:pt idx="8474">
                  <c:v>3.7829999999999999</c:v>
                </c:pt>
                <c:pt idx="8475">
                  <c:v>3.7270000000000003</c:v>
                </c:pt>
                <c:pt idx="8476">
                  <c:v>4.085</c:v>
                </c:pt>
                <c:pt idx="8477">
                  <c:v>4.5789999999999997</c:v>
                </c:pt>
                <c:pt idx="8478">
                  <c:v>5.7350000000000003</c:v>
                </c:pt>
                <c:pt idx="8479">
                  <c:v>7.5980000000000008</c:v>
                </c:pt>
                <c:pt idx="8480">
                  <c:v>7.67</c:v>
                </c:pt>
                <c:pt idx="8481">
                  <c:v>7.6689999999999996</c:v>
                </c:pt>
                <c:pt idx="8482">
                  <c:v>7.6609999999999996</c:v>
                </c:pt>
                <c:pt idx="8483">
                  <c:v>7.6560000000000006</c:v>
                </c:pt>
                <c:pt idx="8484">
                  <c:v>7.6349999999999998</c:v>
                </c:pt>
                <c:pt idx="8485">
                  <c:v>7.6029999999999998</c:v>
                </c:pt>
                <c:pt idx="8486">
                  <c:v>7.4889999999999999</c:v>
                </c:pt>
                <c:pt idx="8487">
                  <c:v>7.2050000000000001</c:v>
                </c:pt>
                <c:pt idx="8488">
                  <c:v>7.6059999999999999</c:v>
                </c:pt>
                <c:pt idx="8489">
                  <c:v>7.93</c:v>
                </c:pt>
                <c:pt idx="8490">
                  <c:v>7.7260000000000009</c:v>
                </c:pt>
                <c:pt idx="8491">
                  <c:v>7.5959999999999992</c:v>
                </c:pt>
                <c:pt idx="8492">
                  <c:v>6.4159999999999995</c:v>
                </c:pt>
                <c:pt idx="8493">
                  <c:v>4.6029999999999998</c:v>
                </c:pt>
                <c:pt idx="8494">
                  <c:v>4.2009999999999996</c:v>
                </c:pt>
                <c:pt idx="8495">
                  <c:v>3.7630000000000003</c:v>
                </c:pt>
                <c:pt idx="8496">
                  <c:v>3.3090000000000002</c:v>
                </c:pt>
                <c:pt idx="8497">
                  <c:v>3.5259999999999998</c:v>
                </c:pt>
                <c:pt idx="8498">
                  <c:v>3.1879999999999997</c:v>
                </c:pt>
                <c:pt idx="8499">
                  <c:v>3.3039999999999998</c:v>
                </c:pt>
                <c:pt idx="8500">
                  <c:v>3.3600000000000003</c:v>
                </c:pt>
                <c:pt idx="8501">
                  <c:v>3.5049999999999999</c:v>
                </c:pt>
                <c:pt idx="8502">
                  <c:v>3.5189999999999997</c:v>
                </c:pt>
                <c:pt idx="8503">
                  <c:v>4.5939999999999994</c:v>
                </c:pt>
                <c:pt idx="8504">
                  <c:v>4.99</c:v>
                </c:pt>
                <c:pt idx="8505">
                  <c:v>5</c:v>
                </c:pt>
                <c:pt idx="8506">
                  <c:v>5.1029999999999998</c:v>
                </c:pt>
                <c:pt idx="8507">
                  <c:v>5.4479999999999995</c:v>
                </c:pt>
                <c:pt idx="8508">
                  <c:v>5.5960000000000001</c:v>
                </c:pt>
                <c:pt idx="8509">
                  <c:v>4.9990000000000006</c:v>
                </c:pt>
                <c:pt idx="8510">
                  <c:v>4.6150000000000002</c:v>
                </c:pt>
                <c:pt idx="8511">
                  <c:v>4.6859999999999999</c:v>
                </c:pt>
                <c:pt idx="8512">
                  <c:v>5.1929999999999996</c:v>
                </c:pt>
                <c:pt idx="8513">
                  <c:v>5.0950000000000006</c:v>
                </c:pt>
                <c:pt idx="8514">
                  <c:v>5.1029999999999998</c:v>
                </c:pt>
                <c:pt idx="8515">
                  <c:v>4.6020000000000003</c:v>
                </c:pt>
                <c:pt idx="8516">
                  <c:v>3.5829999999999997</c:v>
                </c:pt>
                <c:pt idx="8517">
                  <c:v>3.6259999999999999</c:v>
                </c:pt>
                <c:pt idx="8518">
                  <c:v>3.8719999999999999</c:v>
                </c:pt>
                <c:pt idx="8519">
                  <c:v>3.4840000000000004</c:v>
                </c:pt>
                <c:pt idx="8520">
                  <c:v>2.7760000000000002</c:v>
                </c:pt>
                <c:pt idx="8521">
                  <c:v>2.645</c:v>
                </c:pt>
                <c:pt idx="8522">
                  <c:v>2.62</c:v>
                </c:pt>
                <c:pt idx="8523">
                  <c:v>2.6360000000000001</c:v>
                </c:pt>
                <c:pt idx="8524">
                  <c:v>2.7589999999999999</c:v>
                </c:pt>
                <c:pt idx="8525">
                  <c:v>3.1930000000000001</c:v>
                </c:pt>
                <c:pt idx="8526">
                  <c:v>3.8609999999999998</c:v>
                </c:pt>
                <c:pt idx="8527">
                  <c:v>4.7520000000000007</c:v>
                </c:pt>
                <c:pt idx="8528">
                  <c:v>4.8</c:v>
                </c:pt>
                <c:pt idx="8529">
                  <c:v>5</c:v>
                </c:pt>
                <c:pt idx="8530">
                  <c:v>4.899</c:v>
                </c:pt>
                <c:pt idx="8531">
                  <c:v>4.6549999999999994</c:v>
                </c:pt>
                <c:pt idx="8532">
                  <c:v>4.7859999999999996</c:v>
                </c:pt>
                <c:pt idx="8533">
                  <c:v>4.6959999999999997</c:v>
                </c:pt>
                <c:pt idx="8534">
                  <c:v>3.9</c:v>
                </c:pt>
                <c:pt idx="8535">
                  <c:v>3.9369999999999998</c:v>
                </c:pt>
                <c:pt idx="8536">
                  <c:v>4.6059999999999999</c:v>
                </c:pt>
                <c:pt idx="8537">
                  <c:v>4.734</c:v>
                </c:pt>
                <c:pt idx="8538">
                  <c:v>4.1500000000000004</c:v>
                </c:pt>
                <c:pt idx="8539">
                  <c:v>4.0659999999999998</c:v>
                </c:pt>
                <c:pt idx="8540">
                  <c:v>4.2909999999999995</c:v>
                </c:pt>
                <c:pt idx="8541">
                  <c:v>4.2060000000000004</c:v>
                </c:pt>
                <c:pt idx="8542">
                  <c:v>3.7399999999999998</c:v>
                </c:pt>
                <c:pt idx="8543">
                  <c:v>3.0620000000000003</c:v>
                </c:pt>
                <c:pt idx="8544">
                  <c:v>2.633</c:v>
                </c:pt>
                <c:pt idx="8545">
                  <c:v>1.7719999999999998</c:v>
                </c:pt>
                <c:pt idx="8546">
                  <c:v>1.1800000000000002</c:v>
                </c:pt>
                <c:pt idx="8547">
                  <c:v>1.1300000000000001</c:v>
                </c:pt>
                <c:pt idx="8548">
                  <c:v>1.24</c:v>
                </c:pt>
                <c:pt idx="8549">
                  <c:v>0.84000000000000008</c:v>
                </c:pt>
                <c:pt idx="8550">
                  <c:v>0.97100000000000009</c:v>
                </c:pt>
                <c:pt idx="8551">
                  <c:v>1.0710000000000002</c:v>
                </c:pt>
                <c:pt idx="8552">
                  <c:v>1.478</c:v>
                </c:pt>
                <c:pt idx="8553">
                  <c:v>1.879</c:v>
                </c:pt>
                <c:pt idx="8554">
                  <c:v>2.008</c:v>
                </c:pt>
                <c:pt idx="8555">
                  <c:v>1.474</c:v>
                </c:pt>
                <c:pt idx="8556">
                  <c:v>1.4769999999999999</c:v>
                </c:pt>
                <c:pt idx="8557">
                  <c:v>1.087</c:v>
                </c:pt>
                <c:pt idx="8558">
                  <c:v>0.56500000000000006</c:v>
                </c:pt>
                <c:pt idx="8559">
                  <c:v>1.004</c:v>
                </c:pt>
                <c:pt idx="8560">
                  <c:v>1.2909999999999999</c:v>
                </c:pt>
                <c:pt idx="8561">
                  <c:v>2.2010000000000001</c:v>
                </c:pt>
                <c:pt idx="8562">
                  <c:v>1.8079999999999998</c:v>
                </c:pt>
                <c:pt idx="8563">
                  <c:v>1.0840000000000001</c:v>
                </c:pt>
                <c:pt idx="8564">
                  <c:v>0.04</c:v>
                </c:pt>
                <c:pt idx="8565">
                  <c:v>-3.0000000000000001E-3</c:v>
                </c:pt>
                <c:pt idx="8566">
                  <c:v>-8.9999999999999993E-3</c:v>
                </c:pt>
                <c:pt idx="8567">
                  <c:v>-1.212</c:v>
                </c:pt>
                <c:pt idx="8568">
                  <c:v>-4.0840000000000005</c:v>
                </c:pt>
                <c:pt idx="8569">
                  <c:v>-4.3179999999999996</c:v>
                </c:pt>
                <c:pt idx="8570">
                  <c:v>-5.5990000000000002</c:v>
                </c:pt>
                <c:pt idx="8571">
                  <c:v>-4.9990000000000006</c:v>
                </c:pt>
                <c:pt idx="8572">
                  <c:v>-4.0140000000000002</c:v>
                </c:pt>
                <c:pt idx="8573">
                  <c:v>-3.6049999999999995</c:v>
                </c:pt>
                <c:pt idx="8574">
                  <c:v>-4.2930000000000001</c:v>
                </c:pt>
                <c:pt idx="8575">
                  <c:v>-0.99399999999999999</c:v>
                </c:pt>
                <c:pt idx="8576">
                  <c:v>0.21299999999999999</c:v>
                </c:pt>
                <c:pt idx="8577">
                  <c:v>0.50700000000000001</c:v>
                </c:pt>
                <c:pt idx="8578">
                  <c:v>0.503</c:v>
                </c:pt>
                <c:pt idx="8579">
                  <c:v>0.68200000000000005</c:v>
                </c:pt>
                <c:pt idx="8580">
                  <c:v>0.217</c:v>
                </c:pt>
                <c:pt idx="8581">
                  <c:v>0.29300000000000004</c:v>
                </c:pt>
                <c:pt idx="8582">
                  <c:v>0.01</c:v>
                </c:pt>
                <c:pt idx="8583">
                  <c:v>0.10900000000000001</c:v>
                </c:pt>
                <c:pt idx="8584">
                  <c:v>0.67500000000000004</c:v>
                </c:pt>
                <c:pt idx="8585">
                  <c:v>1.1080000000000001</c:v>
                </c:pt>
                <c:pt idx="8586">
                  <c:v>0.28500000000000003</c:v>
                </c:pt>
                <c:pt idx="8587">
                  <c:v>0.18</c:v>
                </c:pt>
                <c:pt idx="8588">
                  <c:v>-0.49400000000000005</c:v>
                </c:pt>
                <c:pt idx="8589">
                  <c:v>-0.67400000000000004</c:v>
                </c:pt>
                <c:pt idx="8590">
                  <c:v>8.0000000000000002E-3</c:v>
                </c:pt>
                <c:pt idx="8591">
                  <c:v>6.0000000000000001E-3</c:v>
                </c:pt>
                <c:pt idx="8592">
                  <c:v>-0.49800000000000005</c:v>
                </c:pt>
                <c:pt idx="8593">
                  <c:v>-3.258</c:v>
                </c:pt>
                <c:pt idx="8594">
                  <c:v>-1.9789999999999999</c:v>
                </c:pt>
                <c:pt idx="8595">
                  <c:v>-1.19</c:v>
                </c:pt>
                <c:pt idx="8596">
                  <c:v>-0.496</c:v>
                </c:pt>
                <c:pt idx="8597">
                  <c:v>-0.48299999999999998</c:v>
                </c:pt>
                <c:pt idx="8598">
                  <c:v>-6.141</c:v>
                </c:pt>
                <c:pt idx="8599">
                  <c:v>-0.497</c:v>
                </c:pt>
                <c:pt idx="8600">
                  <c:v>7.000000000000001E-3</c:v>
                </c:pt>
                <c:pt idx="8601">
                  <c:v>0.99399999999999999</c:v>
                </c:pt>
                <c:pt idx="8602">
                  <c:v>1.9899999999999998</c:v>
                </c:pt>
                <c:pt idx="8603">
                  <c:v>2.2010000000000001</c:v>
                </c:pt>
                <c:pt idx="8604">
                  <c:v>1.8350000000000002</c:v>
                </c:pt>
                <c:pt idx="8605">
                  <c:v>1.599</c:v>
                </c:pt>
                <c:pt idx="8606">
                  <c:v>1.2970000000000002</c:v>
                </c:pt>
                <c:pt idx="8607">
                  <c:v>1.7969999999999999</c:v>
                </c:pt>
                <c:pt idx="8608">
                  <c:v>1.7989999999999999</c:v>
                </c:pt>
                <c:pt idx="8609">
                  <c:v>2.645</c:v>
                </c:pt>
                <c:pt idx="8610">
                  <c:v>2.7410000000000001</c:v>
                </c:pt>
                <c:pt idx="8611">
                  <c:v>2.7589999999999999</c:v>
                </c:pt>
                <c:pt idx="8612">
                  <c:v>2.5640000000000001</c:v>
                </c:pt>
                <c:pt idx="8613">
                  <c:v>2.2090000000000001</c:v>
                </c:pt>
                <c:pt idx="8614">
                  <c:v>2.2170000000000001</c:v>
                </c:pt>
                <c:pt idx="8615">
                  <c:v>2.2000000000000002</c:v>
                </c:pt>
                <c:pt idx="8616">
                  <c:v>0.50600000000000001</c:v>
                </c:pt>
                <c:pt idx="8617">
                  <c:v>0.50600000000000001</c:v>
                </c:pt>
                <c:pt idx="8618">
                  <c:v>-0.14399999999999999</c:v>
                </c:pt>
                <c:pt idx="8619">
                  <c:v>-0.69400000000000006</c:v>
                </c:pt>
                <c:pt idx="8620">
                  <c:v>-0.96500000000000008</c:v>
                </c:pt>
                <c:pt idx="8621">
                  <c:v>-0.9890000000000001</c:v>
                </c:pt>
                <c:pt idx="8622">
                  <c:v>-1.1880000000000002</c:v>
                </c:pt>
                <c:pt idx="8623">
                  <c:v>-0.32400000000000001</c:v>
                </c:pt>
                <c:pt idx="8624">
                  <c:v>-0.97799999999999998</c:v>
                </c:pt>
                <c:pt idx="8625">
                  <c:v>0</c:v>
                </c:pt>
                <c:pt idx="8626">
                  <c:v>-2.4329999999999998</c:v>
                </c:pt>
                <c:pt idx="8627">
                  <c:v>-3.169</c:v>
                </c:pt>
                <c:pt idx="8628">
                  <c:v>-5.282</c:v>
                </c:pt>
                <c:pt idx="8629">
                  <c:v>-5.3420000000000005</c:v>
                </c:pt>
                <c:pt idx="8630">
                  <c:v>-1.8</c:v>
                </c:pt>
                <c:pt idx="8631">
                  <c:v>-4.8000000000000001E-2</c:v>
                </c:pt>
                <c:pt idx="8632">
                  <c:v>0.54900000000000004</c:v>
                </c:pt>
                <c:pt idx="8633">
                  <c:v>1.0660000000000001</c:v>
                </c:pt>
                <c:pt idx="8634">
                  <c:v>1.335</c:v>
                </c:pt>
                <c:pt idx="8635">
                  <c:v>1.119</c:v>
                </c:pt>
                <c:pt idx="8636">
                  <c:v>1.9</c:v>
                </c:pt>
                <c:pt idx="8637">
                  <c:v>1.8059999999999998</c:v>
                </c:pt>
                <c:pt idx="8638">
                  <c:v>2.202</c:v>
                </c:pt>
                <c:pt idx="8639">
                  <c:v>1.3460000000000001</c:v>
                </c:pt>
                <c:pt idx="8640">
                  <c:v>2.5369999999999999</c:v>
                </c:pt>
                <c:pt idx="8641">
                  <c:v>1.5089999999999999</c:v>
                </c:pt>
                <c:pt idx="8642">
                  <c:v>1.393</c:v>
                </c:pt>
                <c:pt idx="8643">
                  <c:v>1.3480000000000001</c:v>
                </c:pt>
                <c:pt idx="8644">
                  <c:v>1.274</c:v>
                </c:pt>
                <c:pt idx="8645">
                  <c:v>1.329</c:v>
                </c:pt>
                <c:pt idx="8646">
                  <c:v>2.0030000000000001</c:v>
                </c:pt>
                <c:pt idx="8647">
                  <c:v>2.8620000000000001</c:v>
                </c:pt>
                <c:pt idx="8648">
                  <c:v>3.2</c:v>
                </c:pt>
                <c:pt idx="8649">
                  <c:v>3.4909999999999997</c:v>
                </c:pt>
                <c:pt idx="8650">
                  <c:v>3.53</c:v>
                </c:pt>
                <c:pt idx="8651">
                  <c:v>4.2460000000000004</c:v>
                </c:pt>
                <c:pt idx="8652">
                  <c:v>4.6109999999999998</c:v>
                </c:pt>
                <c:pt idx="8653">
                  <c:v>4.601</c:v>
                </c:pt>
                <c:pt idx="8654">
                  <c:v>4.6399999999999997</c:v>
                </c:pt>
                <c:pt idx="8655">
                  <c:v>4.6479999999999997</c:v>
                </c:pt>
                <c:pt idx="8656">
                  <c:v>5.09</c:v>
                </c:pt>
                <c:pt idx="8657">
                  <c:v>5.609</c:v>
                </c:pt>
                <c:pt idx="8658">
                  <c:v>5.7569999999999997</c:v>
                </c:pt>
                <c:pt idx="8659">
                  <c:v>5.133</c:v>
                </c:pt>
                <c:pt idx="8660">
                  <c:v>4.24</c:v>
                </c:pt>
                <c:pt idx="8661">
                  <c:v>4</c:v>
                </c:pt>
                <c:pt idx="8662">
                  <c:v>4.2240000000000002</c:v>
                </c:pt>
                <c:pt idx="8663">
                  <c:v>3.1269999999999998</c:v>
                </c:pt>
                <c:pt idx="8664">
                  <c:v>2.887</c:v>
                </c:pt>
                <c:pt idx="8665">
                  <c:v>2.8120000000000003</c:v>
                </c:pt>
                <c:pt idx="8666">
                  <c:v>2.7199999999999998</c:v>
                </c:pt>
                <c:pt idx="8667">
                  <c:v>2.6</c:v>
                </c:pt>
                <c:pt idx="8668">
                  <c:v>2.633</c:v>
                </c:pt>
                <c:pt idx="8669">
                  <c:v>2.8890000000000002</c:v>
                </c:pt>
                <c:pt idx="8670">
                  <c:v>3.0739999999999998</c:v>
                </c:pt>
                <c:pt idx="8671">
                  <c:v>3.5979999999999999</c:v>
                </c:pt>
                <c:pt idx="8672">
                  <c:v>3.843</c:v>
                </c:pt>
                <c:pt idx="8673">
                  <c:v>3.9929999999999999</c:v>
                </c:pt>
                <c:pt idx="8674">
                  <c:v>4.0119999999999996</c:v>
                </c:pt>
                <c:pt idx="8675">
                  <c:v>3.9969999999999999</c:v>
                </c:pt>
                <c:pt idx="8676">
                  <c:v>4.016</c:v>
                </c:pt>
                <c:pt idx="8677">
                  <c:v>3.9240000000000004</c:v>
                </c:pt>
                <c:pt idx="8678">
                  <c:v>3.6420000000000003</c:v>
                </c:pt>
                <c:pt idx="8679">
                  <c:v>4.0030000000000001</c:v>
                </c:pt>
                <c:pt idx="8680">
                  <c:v>4.298</c:v>
                </c:pt>
                <c:pt idx="8681">
                  <c:v>4.3010000000000002</c:v>
                </c:pt>
                <c:pt idx="8682">
                  <c:v>4.2159999999999993</c:v>
                </c:pt>
                <c:pt idx="8683">
                  <c:v>3.4929999999999999</c:v>
                </c:pt>
                <c:pt idx="8684">
                  <c:v>2.5059999999999998</c:v>
                </c:pt>
                <c:pt idx="8685">
                  <c:v>1.9989999999999999</c:v>
                </c:pt>
                <c:pt idx="8686">
                  <c:v>1.9219999999999999</c:v>
                </c:pt>
                <c:pt idx="8687">
                  <c:v>0.58600000000000008</c:v>
                </c:pt>
                <c:pt idx="8688">
                  <c:v>0.97300000000000009</c:v>
                </c:pt>
                <c:pt idx="8689">
                  <c:v>7.1999999999999995E-2</c:v>
                </c:pt>
                <c:pt idx="8690">
                  <c:v>-9.2999999999999999E-2</c:v>
                </c:pt>
                <c:pt idx="8691">
                  <c:v>0.10700000000000001</c:v>
                </c:pt>
                <c:pt idx="8692">
                  <c:v>0.1</c:v>
                </c:pt>
                <c:pt idx="8693">
                  <c:v>0.29100000000000004</c:v>
                </c:pt>
                <c:pt idx="8694">
                  <c:v>0.36</c:v>
                </c:pt>
                <c:pt idx="8695">
                  <c:v>1.597</c:v>
                </c:pt>
                <c:pt idx="8696">
                  <c:v>2.9690000000000003</c:v>
                </c:pt>
                <c:pt idx="8697">
                  <c:v>3.02</c:v>
                </c:pt>
                <c:pt idx="8698">
                  <c:v>2.9829999999999997</c:v>
                </c:pt>
                <c:pt idx="8699">
                  <c:v>2.9470000000000001</c:v>
                </c:pt>
                <c:pt idx="8700">
                  <c:v>2.92</c:v>
                </c:pt>
                <c:pt idx="8701">
                  <c:v>2.9449999999999998</c:v>
                </c:pt>
                <c:pt idx="8702">
                  <c:v>3.0019999999999998</c:v>
                </c:pt>
                <c:pt idx="8703">
                  <c:v>3.1</c:v>
                </c:pt>
                <c:pt idx="8704">
                  <c:v>3.2979999999999996</c:v>
                </c:pt>
                <c:pt idx="8705">
                  <c:v>3.4950000000000001</c:v>
                </c:pt>
                <c:pt idx="8706">
                  <c:v>3.2789999999999999</c:v>
                </c:pt>
                <c:pt idx="8707">
                  <c:v>3.0230000000000001</c:v>
                </c:pt>
                <c:pt idx="8708">
                  <c:v>2.8489999999999998</c:v>
                </c:pt>
                <c:pt idx="8709">
                  <c:v>2.6510000000000002</c:v>
                </c:pt>
                <c:pt idx="8710">
                  <c:v>2.69</c:v>
                </c:pt>
                <c:pt idx="8711">
                  <c:v>1.506</c:v>
                </c:pt>
                <c:pt idx="8712">
                  <c:v>1.64</c:v>
                </c:pt>
                <c:pt idx="8713">
                  <c:v>1.333</c:v>
                </c:pt>
                <c:pt idx="8714">
                  <c:v>1.325</c:v>
                </c:pt>
                <c:pt idx="8715">
                  <c:v>1.204</c:v>
                </c:pt>
                <c:pt idx="8716">
                  <c:v>1.145</c:v>
                </c:pt>
                <c:pt idx="8717">
                  <c:v>0.84899999999999998</c:v>
                </c:pt>
                <c:pt idx="8718">
                  <c:v>0.98299999999999998</c:v>
                </c:pt>
                <c:pt idx="8719">
                  <c:v>1.2070000000000001</c:v>
                </c:pt>
                <c:pt idx="8720">
                  <c:v>1.341</c:v>
                </c:pt>
                <c:pt idx="8721">
                  <c:v>1.609</c:v>
                </c:pt>
                <c:pt idx="8722">
                  <c:v>1.8800000000000001</c:v>
                </c:pt>
                <c:pt idx="8723">
                  <c:v>1.7030000000000001</c:v>
                </c:pt>
                <c:pt idx="8724">
                  <c:v>1.7670000000000001</c:v>
                </c:pt>
                <c:pt idx="8725">
                  <c:v>1.5509999999999999</c:v>
                </c:pt>
                <c:pt idx="8726">
                  <c:v>1.7609999999999999</c:v>
                </c:pt>
                <c:pt idx="8727">
                  <c:v>1.3220000000000001</c:v>
                </c:pt>
                <c:pt idx="8728">
                  <c:v>1.4019999999999999</c:v>
                </c:pt>
                <c:pt idx="8729">
                  <c:v>1.6780000000000002</c:v>
                </c:pt>
                <c:pt idx="8730">
                  <c:v>1.6010000000000002</c:v>
                </c:pt>
                <c:pt idx="8731">
                  <c:v>1.6179999999999999</c:v>
                </c:pt>
                <c:pt idx="8732">
                  <c:v>1.113</c:v>
                </c:pt>
                <c:pt idx="8733">
                  <c:v>0.46200000000000002</c:v>
                </c:pt>
                <c:pt idx="8734">
                  <c:v>0.47099999999999997</c:v>
                </c:pt>
                <c:pt idx="8735">
                  <c:v>-2.7000000000000003E-2</c:v>
                </c:pt>
                <c:pt idx="8736">
                  <c:v>-0.20400000000000001</c:v>
                </c:pt>
                <c:pt idx="8737">
                  <c:v>-0.499</c:v>
                </c:pt>
                <c:pt idx="8738">
                  <c:v>-5.8999999999999997E-2</c:v>
                </c:pt>
                <c:pt idx="8739">
                  <c:v>-0.371</c:v>
                </c:pt>
                <c:pt idx="8740">
                  <c:v>8.0000000000000002E-3</c:v>
                </c:pt>
                <c:pt idx="8741">
                  <c:v>0.11599999999999999</c:v>
                </c:pt>
                <c:pt idx="8742">
                  <c:v>-8.5999999999999993E-2</c:v>
                </c:pt>
                <c:pt idx="8743">
                  <c:v>0.40899999999999997</c:v>
                </c:pt>
                <c:pt idx="8744">
                  <c:v>0.41699999999999998</c:v>
                </c:pt>
                <c:pt idx="8745">
                  <c:v>0.42099999999999999</c:v>
                </c:pt>
                <c:pt idx="8746">
                  <c:v>0.90500000000000003</c:v>
                </c:pt>
                <c:pt idx="8747">
                  <c:v>0.91999999999999993</c:v>
                </c:pt>
                <c:pt idx="8748">
                  <c:v>0.44500000000000001</c:v>
                </c:pt>
                <c:pt idx="8749">
                  <c:v>0.20400000000000001</c:v>
                </c:pt>
                <c:pt idx="8750">
                  <c:v>6.0000000000000001E-3</c:v>
                </c:pt>
                <c:pt idx="8751">
                  <c:v>3.5999999999999997E-2</c:v>
                </c:pt>
                <c:pt idx="8752">
                  <c:v>0.14599999999999999</c:v>
                </c:pt>
                <c:pt idx="8753">
                  <c:v>0.61399999999999999</c:v>
                </c:pt>
                <c:pt idx="8754">
                  <c:v>0.99600000000000011</c:v>
                </c:pt>
                <c:pt idx="8755">
                  <c:v>0.79200000000000004</c:v>
                </c:pt>
                <c:pt idx="8756">
                  <c:v>0.40599999999999997</c:v>
                </c:pt>
                <c:pt idx="8757">
                  <c:v>0.53</c:v>
                </c:pt>
                <c:pt idx="8758">
                  <c:v>0.186</c:v>
                </c:pt>
                <c:pt idx="8759">
                  <c:v>-9.1999999999999998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E99-4ADF-8426-44CB883A62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21854608"/>
        <c:axId val="1021856048"/>
        <c:extLst>
          <c:ext xmlns:c15="http://schemas.microsoft.com/office/drawing/2012/chart" uri="{02D57815-91ED-43cb-92C2-25804820EDAC}">
            <c15:filteredLine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2024'!$B$1</c15:sqref>
                        </c15:formulaRef>
                      </c:ext>
                    </c:extLst>
                    <c:strCache>
                      <c:ptCount val="1"/>
                      <c:pt idx="0">
                        <c:v>Day Ahead Auktion (DE-LU) 2024</c:v>
                      </c:pt>
                    </c:strCache>
                  </c:strRef>
                </c:tx>
                <c:spPr>
                  <a:ln w="9525" cap="rnd">
                    <a:solidFill>
                      <a:schemeClr val="accent1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2024'!$A$3:$A$8162</c15:sqref>
                        </c15:formulaRef>
                      </c:ext>
                    </c:extLst>
                    <c:numCache>
                      <c:formatCode>dd/mm/yy\ hh:mm</c:formatCode>
                      <c:ptCount val="8160"/>
                      <c:pt idx="0">
                        <c:v>45292</c:v>
                      </c:pt>
                      <c:pt idx="1">
                        <c:v>45292.041666666672</c:v>
                      </c:pt>
                      <c:pt idx="2">
                        <c:v>45292.083333333328</c:v>
                      </c:pt>
                      <c:pt idx="3">
                        <c:v>45292.125</c:v>
                      </c:pt>
                      <c:pt idx="4">
                        <c:v>45292.166666666672</c:v>
                      </c:pt>
                      <c:pt idx="5">
                        <c:v>45292.208333333328</c:v>
                      </c:pt>
                      <c:pt idx="6">
                        <c:v>45292.25</c:v>
                      </c:pt>
                      <c:pt idx="7">
                        <c:v>45292.291666666672</c:v>
                      </c:pt>
                      <c:pt idx="8">
                        <c:v>45292.333333333328</c:v>
                      </c:pt>
                      <c:pt idx="9">
                        <c:v>45292.375</c:v>
                      </c:pt>
                      <c:pt idx="10">
                        <c:v>45292.416666666672</c:v>
                      </c:pt>
                      <c:pt idx="11">
                        <c:v>45292.458333333328</c:v>
                      </c:pt>
                      <c:pt idx="12">
                        <c:v>45292.5</c:v>
                      </c:pt>
                      <c:pt idx="13">
                        <c:v>45292.541666666672</c:v>
                      </c:pt>
                      <c:pt idx="14">
                        <c:v>45292.583333333328</c:v>
                      </c:pt>
                      <c:pt idx="15">
                        <c:v>45292.625</c:v>
                      </c:pt>
                      <c:pt idx="16">
                        <c:v>45292.666666666672</c:v>
                      </c:pt>
                      <c:pt idx="17">
                        <c:v>45292.708333333328</c:v>
                      </c:pt>
                      <c:pt idx="18">
                        <c:v>45292.75</c:v>
                      </c:pt>
                      <c:pt idx="19">
                        <c:v>45292.791666666672</c:v>
                      </c:pt>
                      <c:pt idx="20">
                        <c:v>45292.833333333328</c:v>
                      </c:pt>
                      <c:pt idx="21">
                        <c:v>45292.875</c:v>
                      </c:pt>
                      <c:pt idx="22">
                        <c:v>45292.916666666672</c:v>
                      </c:pt>
                      <c:pt idx="23">
                        <c:v>45292.958333333328</c:v>
                      </c:pt>
                      <c:pt idx="24">
                        <c:v>45293</c:v>
                      </c:pt>
                      <c:pt idx="25">
                        <c:v>45293.041666666672</c:v>
                      </c:pt>
                      <c:pt idx="26">
                        <c:v>45293.083333333328</c:v>
                      </c:pt>
                      <c:pt idx="27">
                        <c:v>45293.125</c:v>
                      </c:pt>
                      <c:pt idx="28">
                        <c:v>45293.166666666672</c:v>
                      </c:pt>
                      <c:pt idx="29">
                        <c:v>45293.208333333328</c:v>
                      </c:pt>
                      <c:pt idx="30">
                        <c:v>45293.25</c:v>
                      </c:pt>
                      <c:pt idx="31">
                        <c:v>45293.291666666672</c:v>
                      </c:pt>
                      <c:pt idx="32">
                        <c:v>45293.333333333328</c:v>
                      </c:pt>
                      <c:pt idx="33">
                        <c:v>45293.375</c:v>
                      </c:pt>
                      <c:pt idx="34">
                        <c:v>45293.416666666672</c:v>
                      </c:pt>
                      <c:pt idx="35">
                        <c:v>45293.458333333328</c:v>
                      </c:pt>
                      <c:pt idx="36">
                        <c:v>45293.5</c:v>
                      </c:pt>
                      <c:pt idx="37">
                        <c:v>45293.541666666672</c:v>
                      </c:pt>
                      <c:pt idx="38">
                        <c:v>45293.583333333328</c:v>
                      </c:pt>
                      <c:pt idx="39">
                        <c:v>45293.625</c:v>
                      </c:pt>
                      <c:pt idx="40">
                        <c:v>45293.666666666672</c:v>
                      </c:pt>
                      <c:pt idx="41">
                        <c:v>45293.708333333328</c:v>
                      </c:pt>
                      <c:pt idx="42">
                        <c:v>45293.75</c:v>
                      </c:pt>
                      <c:pt idx="43">
                        <c:v>45293.791666666672</c:v>
                      </c:pt>
                      <c:pt idx="44">
                        <c:v>45293.833333333328</c:v>
                      </c:pt>
                      <c:pt idx="45">
                        <c:v>45293.875</c:v>
                      </c:pt>
                      <c:pt idx="46">
                        <c:v>45293.916666666672</c:v>
                      </c:pt>
                      <c:pt idx="47">
                        <c:v>45293.958333333328</c:v>
                      </c:pt>
                      <c:pt idx="48">
                        <c:v>45294</c:v>
                      </c:pt>
                      <c:pt idx="49">
                        <c:v>45294.041666666672</c:v>
                      </c:pt>
                      <c:pt idx="50">
                        <c:v>45294.083333333328</c:v>
                      </c:pt>
                      <c:pt idx="51">
                        <c:v>45294.125</c:v>
                      </c:pt>
                      <c:pt idx="52">
                        <c:v>45294.166666666672</c:v>
                      </c:pt>
                      <c:pt idx="53">
                        <c:v>45294.208333333328</c:v>
                      </c:pt>
                      <c:pt idx="54">
                        <c:v>45294.25</c:v>
                      </c:pt>
                      <c:pt idx="55">
                        <c:v>45294.291666666672</c:v>
                      </c:pt>
                      <c:pt idx="56">
                        <c:v>45294.333333333328</c:v>
                      </c:pt>
                      <c:pt idx="57">
                        <c:v>45294.375</c:v>
                      </c:pt>
                      <c:pt idx="58">
                        <c:v>45294.416666666672</c:v>
                      </c:pt>
                      <c:pt idx="59">
                        <c:v>45294.458333333328</c:v>
                      </c:pt>
                      <c:pt idx="60">
                        <c:v>45294.5</c:v>
                      </c:pt>
                      <c:pt idx="61">
                        <c:v>45294.541666666672</c:v>
                      </c:pt>
                      <c:pt idx="62">
                        <c:v>45294.583333333328</c:v>
                      </c:pt>
                      <c:pt idx="63">
                        <c:v>45294.625</c:v>
                      </c:pt>
                      <c:pt idx="64">
                        <c:v>45294.666666666672</c:v>
                      </c:pt>
                      <c:pt idx="65">
                        <c:v>45294.708333333328</c:v>
                      </c:pt>
                      <c:pt idx="66">
                        <c:v>45294.75</c:v>
                      </c:pt>
                      <c:pt idx="67">
                        <c:v>45294.791666666672</c:v>
                      </c:pt>
                      <c:pt idx="68">
                        <c:v>45294.833333333328</c:v>
                      </c:pt>
                      <c:pt idx="69">
                        <c:v>45294.875</c:v>
                      </c:pt>
                      <c:pt idx="70">
                        <c:v>45294.916666666672</c:v>
                      </c:pt>
                      <c:pt idx="71">
                        <c:v>45294.958333333328</c:v>
                      </c:pt>
                      <c:pt idx="72">
                        <c:v>45295</c:v>
                      </c:pt>
                      <c:pt idx="73">
                        <c:v>45295.041666666672</c:v>
                      </c:pt>
                      <c:pt idx="74">
                        <c:v>45295.083333333328</c:v>
                      </c:pt>
                      <c:pt idx="75">
                        <c:v>45295.125</c:v>
                      </c:pt>
                      <c:pt idx="76">
                        <c:v>45295.166666666672</c:v>
                      </c:pt>
                      <c:pt idx="77">
                        <c:v>45295.208333333328</c:v>
                      </c:pt>
                      <c:pt idx="78">
                        <c:v>45295.25</c:v>
                      </c:pt>
                      <c:pt idx="79">
                        <c:v>45295.291666666672</c:v>
                      </c:pt>
                      <c:pt idx="80">
                        <c:v>45295.333333333328</c:v>
                      </c:pt>
                      <c:pt idx="81">
                        <c:v>45295.375</c:v>
                      </c:pt>
                      <c:pt idx="82">
                        <c:v>45295.416666666672</c:v>
                      </c:pt>
                      <c:pt idx="83">
                        <c:v>45295.458333333328</c:v>
                      </c:pt>
                      <c:pt idx="84">
                        <c:v>45295.5</c:v>
                      </c:pt>
                      <c:pt idx="85">
                        <c:v>45295.541666666672</c:v>
                      </c:pt>
                      <c:pt idx="86">
                        <c:v>45295.583333333328</c:v>
                      </c:pt>
                      <c:pt idx="87">
                        <c:v>45295.625</c:v>
                      </c:pt>
                      <c:pt idx="88">
                        <c:v>45295.666666666672</c:v>
                      </c:pt>
                      <c:pt idx="89">
                        <c:v>45295.708333333328</c:v>
                      </c:pt>
                      <c:pt idx="90">
                        <c:v>45295.75</c:v>
                      </c:pt>
                      <c:pt idx="91">
                        <c:v>45295.791666666672</c:v>
                      </c:pt>
                      <c:pt idx="92">
                        <c:v>45295.833333333328</c:v>
                      </c:pt>
                      <c:pt idx="93">
                        <c:v>45295.875</c:v>
                      </c:pt>
                      <c:pt idx="94">
                        <c:v>45295.916666666672</c:v>
                      </c:pt>
                      <c:pt idx="95">
                        <c:v>45295.958333333328</c:v>
                      </c:pt>
                      <c:pt idx="96">
                        <c:v>45296</c:v>
                      </c:pt>
                      <c:pt idx="97">
                        <c:v>45296.041666666672</c:v>
                      </c:pt>
                      <c:pt idx="98">
                        <c:v>45296.083333333328</c:v>
                      </c:pt>
                      <c:pt idx="99">
                        <c:v>45296.125</c:v>
                      </c:pt>
                      <c:pt idx="100">
                        <c:v>45296.166666666672</c:v>
                      </c:pt>
                      <c:pt idx="101">
                        <c:v>45296.208333333328</c:v>
                      </c:pt>
                      <c:pt idx="102">
                        <c:v>45296.25</c:v>
                      </c:pt>
                      <c:pt idx="103">
                        <c:v>45296.291666666672</c:v>
                      </c:pt>
                      <c:pt idx="104">
                        <c:v>45296.333333333328</c:v>
                      </c:pt>
                      <c:pt idx="105">
                        <c:v>45296.375</c:v>
                      </c:pt>
                      <c:pt idx="106">
                        <c:v>45296.416666666672</c:v>
                      </c:pt>
                      <c:pt idx="107">
                        <c:v>45296.458333333328</c:v>
                      </c:pt>
                      <c:pt idx="108">
                        <c:v>45296.5</c:v>
                      </c:pt>
                      <c:pt idx="109">
                        <c:v>45296.541666666672</c:v>
                      </c:pt>
                      <c:pt idx="110">
                        <c:v>45296.583333333328</c:v>
                      </c:pt>
                      <c:pt idx="111">
                        <c:v>45296.625</c:v>
                      </c:pt>
                      <c:pt idx="112">
                        <c:v>45296.666666666672</c:v>
                      </c:pt>
                      <c:pt idx="113">
                        <c:v>45296.708333333328</c:v>
                      </c:pt>
                      <c:pt idx="114">
                        <c:v>45296.75</c:v>
                      </c:pt>
                      <c:pt idx="115">
                        <c:v>45296.791666666672</c:v>
                      </c:pt>
                      <c:pt idx="116">
                        <c:v>45296.833333333328</c:v>
                      </c:pt>
                      <c:pt idx="117">
                        <c:v>45296.875</c:v>
                      </c:pt>
                      <c:pt idx="118">
                        <c:v>45296.916666666672</c:v>
                      </c:pt>
                      <c:pt idx="119">
                        <c:v>45296.958333333328</c:v>
                      </c:pt>
                      <c:pt idx="120">
                        <c:v>45297</c:v>
                      </c:pt>
                      <c:pt idx="121">
                        <c:v>45297.041666666672</c:v>
                      </c:pt>
                      <c:pt idx="122">
                        <c:v>45297.083333333328</c:v>
                      </c:pt>
                      <c:pt idx="123">
                        <c:v>45297.125</c:v>
                      </c:pt>
                      <c:pt idx="124">
                        <c:v>45297.166666666672</c:v>
                      </c:pt>
                      <c:pt idx="125">
                        <c:v>45297.208333333328</c:v>
                      </c:pt>
                      <c:pt idx="126">
                        <c:v>45297.25</c:v>
                      </c:pt>
                      <c:pt idx="127">
                        <c:v>45297.291666666672</c:v>
                      </c:pt>
                      <c:pt idx="128">
                        <c:v>45297.333333333328</c:v>
                      </c:pt>
                      <c:pt idx="129">
                        <c:v>45297.375</c:v>
                      </c:pt>
                      <c:pt idx="130">
                        <c:v>45297.416666666672</c:v>
                      </c:pt>
                      <c:pt idx="131">
                        <c:v>45297.458333333328</c:v>
                      </c:pt>
                      <c:pt idx="132">
                        <c:v>45297.5</c:v>
                      </c:pt>
                      <c:pt idx="133">
                        <c:v>45297.541666666672</c:v>
                      </c:pt>
                      <c:pt idx="134">
                        <c:v>45297.583333333328</c:v>
                      </c:pt>
                      <c:pt idx="135">
                        <c:v>45297.625</c:v>
                      </c:pt>
                      <c:pt idx="136">
                        <c:v>45297.666666666672</c:v>
                      </c:pt>
                      <c:pt idx="137">
                        <c:v>45297.708333333328</c:v>
                      </c:pt>
                      <c:pt idx="138">
                        <c:v>45297.75</c:v>
                      </c:pt>
                      <c:pt idx="139">
                        <c:v>45297.791666666672</c:v>
                      </c:pt>
                      <c:pt idx="140">
                        <c:v>45297.833333333328</c:v>
                      </c:pt>
                      <c:pt idx="141">
                        <c:v>45297.875</c:v>
                      </c:pt>
                      <c:pt idx="142">
                        <c:v>45297.916666666672</c:v>
                      </c:pt>
                      <c:pt idx="143">
                        <c:v>45297.958333333328</c:v>
                      </c:pt>
                      <c:pt idx="144">
                        <c:v>45298</c:v>
                      </c:pt>
                      <c:pt idx="145">
                        <c:v>45298.041666666672</c:v>
                      </c:pt>
                      <c:pt idx="146">
                        <c:v>45298.083333333328</c:v>
                      </c:pt>
                      <c:pt idx="147">
                        <c:v>45298.125</c:v>
                      </c:pt>
                      <c:pt idx="148">
                        <c:v>45298.166666666672</c:v>
                      </c:pt>
                      <c:pt idx="149">
                        <c:v>45298.208333333328</c:v>
                      </c:pt>
                      <c:pt idx="150">
                        <c:v>45298.25</c:v>
                      </c:pt>
                      <c:pt idx="151">
                        <c:v>45298.291666666672</c:v>
                      </c:pt>
                      <c:pt idx="152">
                        <c:v>45298.333333333328</c:v>
                      </c:pt>
                      <c:pt idx="153">
                        <c:v>45298.375</c:v>
                      </c:pt>
                      <c:pt idx="154">
                        <c:v>45298.416666666672</c:v>
                      </c:pt>
                      <c:pt idx="155">
                        <c:v>45298.458333333328</c:v>
                      </c:pt>
                      <c:pt idx="156">
                        <c:v>45298.5</c:v>
                      </c:pt>
                      <c:pt idx="157">
                        <c:v>45298.541666666672</c:v>
                      </c:pt>
                      <c:pt idx="158">
                        <c:v>45298.583333333328</c:v>
                      </c:pt>
                      <c:pt idx="159">
                        <c:v>45298.625</c:v>
                      </c:pt>
                      <c:pt idx="160">
                        <c:v>45298.666666666672</c:v>
                      </c:pt>
                      <c:pt idx="161">
                        <c:v>45298.708333333328</c:v>
                      </c:pt>
                      <c:pt idx="162">
                        <c:v>45298.75</c:v>
                      </c:pt>
                      <c:pt idx="163">
                        <c:v>45298.791666666672</c:v>
                      </c:pt>
                      <c:pt idx="164">
                        <c:v>45298.833333333328</c:v>
                      </c:pt>
                      <c:pt idx="165">
                        <c:v>45298.875</c:v>
                      </c:pt>
                      <c:pt idx="166">
                        <c:v>45298.916666666672</c:v>
                      </c:pt>
                      <c:pt idx="167">
                        <c:v>45298.958333333328</c:v>
                      </c:pt>
                      <c:pt idx="168">
                        <c:v>45299</c:v>
                      </c:pt>
                      <c:pt idx="169">
                        <c:v>45299.041666666672</c:v>
                      </c:pt>
                      <c:pt idx="170">
                        <c:v>45299.083333333328</c:v>
                      </c:pt>
                      <c:pt idx="171">
                        <c:v>45299.125</c:v>
                      </c:pt>
                      <c:pt idx="172">
                        <c:v>45299.166666666672</c:v>
                      </c:pt>
                      <c:pt idx="173">
                        <c:v>45299.208333333328</c:v>
                      </c:pt>
                      <c:pt idx="174">
                        <c:v>45299.25</c:v>
                      </c:pt>
                      <c:pt idx="175">
                        <c:v>45299.291666666672</c:v>
                      </c:pt>
                      <c:pt idx="176">
                        <c:v>45299.333333333328</c:v>
                      </c:pt>
                      <c:pt idx="177">
                        <c:v>45299.375</c:v>
                      </c:pt>
                      <c:pt idx="178">
                        <c:v>45299.416666666672</c:v>
                      </c:pt>
                      <c:pt idx="179">
                        <c:v>45299.458333333328</c:v>
                      </c:pt>
                      <c:pt idx="180">
                        <c:v>45299.5</c:v>
                      </c:pt>
                      <c:pt idx="181">
                        <c:v>45299.541666666672</c:v>
                      </c:pt>
                      <c:pt idx="182">
                        <c:v>45299.583333333328</c:v>
                      </c:pt>
                      <c:pt idx="183">
                        <c:v>45299.625</c:v>
                      </c:pt>
                      <c:pt idx="184">
                        <c:v>45299.666666666672</c:v>
                      </c:pt>
                      <c:pt idx="185">
                        <c:v>45299.708333333328</c:v>
                      </c:pt>
                      <c:pt idx="186">
                        <c:v>45299.75</c:v>
                      </c:pt>
                      <c:pt idx="187">
                        <c:v>45299.791666666672</c:v>
                      </c:pt>
                      <c:pt idx="188">
                        <c:v>45299.833333333328</c:v>
                      </c:pt>
                      <c:pt idx="189">
                        <c:v>45299.875</c:v>
                      </c:pt>
                      <c:pt idx="190">
                        <c:v>45299.916666666672</c:v>
                      </c:pt>
                      <c:pt idx="191">
                        <c:v>45299.958333333328</c:v>
                      </c:pt>
                      <c:pt idx="192">
                        <c:v>45300</c:v>
                      </c:pt>
                      <c:pt idx="193">
                        <c:v>45300.041666666672</c:v>
                      </c:pt>
                      <c:pt idx="194">
                        <c:v>45300.083333333328</c:v>
                      </c:pt>
                      <c:pt idx="195">
                        <c:v>45300.125</c:v>
                      </c:pt>
                      <c:pt idx="196">
                        <c:v>45300.166666666672</c:v>
                      </c:pt>
                      <c:pt idx="197">
                        <c:v>45300.208333333328</c:v>
                      </c:pt>
                      <c:pt idx="198">
                        <c:v>45300.25</c:v>
                      </c:pt>
                      <c:pt idx="199">
                        <c:v>45300.291666666672</c:v>
                      </c:pt>
                      <c:pt idx="200">
                        <c:v>45300.333333333328</c:v>
                      </c:pt>
                      <c:pt idx="201">
                        <c:v>45300.375</c:v>
                      </c:pt>
                      <c:pt idx="202">
                        <c:v>45300.416666666672</c:v>
                      </c:pt>
                      <c:pt idx="203">
                        <c:v>45300.458333333328</c:v>
                      </c:pt>
                      <c:pt idx="204">
                        <c:v>45300.5</c:v>
                      </c:pt>
                      <c:pt idx="205">
                        <c:v>45300.541666666672</c:v>
                      </c:pt>
                      <c:pt idx="206">
                        <c:v>45300.583333333328</c:v>
                      </c:pt>
                      <c:pt idx="207">
                        <c:v>45300.625</c:v>
                      </c:pt>
                      <c:pt idx="208">
                        <c:v>45300.666666666672</c:v>
                      </c:pt>
                      <c:pt idx="209">
                        <c:v>45300.708333333328</c:v>
                      </c:pt>
                      <c:pt idx="210">
                        <c:v>45300.75</c:v>
                      </c:pt>
                      <c:pt idx="211">
                        <c:v>45300.791666666672</c:v>
                      </c:pt>
                      <c:pt idx="212">
                        <c:v>45300.833333333328</c:v>
                      </c:pt>
                      <c:pt idx="213">
                        <c:v>45300.875</c:v>
                      </c:pt>
                      <c:pt idx="214">
                        <c:v>45300.916666666672</c:v>
                      </c:pt>
                      <c:pt idx="215">
                        <c:v>45300.958333333328</c:v>
                      </c:pt>
                      <c:pt idx="216">
                        <c:v>45301</c:v>
                      </c:pt>
                      <c:pt idx="217">
                        <c:v>45301.041666666672</c:v>
                      </c:pt>
                      <c:pt idx="218">
                        <c:v>45301.083333333328</c:v>
                      </c:pt>
                      <c:pt idx="219">
                        <c:v>45301.125</c:v>
                      </c:pt>
                      <c:pt idx="220">
                        <c:v>45301.166666666672</c:v>
                      </c:pt>
                      <c:pt idx="221">
                        <c:v>45301.208333333328</c:v>
                      </c:pt>
                      <c:pt idx="222">
                        <c:v>45301.25</c:v>
                      </c:pt>
                      <c:pt idx="223">
                        <c:v>45301.291666666672</c:v>
                      </c:pt>
                      <c:pt idx="224">
                        <c:v>45301.333333333328</c:v>
                      </c:pt>
                      <c:pt idx="225">
                        <c:v>45301.375</c:v>
                      </c:pt>
                      <c:pt idx="226">
                        <c:v>45301.416666666672</c:v>
                      </c:pt>
                      <c:pt idx="227">
                        <c:v>45301.458333333328</c:v>
                      </c:pt>
                      <c:pt idx="228">
                        <c:v>45301.5</c:v>
                      </c:pt>
                      <c:pt idx="229">
                        <c:v>45301.541666666672</c:v>
                      </c:pt>
                      <c:pt idx="230">
                        <c:v>45301.583333333328</c:v>
                      </c:pt>
                      <c:pt idx="231">
                        <c:v>45301.625</c:v>
                      </c:pt>
                      <c:pt idx="232">
                        <c:v>45301.666666666672</c:v>
                      </c:pt>
                      <c:pt idx="233">
                        <c:v>45301.708333333328</c:v>
                      </c:pt>
                      <c:pt idx="234">
                        <c:v>45301.75</c:v>
                      </c:pt>
                      <c:pt idx="235">
                        <c:v>45301.791666666672</c:v>
                      </c:pt>
                      <c:pt idx="236">
                        <c:v>45301.833333333328</c:v>
                      </c:pt>
                      <c:pt idx="237">
                        <c:v>45301.875</c:v>
                      </c:pt>
                      <c:pt idx="238">
                        <c:v>45301.916666666672</c:v>
                      </c:pt>
                      <c:pt idx="239">
                        <c:v>45301.958333333328</c:v>
                      </c:pt>
                      <c:pt idx="240">
                        <c:v>45302</c:v>
                      </c:pt>
                      <c:pt idx="241">
                        <c:v>45302.041666666672</c:v>
                      </c:pt>
                      <c:pt idx="242">
                        <c:v>45302.083333333328</c:v>
                      </c:pt>
                      <c:pt idx="243">
                        <c:v>45302.125</c:v>
                      </c:pt>
                      <c:pt idx="244">
                        <c:v>45302.166666666672</c:v>
                      </c:pt>
                      <c:pt idx="245">
                        <c:v>45302.208333333328</c:v>
                      </c:pt>
                      <c:pt idx="246">
                        <c:v>45302.25</c:v>
                      </c:pt>
                      <c:pt idx="247">
                        <c:v>45302.291666666672</c:v>
                      </c:pt>
                      <c:pt idx="248">
                        <c:v>45302.333333333328</c:v>
                      </c:pt>
                      <c:pt idx="249">
                        <c:v>45302.375</c:v>
                      </c:pt>
                      <c:pt idx="250">
                        <c:v>45302.416666666672</c:v>
                      </c:pt>
                      <c:pt idx="251">
                        <c:v>45302.458333333328</c:v>
                      </c:pt>
                      <c:pt idx="252">
                        <c:v>45302.5</c:v>
                      </c:pt>
                      <c:pt idx="253">
                        <c:v>45302.541666666672</c:v>
                      </c:pt>
                      <c:pt idx="254">
                        <c:v>45302.583333333328</c:v>
                      </c:pt>
                      <c:pt idx="255">
                        <c:v>45302.625</c:v>
                      </c:pt>
                      <c:pt idx="256">
                        <c:v>45302.666666666672</c:v>
                      </c:pt>
                      <c:pt idx="257">
                        <c:v>45302.708333333328</c:v>
                      </c:pt>
                      <c:pt idx="258">
                        <c:v>45302.75</c:v>
                      </c:pt>
                      <c:pt idx="259">
                        <c:v>45302.791666666672</c:v>
                      </c:pt>
                      <c:pt idx="260">
                        <c:v>45302.833333333328</c:v>
                      </c:pt>
                      <c:pt idx="261">
                        <c:v>45302.875</c:v>
                      </c:pt>
                      <c:pt idx="262">
                        <c:v>45302.916666666672</c:v>
                      </c:pt>
                      <c:pt idx="263">
                        <c:v>45302.958333333328</c:v>
                      </c:pt>
                      <c:pt idx="264">
                        <c:v>45303</c:v>
                      </c:pt>
                      <c:pt idx="265">
                        <c:v>45303.041666666672</c:v>
                      </c:pt>
                      <c:pt idx="266">
                        <c:v>45303.083333333328</c:v>
                      </c:pt>
                      <c:pt idx="267">
                        <c:v>45303.125</c:v>
                      </c:pt>
                      <c:pt idx="268">
                        <c:v>45303.166666666672</c:v>
                      </c:pt>
                      <c:pt idx="269">
                        <c:v>45303.208333333328</c:v>
                      </c:pt>
                      <c:pt idx="270">
                        <c:v>45303.25</c:v>
                      </c:pt>
                      <c:pt idx="271">
                        <c:v>45303.291666666672</c:v>
                      </c:pt>
                      <c:pt idx="272">
                        <c:v>45303.333333333328</c:v>
                      </c:pt>
                      <c:pt idx="273">
                        <c:v>45303.375</c:v>
                      </c:pt>
                      <c:pt idx="274">
                        <c:v>45303.416666666672</c:v>
                      </c:pt>
                      <c:pt idx="275">
                        <c:v>45303.458333333328</c:v>
                      </c:pt>
                      <c:pt idx="276">
                        <c:v>45303.5</c:v>
                      </c:pt>
                      <c:pt idx="277">
                        <c:v>45303.541666666672</c:v>
                      </c:pt>
                      <c:pt idx="278">
                        <c:v>45303.583333333328</c:v>
                      </c:pt>
                      <c:pt idx="279">
                        <c:v>45303.625</c:v>
                      </c:pt>
                      <c:pt idx="280">
                        <c:v>45303.666666666672</c:v>
                      </c:pt>
                      <c:pt idx="281">
                        <c:v>45303.708333333328</c:v>
                      </c:pt>
                      <c:pt idx="282">
                        <c:v>45303.75</c:v>
                      </c:pt>
                      <c:pt idx="283">
                        <c:v>45303.791666666672</c:v>
                      </c:pt>
                      <c:pt idx="284">
                        <c:v>45303.833333333328</c:v>
                      </c:pt>
                      <c:pt idx="285">
                        <c:v>45303.875</c:v>
                      </c:pt>
                      <c:pt idx="286">
                        <c:v>45303.916666666672</c:v>
                      </c:pt>
                      <c:pt idx="287">
                        <c:v>45303.958333333328</c:v>
                      </c:pt>
                      <c:pt idx="288">
                        <c:v>45304</c:v>
                      </c:pt>
                      <c:pt idx="289">
                        <c:v>45304.041666666672</c:v>
                      </c:pt>
                      <c:pt idx="290">
                        <c:v>45304.083333333328</c:v>
                      </c:pt>
                      <c:pt idx="291">
                        <c:v>45304.125</c:v>
                      </c:pt>
                      <c:pt idx="292">
                        <c:v>45304.166666666672</c:v>
                      </c:pt>
                      <c:pt idx="293">
                        <c:v>45304.208333333328</c:v>
                      </c:pt>
                      <c:pt idx="294">
                        <c:v>45304.25</c:v>
                      </c:pt>
                      <c:pt idx="295">
                        <c:v>45304.291666666672</c:v>
                      </c:pt>
                      <c:pt idx="296">
                        <c:v>45304.333333333328</c:v>
                      </c:pt>
                      <c:pt idx="297">
                        <c:v>45304.375</c:v>
                      </c:pt>
                      <c:pt idx="298">
                        <c:v>45304.416666666672</c:v>
                      </c:pt>
                      <c:pt idx="299">
                        <c:v>45304.458333333328</c:v>
                      </c:pt>
                      <c:pt idx="300">
                        <c:v>45304.5</c:v>
                      </c:pt>
                      <c:pt idx="301">
                        <c:v>45304.541666666672</c:v>
                      </c:pt>
                      <c:pt idx="302">
                        <c:v>45304.583333333328</c:v>
                      </c:pt>
                      <c:pt idx="303">
                        <c:v>45304.625</c:v>
                      </c:pt>
                      <c:pt idx="304">
                        <c:v>45304.666666666672</c:v>
                      </c:pt>
                      <c:pt idx="305">
                        <c:v>45304.708333333328</c:v>
                      </c:pt>
                      <c:pt idx="306">
                        <c:v>45304.75</c:v>
                      </c:pt>
                      <c:pt idx="307">
                        <c:v>45304.791666666672</c:v>
                      </c:pt>
                      <c:pt idx="308">
                        <c:v>45304.833333333328</c:v>
                      </c:pt>
                      <c:pt idx="309">
                        <c:v>45304.875</c:v>
                      </c:pt>
                      <c:pt idx="310">
                        <c:v>45304.916666666672</c:v>
                      </c:pt>
                      <c:pt idx="311">
                        <c:v>45304.958333333328</c:v>
                      </c:pt>
                      <c:pt idx="312">
                        <c:v>45305</c:v>
                      </c:pt>
                      <c:pt idx="313">
                        <c:v>45305.041666666672</c:v>
                      </c:pt>
                      <c:pt idx="314">
                        <c:v>45305.083333333328</c:v>
                      </c:pt>
                      <c:pt idx="315">
                        <c:v>45305.125</c:v>
                      </c:pt>
                      <c:pt idx="316">
                        <c:v>45305.166666666672</c:v>
                      </c:pt>
                      <c:pt idx="317">
                        <c:v>45305.208333333328</c:v>
                      </c:pt>
                      <c:pt idx="318">
                        <c:v>45305.25</c:v>
                      </c:pt>
                      <c:pt idx="319">
                        <c:v>45305.291666666672</c:v>
                      </c:pt>
                      <c:pt idx="320">
                        <c:v>45305.333333333328</c:v>
                      </c:pt>
                      <c:pt idx="321">
                        <c:v>45305.375</c:v>
                      </c:pt>
                      <c:pt idx="322">
                        <c:v>45305.416666666672</c:v>
                      </c:pt>
                      <c:pt idx="323">
                        <c:v>45305.458333333328</c:v>
                      </c:pt>
                      <c:pt idx="324">
                        <c:v>45305.5</c:v>
                      </c:pt>
                      <c:pt idx="325">
                        <c:v>45305.541666666672</c:v>
                      </c:pt>
                      <c:pt idx="326">
                        <c:v>45305.583333333328</c:v>
                      </c:pt>
                      <c:pt idx="327">
                        <c:v>45305.625</c:v>
                      </c:pt>
                      <c:pt idx="328">
                        <c:v>45305.666666666672</c:v>
                      </c:pt>
                      <c:pt idx="329">
                        <c:v>45305.708333333328</c:v>
                      </c:pt>
                      <c:pt idx="330">
                        <c:v>45305.75</c:v>
                      </c:pt>
                      <c:pt idx="331">
                        <c:v>45305.791666666672</c:v>
                      </c:pt>
                      <c:pt idx="332">
                        <c:v>45305.833333333328</c:v>
                      </c:pt>
                      <c:pt idx="333">
                        <c:v>45305.875</c:v>
                      </c:pt>
                      <c:pt idx="334">
                        <c:v>45305.916666666672</c:v>
                      </c:pt>
                      <c:pt idx="335">
                        <c:v>45305.958333333328</c:v>
                      </c:pt>
                      <c:pt idx="336">
                        <c:v>45306</c:v>
                      </c:pt>
                      <c:pt idx="337">
                        <c:v>45306.041666666672</c:v>
                      </c:pt>
                      <c:pt idx="338">
                        <c:v>45306.083333333328</c:v>
                      </c:pt>
                      <c:pt idx="339">
                        <c:v>45306.125</c:v>
                      </c:pt>
                      <c:pt idx="340">
                        <c:v>45306.166666666672</c:v>
                      </c:pt>
                      <c:pt idx="341">
                        <c:v>45306.208333333328</c:v>
                      </c:pt>
                      <c:pt idx="342">
                        <c:v>45306.25</c:v>
                      </c:pt>
                      <c:pt idx="343">
                        <c:v>45306.291666666672</c:v>
                      </c:pt>
                      <c:pt idx="344">
                        <c:v>45306.333333333328</c:v>
                      </c:pt>
                      <c:pt idx="345">
                        <c:v>45306.375</c:v>
                      </c:pt>
                      <c:pt idx="346">
                        <c:v>45306.416666666672</c:v>
                      </c:pt>
                      <c:pt idx="347">
                        <c:v>45306.458333333328</c:v>
                      </c:pt>
                      <c:pt idx="348">
                        <c:v>45306.5</c:v>
                      </c:pt>
                      <c:pt idx="349">
                        <c:v>45306.541666666672</c:v>
                      </c:pt>
                      <c:pt idx="350">
                        <c:v>45306.583333333328</c:v>
                      </c:pt>
                      <c:pt idx="351">
                        <c:v>45306.625</c:v>
                      </c:pt>
                      <c:pt idx="352">
                        <c:v>45306.666666666672</c:v>
                      </c:pt>
                      <c:pt idx="353">
                        <c:v>45306.708333333328</c:v>
                      </c:pt>
                      <c:pt idx="354">
                        <c:v>45306.75</c:v>
                      </c:pt>
                      <c:pt idx="355">
                        <c:v>45306.791666666672</c:v>
                      </c:pt>
                      <c:pt idx="356">
                        <c:v>45306.833333333328</c:v>
                      </c:pt>
                      <c:pt idx="357">
                        <c:v>45306.875</c:v>
                      </c:pt>
                      <c:pt idx="358">
                        <c:v>45306.916666666672</c:v>
                      </c:pt>
                      <c:pt idx="359">
                        <c:v>45306.958333333328</c:v>
                      </c:pt>
                      <c:pt idx="360">
                        <c:v>45307</c:v>
                      </c:pt>
                      <c:pt idx="361">
                        <c:v>45307.041666666672</c:v>
                      </c:pt>
                      <c:pt idx="362">
                        <c:v>45307.083333333328</c:v>
                      </c:pt>
                      <c:pt idx="363">
                        <c:v>45307.125</c:v>
                      </c:pt>
                      <c:pt idx="364">
                        <c:v>45307.166666666672</c:v>
                      </c:pt>
                      <c:pt idx="365">
                        <c:v>45307.208333333328</c:v>
                      </c:pt>
                      <c:pt idx="366">
                        <c:v>45307.25</c:v>
                      </c:pt>
                      <c:pt idx="367">
                        <c:v>45307.291666666672</c:v>
                      </c:pt>
                      <c:pt idx="368">
                        <c:v>45307.333333333328</c:v>
                      </c:pt>
                      <c:pt idx="369">
                        <c:v>45307.375</c:v>
                      </c:pt>
                      <c:pt idx="370">
                        <c:v>45307.416666666672</c:v>
                      </c:pt>
                      <c:pt idx="371">
                        <c:v>45307.458333333328</c:v>
                      </c:pt>
                      <c:pt idx="372">
                        <c:v>45307.5</c:v>
                      </c:pt>
                      <c:pt idx="373">
                        <c:v>45307.541666666672</c:v>
                      </c:pt>
                      <c:pt idx="374">
                        <c:v>45307.583333333328</c:v>
                      </c:pt>
                      <c:pt idx="375">
                        <c:v>45307.625</c:v>
                      </c:pt>
                      <c:pt idx="376">
                        <c:v>45307.666666666672</c:v>
                      </c:pt>
                      <c:pt idx="377">
                        <c:v>45307.708333333328</c:v>
                      </c:pt>
                      <c:pt idx="378">
                        <c:v>45307.75</c:v>
                      </c:pt>
                      <c:pt idx="379">
                        <c:v>45307.791666666672</c:v>
                      </c:pt>
                      <c:pt idx="380">
                        <c:v>45307.833333333328</c:v>
                      </c:pt>
                      <c:pt idx="381">
                        <c:v>45307.875</c:v>
                      </c:pt>
                      <c:pt idx="382">
                        <c:v>45307.916666666672</c:v>
                      </c:pt>
                      <c:pt idx="383">
                        <c:v>45307.958333333328</c:v>
                      </c:pt>
                      <c:pt idx="384">
                        <c:v>45308</c:v>
                      </c:pt>
                      <c:pt idx="385">
                        <c:v>45308.041666666672</c:v>
                      </c:pt>
                      <c:pt idx="386">
                        <c:v>45308.083333333328</c:v>
                      </c:pt>
                      <c:pt idx="387">
                        <c:v>45308.125</c:v>
                      </c:pt>
                      <c:pt idx="388">
                        <c:v>45308.166666666672</c:v>
                      </c:pt>
                      <c:pt idx="389">
                        <c:v>45308.208333333328</c:v>
                      </c:pt>
                      <c:pt idx="390">
                        <c:v>45308.25</c:v>
                      </c:pt>
                      <c:pt idx="391">
                        <c:v>45308.291666666672</c:v>
                      </c:pt>
                      <c:pt idx="392">
                        <c:v>45308.333333333328</c:v>
                      </c:pt>
                      <c:pt idx="393">
                        <c:v>45308.375</c:v>
                      </c:pt>
                      <c:pt idx="394">
                        <c:v>45308.416666666672</c:v>
                      </c:pt>
                      <c:pt idx="395">
                        <c:v>45308.458333333328</c:v>
                      </c:pt>
                      <c:pt idx="396">
                        <c:v>45308.5</c:v>
                      </c:pt>
                      <c:pt idx="397">
                        <c:v>45308.541666666672</c:v>
                      </c:pt>
                      <c:pt idx="398">
                        <c:v>45308.583333333328</c:v>
                      </c:pt>
                      <c:pt idx="399">
                        <c:v>45308.625</c:v>
                      </c:pt>
                      <c:pt idx="400">
                        <c:v>45308.666666666672</c:v>
                      </c:pt>
                      <c:pt idx="401">
                        <c:v>45308.708333333328</c:v>
                      </c:pt>
                      <c:pt idx="402">
                        <c:v>45308.75</c:v>
                      </c:pt>
                      <c:pt idx="403">
                        <c:v>45308.791666666672</c:v>
                      </c:pt>
                      <c:pt idx="404">
                        <c:v>45308.833333333328</c:v>
                      </c:pt>
                      <c:pt idx="405">
                        <c:v>45308.875</c:v>
                      </c:pt>
                      <c:pt idx="406">
                        <c:v>45308.916666666672</c:v>
                      </c:pt>
                      <c:pt idx="407">
                        <c:v>45308.958333333328</c:v>
                      </c:pt>
                      <c:pt idx="408">
                        <c:v>45309</c:v>
                      </c:pt>
                      <c:pt idx="409">
                        <c:v>45309.041666666672</c:v>
                      </c:pt>
                      <c:pt idx="410">
                        <c:v>45309.083333333328</c:v>
                      </c:pt>
                      <c:pt idx="411">
                        <c:v>45309.125</c:v>
                      </c:pt>
                      <c:pt idx="412">
                        <c:v>45309.166666666672</c:v>
                      </c:pt>
                      <c:pt idx="413">
                        <c:v>45309.208333333328</c:v>
                      </c:pt>
                      <c:pt idx="414">
                        <c:v>45309.25</c:v>
                      </c:pt>
                      <c:pt idx="415">
                        <c:v>45309.291666666672</c:v>
                      </c:pt>
                      <c:pt idx="416">
                        <c:v>45309.333333333328</c:v>
                      </c:pt>
                      <c:pt idx="417">
                        <c:v>45309.375</c:v>
                      </c:pt>
                      <c:pt idx="418">
                        <c:v>45309.416666666672</c:v>
                      </c:pt>
                      <c:pt idx="419">
                        <c:v>45309.458333333328</c:v>
                      </c:pt>
                      <c:pt idx="420">
                        <c:v>45309.5</c:v>
                      </c:pt>
                      <c:pt idx="421">
                        <c:v>45309.541666666672</c:v>
                      </c:pt>
                      <c:pt idx="422">
                        <c:v>45309.583333333328</c:v>
                      </c:pt>
                      <c:pt idx="423">
                        <c:v>45309.625</c:v>
                      </c:pt>
                      <c:pt idx="424">
                        <c:v>45309.666666666672</c:v>
                      </c:pt>
                      <c:pt idx="425">
                        <c:v>45309.708333333328</c:v>
                      </c:pt>
                      <c:pt idx="426">
                        <c:v>45309.75</c:v>
                      </c:pt>
                      <c:pt idx="427">
                        <c:v>45309.791666666672</c:v>
                      </c:pt>
                      <c:pt idx="428">
                        <c:v>45309.833333333328</c:v>
                      </c:pt>
                      <c:pt idx="429">
                        <c:v>45309.875</c:v>
                      </c:pt>
                      <c:pt idx="430">
                        <c:v>45309.916666666672</c:v>
                      </c:pt>
                      <c:pt idx="431">
                        <c:v>45309.958333333328</c:v>
                      </c:pt>
                      <c:pt idx="432">
                        <c:v>45310</c:v>
                      </c:pt>
                      <c:pt idx="433">
                        <c:v>45310.041666666672</c:v>
                      </c:pt>
                      <c:pt idx="434">
                        <c:v>45310.083333333328</c:v>
                      </c:pt>
                      <c:pt idx="435">
                        <c:v>45310.125</c:v>
                      </c:pt>
                      <c:pt idx="436">
                        <c:v>45310.166666666672</c:v>
                      </c:pt>
                      <c:pt idx="437">
                        <c:v>45310.208333333328</c:v>
                      </c:pt>
                      <c:pt idx="438">
                        <c:v>45310.25</c:v>
                      </c:pt>
                      <c:pt idx="439">
                        <c:v>45310.291666666672</c:v>
                      </c:pt>
                      <c:pt idx="440">
                        <c:v>45310.333333333328</c:v>
                      </c:pt>
                      <c:pt idx="441">
                        <c:v>45310.375</c:v>
                      </c:pt>
                      <c:pt idx="442">
                        <c:v>45310.416666666672</c:v>
                      </c:pt>
                      <c:pt idx="443">
                        <c:v>45310.458333333328</c:v>
                      </c:pt>
                      <c:pt idx="444">
                        <c:v>45310.5</c:v>
                      </c:pt>
                      <c:pt idx="445">
                        <c:v>45310.541666666672</c:v>
                      </c:pt>
                      <c:pt idx="446">
                        <c:v>45310.583333333328</c:v>
                      </c:pt>
                      <c:pt idx="447">
                        <c:v>45310.625</c:v>
                      </c:pt>
                      <c:pt idx="448">
                        <c:v>45310.666666666672</c:v>
                      </c:pt>
                      <c:pt idx="449">
                        <c:v>45310.708333333328</c:v>
                      </c:pt>
                      <c:pt idx="450">
                        <c:v>45310.75</c:v>
                      </c:pt>
                      <c:pt idx="451">
                        <c:v>45310.791666666672</c:v>
                      </c:pt>
                      <c:pt idx="452">
                        <c:v>45310.833333333328</c:v>
                      </c:pt>
                      <c:pt idx="453">
                        <c:v>45310.875</c:v>
                      </c:pt>
                      <c:pt idx="454">
                        <c:v>45310.916666666672</c:v>
                      </c:pt>
                      <c:pt idx="455">
                        <c:v>45310.958333333328</c:v>
                      </c:pt>
                      <c:pt idx="456">
                        <c:v>45311</c:v>
                      </c:pt>
                      <c:pt idx="457">
                        <c:v>45311.041666666672</c:v>
                      </c:pt>
                      <c:pt idx="458">
                        <c:v>45311.083333333328</c:v>
                      </c:pt>
                      <c:pt idx="459">
                        <c:v>45311.125</c:v>
                      </c:pt>
                      <c:pt idx="460">
                        <c:v>45311.166666666672</c:v>
                      </c:pt>
                      <c:pt idx="461">
                        <c:v>45311.208333333328</c:v>
                      </c:pt>
                      <c:pt idx="462">
                        <c:v>45311.25</c:v>
                      </c:pt>
                      <c:pt idx="463">
                        <c:v>45311.291666666672</c:v>
                      </c:pt>
                      <c:pt idx="464">
                        <c:v>45311.333333333328</c:v>
                      </c:pt>
                      <c:pt idx="465">
                        <c:v>45311.375</c:v>
                      </c:pt>
                      <c:pt idx="466">
                        <c:v>45311.416666666672</c:v>
                      </c:pt>
                      <c:pt idx="467">
                        <c:v>45311.458333333328</c:v>
                      </c:pt>
                      <c:pt idx="468">
                        <c:v>45311.5</c:v>
                      </c:pt>
                      <c:pt idx="469">
                        <c:v>45311.541666666672</c:v>
                      </c:pt>
                      <c:pt idx="470">
                        <c:v>45311.583333333328</c:v>
                      </c:pt>
                      <c:pt idx="471">
                        <c:v>45311.625</c:v>
                      </c:pt>
                      <c:pt idx="472">
                        <c:v>45311.666666666672</c:v>
                      </c:pt>
                      <c:pt idx="473">
                        <c:v>45311.708333333328</c:v>
                      </c:pt>
                      <c:pt idx="474">
                        <c:v>45311.75</c:v>
                      </c:pt>
                      <c:pt idx="475">
                        <c:v>45311.791666666672</c:v>
                      </c:pt>
                      <c:pt idx="476">
                        <c:v>45311.833333333328</c:v>
                      </c:pt>
                      <c:pt idx="477">
                        <c:v>45311.875</c:v>
                      </c:pt>
                      <c:pt idx="478">
                        <c:v>45311.916666666672</c:v>
                      </c:pt>
                      <c:pt idx="479">
                        <c:v>45311.958333333328</c:v>
                      </c:pt>
                      <c:pt idx="480">
                        <c:v>45312</c:v>
                      </c:pt>
                      <c:pt idx="481">
                        <c:v>45312.041666666672</c:v>
                      </c:pt>
                      <c:pt idx="482">
                        <c:v>45312.083333333328</c:v>
                      </c:pt>
                      <c:pt idx="483">
                        <c:v>45312.125</c:v>
                      </c:pt>
                      <c:pt idx="484">
                        <c:v>45312.166666666672</c:v>
                      </c:pt>
                      <c:pt idx="485">
                        <c:v>45312.208333333328</c:v>
                      </c:pt>
                      <c:pt idx="486">
                        <c:v>45312.25</c:v>
                      </c:pt>
                      <c:pt idx="487">
                        <c:v>45312.291666666672</c:v>
                      </c:pt>
                      <c:pt idx="488">
                        <c:v>45312.333333333328</c:v>
                      </c:pt>
                      <c:pt idx="489">
                        <c:v>45312.375</c:v>
                      </c:pt>
                      <c:pt idx="490">
                        <c:v>45312.416666666672</c:v>
                      </c:pt>
                      <c:pt idx="491">
                        <c:v>45312.458333333328</c:v>
                      </c:pt>
                      <c:pt idx="492">
                        <c:v>45312.5</c:v>
                      </c:pt>
                      <c:pt idx="493">
                        <c:v>45312.541666666672</c:v>
                      </c:pt>
                      <c:pt idx="494">
                        <c:v>45312.583333333328</c:v>
                      </c:pt>
                      <c:pt idx="495">
                        <c:v>45312.625</c:v>
                      </c:pt>
                      <c:pt idx="496">
                        <c:v>45312.666666666672</c:v>
                      </c:pt>
                      <c:pt idx="497">
                        <c:v>45312.708333333328</c:v>
                      </c:pt>
                      <c:pt idx="498">
                        <c:v>45312.75</c:v>
                      </c:pt>
                      <c:pt idx="499">
                        <c:v>45312.791666666672</c:v>
                      </c:pt>
                      <c:pt idx="500">
                        <c:v>45312.833333333328</c:v>
                      </c:pt>
                      <c:pt idx="501">
                        <c:v>45312.875</c:v>
                      </c:pt>
                      <c:pt idx="502">
                        <c:v>45312.916666666672</c:v>
                      </c:pt>
                      <c:pt idx="503">
                        <c:v>45312.958333333328</c:v>
                      </c:pt>
                      <c:pt idx="504">
                        <c:v>45313</c:v>
                      </c:pt>
                      <c:pt idx="505">
                        <c:v>45313.041666666672</c:v>
                      </c:pt>
                      <c:pt idx="506">
                        <c:v>45313.083333333328</c:v>
                      </c:pt>
                      <c:pt idx="507">
                        <c:v>45313.125</c:v>
                      </c:pt>
                      <c:pt idx="508">
                        <c:v>45313.166666666672</c:v>
                      </c:pt>
                      <c:pt idx="509">
                        <c:v>45313.208333333328</c:v>
                      </c:pt>
                      <c:pt idx="510">
                        <c:v>45313.25</c:v>
                      </c:pt>
                      <c:pt idx="511">
                        <c:v>45313.291666666672</c:v>
                      </c:pt>
                      <c:pt idx="512">
                        <c:v>45313.333333333328</c:v>
                      </c:pt>
                      <c:pt idx="513">
                        <c:v>45313.375</c:v>
                      </c:pt>
                      <c:pt idx="514">
                        <c:v>45313.416666666672</c:v>
                      </c:pt>
                      <c:pt idx="515">
                        <c:v>45313.458333333328</c:v>
                      </c:pt>
                      <c:pt idx="516">
                        <c:v>45313.5</c:v>
                      </c:pt>
                      <c:pt idx="517">
                        <c:v>45313.541666666672</c:v>
                      </c:pt>
                      <c:pt idx="518">
                        <c:v>45313.583333333328</c:v>
                      </c:pt>
                      <c:pt idx="519">
                        <c:v>45313.625</c:v>
                      </c:pt>
                      <c:pt idx="520">
                        <c:v>45313.666666666672</c:v>
                      </c:pt>
                      <c:pt idx="521">
                        <c:v>45313.708333333328</c:v>
                      </c:pt>
                      <c:pt idx="522">
                        <c:v>45313.75</c:v>
                      </c:pt>
                      <c:pt idx="523">
                        <c:v>45313.791666666672</c:v>
                      </c:pt>
                      <c:pt idx="524">
                        <c:v>45313.833333333328</c:v>
                      </c:pt>
                      <c:pt idx="525">
                        <c:v>45313.875</c:v>
                      </c:pt>
                      <c:pt idx="526">
                        <c:v>45313.916666666672</c:v>
                      </c:pt>
                      <c:pt idx="527">
                        <c:v>45313.958333333328</c:v>
                      </c:pt>
                      <c:pt idx="528">
                        <c:v>45314</c:v>
                      </c:pt>
                      <c:pt idx="529">
                        <c:v>45314.041666666672</c:v>
                      </c:pt>
                      <c:pt idx="530">
                        <c:v>45314.083333333328</c:v>
                      </c:pt>
                      <c:pt idx="531">
                        <c:v>45314.125</c:v>
                      </c:pt>
                      <c:pt idx="532">
                        <c:v>45314.166666666672</c:v>
                      </c:pt>
                      <c:pt idx="533">
                        <c:v>45314.208333333328</c:v>
                      </c:pt>
                      <c:pt idx="534">
                        <c:v>45314.25</c:v>
                      </c:pt>
                      <c:pt idx="535">
                        <c:v>45314.291666666672</c:v>
                      </c:pt>
                      <c:pt idx="536">
                        <c:v>45314.333333333328</c:v>
                      </c:pt>
                      <c:pt idx="537">
                        <c:v>45314.375</c:v>
                      </c:pt>
                      <c:pt idx="538">
                        <c:v>45314.416666666672</c:v>
                      </c:pt>
                      <c:pt idx="539">
                        <c:v>45314.458333333328</c:v>
                      </c:pt>
                      <c:pt idx="540">
                        <c:v>45314.5</c:v>
                      </c:pt>
                      <c:pt idx="541">
                        <c:v>45314.541666666672</c:v>
                      </c:pt>
                      <c:pt idx="542">
                        <c:v>45314.583333333328</c:v>
                      </c:pt>
                      <c:pt idx="543">
                        <c:v>45314.625</c:v>
                      </c:pt>
                      <c:pt idx="544">
                        <c:v>45314.666666666672</c:v>
                      </c:pt>
                      <c:pt idx="545">
                        <c:v>45314.708333333328</c:v>
                      </c:pt>
                      <c:pt idx="546">
                        <c:v>45314.75</c:v>
                      </c:pt>
                      <c:pt idx="547">
                        <c:v>45314.791666666672</c:v>
                      </c:pt>
                      <c:pt idx="548">
                        <c:v>45314.833333333328</c:v>
                      </c:pt>
                      <c:pt idx="549">
                        <c:v>45314.875</c:v>
                      </c:pt>
                      <c:pt idx="550">
                        <c:v>45314.916666666672</c:v>
                      </c:pt>
                      <c:pt idx="551">
                        <c:v>45314.958333333328</c:v>
                      </c:pt>
                      <c:pt idx="552">
                        <c:v>45315</c:v>
                      </c:pt>
                      <c:pt idx="553">
                        <c:v>45315.041666666672</c:v>
                      </c:pt>
                      <c:pt idx="554">
                        <c:v>45315.083333333328</c:v>
                      </c:pt>
                      <c:pt idx="555">
                        <c:v>45315.125</c:v>
                      </c:pt>
                      <c:pt idx="556">
                        <c:v>45315.166666666672</c:v>
                      </c:pt>
                      <c:pt idx="557">
                        <c:v>45315.208333333328</c:v>
                      </c:pt>
                      <c:pt idx="558">
                        <c:v>45315.25</c:v>
                      </c:pt>
                      <c:pt idx="559">
                        <c:v>45315.291666666672</c:v>
                      </c:pt>
                      <c:pt idx="560">
                        <c:v>45315.333333333328</c:v>
                      </c:pt>
                      <c:pt idx="561">
                        <c:v>45315.375</c:v>
                      </c:pt>
                      <c:pt idx="562">
                        <c:v>45315.416666666672</c:v>
                      </c:pt>
                      <c:pt idx="563">
                        <c:v>45315.458333333328</c:v>
                      </c:pt>
                      <c:pt idx="564">
                        <c:v>45315.5</c:v>
                      </c:pt>
                      <c:pt idx="565">
                        <c:v>45315.541666666672</c:v>
                      </c:pt>
                      <c:pt idx="566">
                        <c:v>45315.583333333328</c:v>
                      </c:pt>
                      <c:pt idx="567">
                        <c:v>45315.625</c:v>
                      </c:pt>
                      <c:pt idx="568">
                        <c:v>45315.666666666672</c:v>
                      </c:pt>
                      <c:pt idx="569">
                        <c:v>45315.708333333328</c:v>
                      </c:pt>
                      <c:pt idx="570">
                        <c:v>45315.75</c:v>
                      </c:pt>
                      <c:pt idx="571">
                        <c:v>45315.791666666672</c:v>
                      </c:pt>
                      <c:pt idx="572">
                        <c:v>45315.833333333328</c:v>
                      </c:pt>
                      <c:pt idx="573">
                        <c:v>45315.875</c:v>
                      </c:pt>
                      <c:pt idx="574">
                        <c:v>45315.916666666672</c:v>
                      </c:pt>
                      <c:pt idx="575">
                        <c:v>45315.958333333328</c:v>
                      </c:pt>
                      <c:pt idx="576">
                        <c:v>45316</c:v>
                      </c:pt>
                      <c:pt idx="577">
                        <c:v>45316.041666666672</c:v>
                      </c:pt>
                      <c:pt idx="578">
                        <c:v>45316.083333333328</c:v>
                      </c:pt>
                      <c:pt idx="579">
                        <c:v>45316.125</c:v>
                      </c:pt>
                      <c:pt idx="580">
                        <c:v>45316.166666666672</c:v>
                      </c:pt>
                      <c:pt idx="581">
                        <c:v>45316.208333333328</c:v>
                      </c:pt>
                      <c:pt idx="582">
                        <c:v>45316.25</c:v>
                      </c:pt>
                      <c:pt idx="583">
                        <c:v>45316.291666666672</c:v>
                      </c:pt>
                      <c:pt idx="584">
                        <c:v>45316.333333333328</c:v>
                      </c:pt>
                      <c:pt idx="585">
                        <c:v>45316.375</c:v>
                      </c:pt>
                      <c:pt idx="586">
                        <c:v>45316.416666666672</c:v>
                      </c:pt>
                      <c:pt idx="587">
                        <c:v>45316.458333333328</c:v>
                      </c:pt>
                      <c:pt idx="588">
                        <c:v>45316.5</c:v>
                      </c:pt>
                      <c:pt idx="589">
                        <c:v>45316.541666666672</c:v>
                      </c:pt>
                      <c:pt idx="590">
                        <c:v>45316.583333333328</c:v>
                      </c:pt>
                      <c:pt idx="591">
                        <c:v>45316.625</c:v>
                      </c:pt>
                      <c:pt idx="592">
                        <c:v>45316.666666666672</c:v>
                      </c:pt>
                      <c:pt idx="593">
                        <c:v>45316.708333333328</c:v>
                      </c:pt>
                      <c:pt idx="594">
                        <c:v>45316.75</c:v>
                      </c:pt>
                      <c:pt idx="595">
                        <c:v>45316.791666666672</c:v>
                      </c:pt>
                      <c:pt idx="596">
                        <c:v>45316.833333333328</c:v>
                      </c:pt>
                      <c:pt idx="597">
                        <c:v>45316.875</c:v>
                      </c:pt>
                      <c:pt idx="598">
                        <c:v>45316.916666666672</c:v>
                      </c:pt>
                      <c:pt idx="599">
                        <c:v>45316.958333333328</c:v>
                      </c:pt>
                      <c:pt idx="600">
                        <c:v>45317</c:v>
                      </c:pt>
                      <c:pt idx="601">
                        <c:v>45317.041666666672</c:v>
                      </c:pt>
                      <c:pt idx="602">
                        <c:v>45317.083333333328</c:v>
                      </c:pt>
                      <c:pt idx="603">
                        <c:v>45317.125</c:v>
                      </c:pt>
                      <c:pt idx="604">
                        <c:v>45317.166666666672</c:v>
                      </c:pt>
                      <c:pt idx="605">
                        <c:v>45317.208333333328</c:v>
                      </c:pt>
                      <c:pt idx="606">
                        <c:v>45317.25</c:v>
                      </c:pt>
                      <c:pt idx="607">
                        <c:v>45317.291666666672</c:v>
                      </c:pt>
                      <c:pt idx="608">
                        <c:v>45317.333333333328</c:v>
                      </c:pt>
                      <c:pt idx="609">
                        <c:v>45317.375</c:v>
                      </c:pt>
                      <c:pt idx="610">
                        <c:v>45317.416666666672</c:v>
                      </c:pt>
                      <c:pt idx="611">
                        <c:v>45317.458333333328</c:v>
                      </c:pt>
                      <c:pt idx="612">
                        <c:v>45317.5</c:v>
                      </c:pt>
                      <c:pt idx="613">
                        <c:v>45317.541666666672</c:v>
                      </c:pt>
                      <c:pt idx="614">
                        <c:v>45317.583333333328</c:v>
                      </c:pt>
                      <c:pt idx="615">
                        <c:v>45317.625</c:v>
                      </c:pt>
                      <c:pt idx="616">
                        <c:v>45317.666666666672</c:v>
                      </c:pt>
                      <c:pt idx="617">
                        <c:v>45317.708333333328</c:v>
                      </c:pt>
                      <c:pt idx="618">
                        <c:v>45317.75</c:v>
                      </c:pt>
                      <c:pt idx="619">
                        <c:v>45317.791666666672</c:v>
                      </c:pt>
                      <c:pt idx="620">
                        <c:v>45317.833333333328</c:v>
                      </c:pt>
                      <c:pt idx="621">
                        <c:v>45317.875</c:v>
                      </c:pt>
                      <c:pt idx="622">
                        <c:v>45317.916666666672</c:v>
                      </c:pt>
                      <c:pt idx="623">
                        <c:v>45317.958333333328</c:v>
                      </c:pt>
                      <c:pt idx="624">
                        <c:v>45318</c:v>
                      </c:pt>
                      <c:pt idx="625">
                        <c:v>45318.041666666672</c:v>
                      </c:pt>
                      <c:pt idx="626">
                        <c:v>45318.083333333328</c:v>
                      </c:pt>
                      <c:pt idx="627">
                        <c:v>45318.125</c:v>
                      </c:pt>
                      <c:pt idx="628">
                        <c:v>45318.166666666672</c:v>
                      </c:pt>
                      <c:pt idx="629">
                        <c:v>45318.208333333328</c:v>
                      </c:pt>
                      <c:pt idx="630">
                        <c:v>45318.25</c:v>
                      </c:pt>
                      <c:pt idx="631">
                        <c:v>45318.291666666672</c:v>
                      </c:pt>
                      <c:pt idx="632">
                        <c:v>45318.333333333328</c:v>
                      </c:pt>
                      <c:pt idx="633">
                        <c:v>45318.375</c:v>
                      </c:pt>
                      <c:pt idx="634">
                        <c:v>45318.416666666672</c:v>
                      </c:pt>
                      <c:pt idx="635">
                        <c:v>45318.458333333328</c:v>
                      </c:pt>
                      <c:pt idx="636">
                        <c:v>45318.5</c:v>
                      </c:pt>
                      <c:pt idx="637">
                        <c:v>45318.541666666672</c:v>
                      </c:pt>
                      <c:pt idx="638">
                        <c:v>45318.583333333328</c:v>
                      </c:pt>
                      <c:pt idx="639">
                        <c:v>45318.625</c:v>
                      </c:pt>
                      <c:pt idx="640">
                        <c:v>45318.666666666672</c:v>
                      </c:pt>
                      <c:pt idx="641">
                        <c:v>45318.708333333328</c:v>
                      </c:pt>
                      <c:pt idx="642">
                        <c:v>45318.75</c:v>
                      </c:pt>
                      <c:pt idx="643">
                        <c:v>45318.791666666672</c:v>
                      </c:pt>
                      <c:pt idx="644">
                        <c:v>45318.833333333328</c:v>
                      </c:pt>
                      <c:pt idx="645">
                        <c:v>45318.875</c:v>
                      </c:pt>
                      <c:pt idx="646">
                        <c:v>45318.916666666672</c:v>
                      </c:pt>
                      <c:pt idx="647">
                        <c:v>45318.958333333328</c:v>
                      </c:pt>
                      <c:pt idx="648">
                        <c:v>45319</c:v>
                      </c:pt>
                      <c:pt idx="649">
                        <c:v>45319.041666666672</c:v>
                      </c:pt>
                      <c:pt idx="650">
                        <c:v>45319.083333333328</c:v>
                      </c:pt>
                      <c:pt idx="651">
                        <c:v>45319.125</c:v>
                      </c:pt>
                      <c:pt idx="652">
                        <c:v>45319.166666666672</c:v>
                      </c:pt>
                      <c:pt idx="653">
                        <c:v>45319.208333333328</c:v>
                      </c:pt>
                      <c:pt idx="654">
                        <c:v>45319.25</c:v>
                      </c:pt>
                      <c:pt idx="655">
                        <c:v>45319.291666666672</c:v>
                      </c:pt>
                      <c:pt idx="656">
                        <c:v>45319.333333333328</c:v>
                      </c:pt>
                      <c:pt idx="657">
                        <c:v>45319.375</c:v>
                      </c:pt>
                      <c:pt idx="658">
                        <c:v>45319.416666666672</c:v>
                      </c:pt>
                      <c:pt idx="659">
                        <c:v>45319.458333333328</c:v>
                      </c:pt>
                      <c:pt idx="660">
                        <c:v>45319.5</c:v>
                      </c:pt>
                      <c:pt idx="661">
                        <c:v>45319.541666666672</c:v>
                      </c:pt>
                      <c:pt idx="662">
                        <c:v>45319.583333333328</c:v>
                      </c:pt>
                      <c:pt idx="663">
                        <c:v>45319.625</c:v>
                      </c:pt>
                      <c:pt idx="664">
                        <c:v>45319.666666666672</c:v>
                      </c:pt>
                      <c:pt idx="665">
                        <c:v>45319.708333333328</c:v>
                      </c:pt>
                      <c:pt idx="666">
                        <c:v>45319.75</c:v>
                      </c:pt>
                      <c:pt idx="667">
                        <c:v>45319.791666666672</c:v>
                      </c:pt>
                      <c:pt idx="668">
                        <c:v>45319.833333333328</c:v>
                      </c:pt>
                      <c:pt idx="669">
                        <c:v>45319.875</c:v>
                      </c:pt>
                      <c:pt idx="670">
                        <c:v>45319.916666666672</c:v>
                      </c:pt>
                      <c:pt idx="671">
                        <c:v>45319.958333333328</c:v>
                      </c:pt>
                      <c:pt idx="672">
                        <c:v>45320</c:v>
                      </c:pt>
                      <c:pt idx="673">
                        <c:v>45320.041666666672</c:v>
                      </c:pt>
                      <c:pt idx="674">
                        <c:v>45320.083333333328</c:v>
                      </c:pt>
                      <c:pt idx="675">
                        <c:v>45320.125</c:v>
                      </c:pt>
                      <c:pt idx="676">
                        <c:v>45320.166666666672</c:v>
                      </c:pt>
                      <c:pt idx="677">
                        <c:v>45320.208333333328</c:v>
                      </c:pt>
                      <c:pt idx="678">
                        <c:v>45320.25</c:v>
                      </c:pt>
                      <c:pt idx="679">
                        <c:v>45320.291666666672</c:v>
                      </c:pt>
                      <c:pt idx="680">
                        <c:v>45320.333333333328</c:v>
                      </c:pt>
                      <c:pt idx="681">
                        <c:v>45320.375</c:v>
                      </c:pt>
                      <c:pt idx="682">
                        <c:v>45320.416666666672</c:v>
                      </c:pt>
                      <c:pt idx="683">
                        <c:v>45320.458333333328</c:v>
                      </c:pt>
                      <c:pt idx="684">
                        <c:v>45320.5</c:v>
                      </c:pt>
                      <c:pt idx="685">
                        <c:v>45320.541666666672</c:v>
                      </c:pt>
                      <c:pt idx="686">
                        <c:v>45320.583333333328</c:v>
                      </c:pt>
                      <c:pt idx="687">
                        <c:v>45320.625</c:v>
                      </c:pt>
                      <c:pt idx="688">
                        <c:v>45320.666666666672</c:v>
                      </c:pt>
                      <c:pt idx="689">
                        <c:v>45320.708333333328</c:v>
                      </c:pt>
                      <c:pt idx="690">
                        <c:v>45320.75</c:v>
                      </c:pt>
                      <c:pt idx="691">
                        <c:v>45320.791666666672</c:v>
                      </c:pt>
                      <c:pt idx="692">
                        <c:v>45320.833333333328</c:v>
                      </c:pt>
                      <c:pt idx="693">
                        <c:v>45320.875</c:v>
                      </c:pt>
                      <c:pt idx="694">
                        <c:v>45320.916666666672</c:v>
                      </c:pt>
                      <c:pt idx="695">
                        <c:v>45320.958333333328</c:v>
                      </c:pt>
                      <c:pt idx="696">
                        <c:v>45321</c:v>
                      </c:pt>
                      <c:pt idx="697">
                        <c:v>45321.041666666672</c:v>
                      </c:pt>
                      <c:pt idx="698">
                        <c:v>45321.083333333328</c:v>
                      </c:pt>
                      <c:pt idx="699">
                        <c:v>45321.125</c:v>
                      </c:pt>
                      <c:pt idx="700">
                        <c:v>45321.166666666672</c:v>
                      </c:pt>
                      <c:pt idx="701">
                        <c:v>45321.208333333328</c:v>
                      </c:pt>
                      <c:pt idx="702">
                        <c:v>45321.25</c:v>
                      </c:pt>
                      <c:pt idx="703">
                        <c:v>45321.291666666672</c:v>
                      </c:pt>
                      <c:pt idx="704">
                        <c:v>45321.333333333328</c:v>
                      </c:pt>
                      <c:pt idx="705">
                        <c:v>45321.375</c:v>
                      </c:pt>
                      <c:pt idx="706">
                        <c:v>45321.416666666672</c:v>
                      </c:pt>
                      <c:pt idx="707">
                        <c:v>45321.458333333328</c:v>
                      </c:pt>
                      <c:pt idx="708">
                        <c:v>45321.5</c:v>
                      </c:pt>
                      <c:pt idx="709">
                        <c:v>45321.541666666672</c:v>
                      </c:pt>
                      <c:pt idx="710">
                        <c:v>45321.583333333328</c:v>
                      </c:pt>
                      <c:pt idx="711">
                        <c:v>45321.625</c:v>
                      </c:pt>
                      <c:pt idx="712">
                        <c:v>45321.666666666672</c:v>
                      </c:pt>
                      <c:pt idx="713">
                        <c:v>45321.708333333328</c:v>
                      </c:pt>
                      <c:pt idx="714">
                        <c:v>45321.75</c:v>
                      </c:pt>
                      <c:pt idx="715">
                        <c:v>45321.791666666672</c:v>
                      </c:pt>
                      <c:pt idx="716">
                        <c:v>45321.833333333328</c:v>
                      </c:pt>
                      <c:pt idx="717">
                        <c:v>45321.875</c:v>
                      </c:pt>
                      <c:pt idx="718">
                        <c:v>45321.916666666672</c:v>
                      </c:pt>
                      <c:pt idx="719">
                        <c:v>45321.958333333328</c:v>
                      </c:pt>
                      <c:pt idx="720">
                        <c:v>45322</c:v>
                      </c:pt>
                      <c:pt idx="721">
                        <c:v>45322.041666666672</c:v>
                      </c:pt>
                      <c:pt idx="722">
                        <c:v>45322.083333333328</c:v>
                      </c:pt>
                      <c:pt idx="723">
                        <c:v>45322.125</c:v>
                      </c:pt>
                      <c:pt idx="724">
                        <c:v>45322.166666666672</c:v>
                      </c:pt>
                      <c:pt idx="725">
                        <c:v>45322.208333333328</c:v>
                      </c:pt>
                      <c:pt idx="726">
                        <c:v>45322.25</c:v>
                      </c:pt>
                      <c:pt idx="727">
                        <c:v>45322.291666666672</c:v>
                      </c:pt>
                      <c:pt idx="728">
                        <c:v>45322.333333333328</c:v>
                      </c:pt>
                      <c:pt idx="729">
                        <c:v>45322.375</c:v>
                      </c:pt>
                      <c:pt idx="730">
                        <c:v>45322.416666666672</c:v>
                      </c:pt>
                      <c:pt idx="731">
                        <c:v>45322.458333333328</c:v>
                      </c:pt>
                      <c:pt idx="732">
                        <c:v>45322.5</c:v>
                      </c:pt>
                      <c:pt idx="733">
                        <c:v>45322.541666666672</c:v>
                      </c:pt>
                      <c:pt idx="734">
                        <c:v>45322.583333333328</c:v>
                      </c:pt>
                      <c:pt idx="735">
                        <c:v>45322.625</c:v>
                      </c:pt>
                      <c:pt idx="736">
                        <c:v>45322.666666666672</c:v>
                      </c:pt>
                      <c:pt idx="737">
                        <c:v>45322.708333333328</c:v>
                      </c:pt>
                      <c:pt idx="738">
                        <c:v>45322.75</c:v>
                      </c:pt>
                      <c:pt idx="739">
                        <c:v>45322.791666666672</c:v>
                      </c:pt>
                      <c:pt idx="740">
                        <c:v>45322.833333333328</c:v>
                      </c:pt>
                      <c:pt idx="741">
                        <c:v>45322.875</c:v>
                      </c:pt>
                      <c:pt idx="742">
                        <c:v>45322.916666666672</c:v>
                      </c:pt>
                      <c:pt idx="743">
                        <c:v>45322.958333333328</c:v>
                      </c:pt>
                      <c:pt idx="744">
                        <c:v>45323</c:v>
                      </c:pt>
                      <c:pt idx="745">
                        <c:v>45323.041666666672</c:v>
                      </c:pt>
                      <c:pt idx="746">
                        <c:v>45323.083333333328</c:v>
                      </c:pt>
                      <c:pt idx="747">
                        <c:v>45323.125</c:v>
                      </c:pt>
                      <c:pt idx="748">
                        <c:v>45323.166666666672</c:v>
                      </c:pt>
                      <c:pt idx="749">
                        <c:v>45323.208333333328</c:v>
                      </c:pt>
                      <c:pt idx="750">
                        <c:v>45323.25</c:v>
                      </c:pt>
                      <c:pt idx="751">
                        <c:v>45323.291666666672</c:v>
                      </c:pt>
                      <c:pt idx="752">
                        <c:v>45323.333333333328</c:v>
                      </c:pt>
                      <c:pt idx="753">
                        <c:v>45323.375</c:v>
                      </c:pt>
                      <c:pt idx="754">
                        <c:v>45323.416666666672</c:v>
                      </c:pt>
                      <c:pt idx="755">
                        <c:v>45323.458333333328</c:v>
                      </c:pt>
                      <c:pt idx="756">
                        <c:v>45323.5</c:v>
                      </c:pt>
                      <c:pt idx="757">
                        <c:v>45323.541666666672</c:v>
                      </c:pt>
                      <c:pt idx="758">
                        <c:v>45323.583333333328</c:v>
                      </c:pt>
                      <c:pt idx="759">
                        <c:v>45323.625</c:v>
                      </c:pt>
                      <c:pt idx="760">
                        <c:v>45323.666666666672</c:v>
                      </c:pt>
                      <c:pt idx="761">
                        <c:v>45323.708333333328</c:v>
                      </c:pt>
                      <c:pt idx="762">
                        <c:v>45323.75</c:v>
                      </c:pt>
                      <c:pt idx="763">
                        <c:v>45323.791666666672</c:v>
                      </c:pt>
                      <c:pt idx="764">
                        <c:v>45323.833333333328</c:v>
                      </c:pt>
                      <c:pt idx="765">
                        <c:v>45323.875</c:v>
                      </c:pt>
                      <c:pt idx="766">
                        <c:v>45323.916666666672</c:v>
                      </c:pt>
                      <c:pt idx="767">
                        <c:v>45323.958333333328</c:v>
                      </c:pt>
                      <c:pt idx="768">
                        <c:v>45324</c:v>
                      </c:pt>
                      <c:pt idx="769">
                        <c:v>45324.041666666672</c:v>
                      </c:pt>
                      <c:pt idx="770">
                        <c:v>45324.083333333328</c:v>
                      </c:pt>
                      <c:pt idx="771">
                        <c:v>45324.125</c:v>
                      </c:pt>
                      <c:pt idx="772">
                        <c:v>45324.166666666672</c:v>
                      </c:pt>
                      <c:pt idx="773">
                        <c:v>45324.208333333328</c:v>
                      </c:pt>
                      <c:pt idx="774">
                        <c:v>45324.25</c:v>
                      </c:pt>
                      <c:pt idx="775">
                        <c:v>45324.291666666672</c:v>
                      </c:pt>
                      <c:pt idx="776">
                        <c:v>45324.333333333328</c:v>
                      </c:pt>
                      <c:pt idx="777">
                        <c:v>45324.375</c:v>
                      </c:pt>
                      <c:pt idx="778">
                        <c:v>45324.416666666672</c:v>
                      </c:pt>
                      <c:pt idx="779">
                        <c:v>45324.458333333328</c:v>
                      </c:pt>
                      <c:pt idx="780">
                        <c:v>45324.5</c:v>
                      </c:pt>
                      <c:pt idx="781">
                        <c:v>45324.541666666672</c:v>
                      </c:pt>
                      <c:pt idx="782">
                        <c:v>45324.583333333328</c:v>
                      </c:pt>
                      <c:pt idx="783">
                        <c:v>45324.625</c:v>
                      </c:pt>
                      <c:pt idx="784">
                        <c:v>45324.666666666672</c:v>
                      </c:pt>
                      <c:pt idx="785">
                        <c:v>45324.708333333328</c:v>
                      </c:pt>
                      <c:pt idx="786">
                        <c:v>45324.75</c:v>
                      </c:pt>
                      <c:pt idx="787">
                        <c:v>45324.791666666672</c:v>
                      </c:pt>
                      <c:pt idx="788">
                        <c:v>45324.833333333328</c:v>
                      </c:pt>
                      <c:pt idx="789">
                        <c:v>45324.875</c:v>
                      </c:pt>
                      <c:pt idx="790">
                        <c:v>45324.916666666672</c:v>
                      </c:pt>
                      <c:pt idx="791">
                        <c:v>45324.958333333328</c:v>
                      </c:pt>
                      <c:pt idx="792">
                        <c:v>45325</c:v>
                      </c:pt>
                      <c:pt idx="793">
                        <c:v>45325.041666666672</c:v>
                      </c:pt>
                      <c:pt idx="794">
                        <c:v>45325.083333333328</c:v>
                      </c:pt>
                      <c:pt idx="795">
                        <c:v>45325.125</c:v>
                      </c:pt>
                      <c:pt idx="796">
                        <c:v>45325.166666666672</c:v>
                      </c:pt>
                      <c:pt idx="797">
                        <c:v>45325.208333333328</c:v>
                      </c:pt>
                      <c:pt idx="798">
                        <c:v>45325.25</c:v>
                      </c:pt>
                      <c:pt idx="799">
                        <c:v>45325.291666666672</c:v>
                      </c:pt>
                      <c:pt idx="800">
                        <c:v>45325.333333333328</c:v>
                      </c:pt>
                      <c:pt idx="801">
                        <c:v>45325.375</c:v>
                      </c:pt>
                      <c:pt idx="802">
                        <c:v>45325.416666666672</c:v>
                      </c:pt>
                      <c:pt idx="803">
                        <c:v>45325.458333333328</c:v>
                      </c:pt>
                      <c:pt idx="804">
                        <c:v>45325.5</c:v>
                      </c:pt>
                      <c:pt idx="805">
                        <c:v>45325.541666666672</c:v>
                      </c:pt>
                      <c:pt idx="806">
                        <c:v>45325.583333333328</c:v>
                      </c:pt>
                      <c:pt idx="807">
                        <c:v>45325.625</c:v>
                      </c:pt>
                      <c:pt idx="808">
                        <c:v>45325.666666666672</c:v>
                      </c:pt>
                      <c:pt idx="809">
                        <c:v>45325.708333333328</c:v>
                      </c:pt>
                      <c:pt idx="810">
                        <c:v>45325.75</c:v>
                      </c:pt>
                      <c:pt idx="811">
                        <c:v>45325.791666666672</c:v>
                      </c:pt>
                      <c:pt idx="812">
                        <c:v>45325.833333333328</c:v>
                      </c:pt>
                      <c:pt idx="813">
                        <c:v>45325.875</c:v>
                      </c:pt>
                      <c:pt idx="814">
                        <c:v>45325.916666666672</c:v>
                      </c:pt>
                      <c:pt idx="815">
                        <c:v>45325.958333333328</c:v>
                      </c:pt>
                      <c:pt idx="816">
                        <c:v>45326</c:v>
                      </c:pt>
                      <c:pt idx="817">
                        <c:v>45326.041666666672</c:v>
                      </c:pt>
                      <c:pt idx="818">
                        <c:v>45326.083333333328</c:v>
                      </c:pt>
                      <c:pt idx="819">
                        <c:v>45326.125</c:v>
                      </c:pt>
                      <c:pt idx="820">
                        <c:v>45326.166666666672</c:v>
                      </c:pt>
                      <c:pt idx="821">
                        <c:v>45326.208333333328</c:v>
                      </c:pt>
                      <c:pt idx="822">
                        <c:v>45326.25</c:v>
                      </c:pt>
                      <c:pt idx="823">
                        <c:v>45326.291666666672</c:v>
                      </c:pt>
                      <c:pt idx="824">
                        <c:v>45326.333333333328</c:v>
                      </c:pt>
                      <c:pt idx="825">
                        <c:v>45326.375</c:v>
                      </c:pt>
                      <c:pt idx="826">
                        <c:v>45326.416666666672</c:v>
                      </c:pt>
                      <c:pt idx="827">
                        <c:v>45326.458333333328</c:v>
                      </c:pt>
                      <c:pt idx="828">
                        <c:v>45326.5</c:v>
                      </c:pt>
                      <c:pt idx="829">
                        <c:v>45326.541666666672</c:v>
                      </c:pt>
                      <c:pt idx="830">
                        <c:v>45326.583333333328</c:v>
                      </c:pt>
                      <c:pt idx="831">
                        <c:v>45326.625</c:v>
                      </c:pt>
                      <c:pt idx="832">
                        <c:v>45326.666666666672</c:v>
                      </c:pt>
                      <c:pt idx="833">
                        <c:v>45326.708333333328</c:v>
                      </c:pt>
                      <c:pt idx="834">
                        <c:v>45326.75</c:v>
                      </c:pt>
                      <c:pt idx="835">
                        <c:v>45326.791666666672</c:v>
                      </c:pt>
                      <c:pt idx="836">
                        <c:v>45326.833333333328</c:v>
                      </c:pt>
                      <c:pt idx="837">
                        <c:v>45326.875</c:v>
                      </c:pt>
                      <c:pt idx="838">
                        <c:v>45326.916666666672</c:v>
                      </c:pt>
                      <c:pt idx="839">
                        <c:v>45326.958333333328</c:v>
                      </c:pt>
                      <c:pt idx="840">
                        <c:v>45327</c:v>
                      </c:pt>
                      <c:pt idx="841">
                        <c:v>45327.041666666672</c:v>
                      </c:pt>
                      <c:pt idx="842">
                        <c:v>45327.083333333328</c:v>
                      </c:pt>
                      <c:pt idx="843">
                        <c:v>45327.125</c:v>
                      </c:pt>
                      <c:pt idx="844">
                        <c:v>45327.166666666672</c:v>
                      </c:pt>
                      <c:pt idx="845">
                        <c:v>45327.208333333328</c:v>
                      </c:pt>
                      <c:pt idx="846">
                        <c:v>45327.25</c:v>
                      </c:pt>
                      <c:pt idx="847">
                        <c:v>45327.291666666672</c:v>
                      </c:pt>
                      <c:pt idx="848">
                        <c:v>45327.333333333328</c:v>
                      </c:pt>
                      <c:pt idx="849">
                        <c:v>45327.375</c:v>
                      </c:pt>
                      <c:pt idx="850">
                        <c:v>45327.416666666672</c:v>
                      </c:pt>
                      <c:pt idx="851">
                        <c:v>45327.458333333328</c:v>
                      </c:pt>
                      <c:pt idx="852">
                        <c:v>45327.5</c:v>
                      </c:pt>
                      <c:pt idx="853">
                        <c:v>45327.541666666672</c:v>
                      </c:pt>
                      <c:pt idx="854">
                        <c:v>45327.583333333328</c:v>
                      </c:pt>
                      <c:pt idx="855">
                        <c:v>45327.625</c:v>
                      </c:pt>
                      <c:pt idx="856">
                        <c:v>45327.666666666672</c:v>
                      </c:pt>
                      <c:pt idx="857">
                        <c:v>45327.708333333328</c:v>
                      </c:pt>
                      <c:pt idx="858">
                        <c:v>45327.75</c:v>
                      </c:pt>
                      <c:pt idx="859">
                        <c:v>45327.791666666672</c:v>
                      </c:pt>
                      <c:pt idx="860">
                        <c:v>45327.833333333328</c:v>
                      </c:pt>
                      <c:pt idx="861">
                        <c:v>45327.875</c:v>
                      </c:pt>
                      <c:pt idx="862">
                        <c:v>45327.916666666672</c:v>
                      </c:pt>
                      <c:pt idx="863">
                        <c:v>45327.958333333328</c:v>
                      </c:pt>
                      <c:pt idx="864">
                        <c:v>45328</c:v>
                      </c:pt>
                      <c:pt idx="865">
                        <c:v>45328.041666666672</c:v>
                      </c:pt>
                      <c:pt idx="866">
                        <c:v>45328.083333333328</c:v>
                      </c:pt>
                      <c:pt idx="867">
                        <c:v>45328.125</c:v>
                      </c:pt>
                      <c:pt idx="868">
                        <c:v>45328.166666666672</c:v>
                      </c:pt>
                      <c:pt idx="869">
                        <c:v>45328.208333333328</c:v>
                      </c:pt>
                      <c:pt idx="870">
                        <c:v>45328.25</c:v>
                      </c:pt>
                      <c:pt idx="871">
                        <c:v>45328.291666666672</c:v>
                      </c:pt>
                      <c:pt idx="872">
                        <c:v>45328.333333333328</c:v>
                      </c:pt>
                      <c:pt idx="873">
                        <c:v>45328.375</c:v>
                      </c:pt>
                      <c:pt idx="874">
                        <c:v>45328.416666666672</c:v>
                      </c:pt>
                      <c:pt idx="875">
                        <c:v>45328.458333333328</c:v>
                      </c:pt>
                      <c:pt idx="876">
                        <c:v>45328.5</c:v>
                      </c:pt>
                      <c:pt idx="877">
                        <c:v>45328.541666666672</c:v>
                      </c:pt>
                      <c:pt idx="878">
                        <c:v>45328.583333333328</c:v>
                      </c:pt>
                      <c:pt idx="879">
                        <c:v>45328.625</c:v>
                      </c:pt>
                      <c:pt idx="880">
                        <c:v>45328.666666666672</c:v>
                      </c:pt>
                      <c:pt idx="881">
                        <c:v>45328.708333333328</c:v>
                      </c:pt>
                      <c:pt idx="882">
                        <c:v>45328.75</c:v>
                      </c:pt>
                      <c:pt idx="883">
                        <c:v>45328.791666666672</c:v>
                      </c:pt>
                      <c:pt idx="884">
                        <c:v>45328.833333333328</c:v>
                      </c:pt>
                      <c:pt idx="885">
                        <c:v>45328.875</c:v>
                      </c:pt>
                      <c:pt idx="886">
                        <c:v>45328.916666666672</c:v>
                      </c:pt>
                      <c:pt idx="887">
                        <c:v>45328.958333333328</c:v>
                      </c:pt>
                      <c:pt idx="888">
                        <c:v>45329</c:v>
                      </c:pt>
                      <c:pt idx="889">
                        <c:v>45329.041666666672</c:v>
                      </c:pt>
                      <c:pt idx="890">
                        <c:v>45329.083333333328</c:v>
                      </c:pt>
                      <c:pt idx="891">
                        <c:v>45329.125</c:v>
                      </c:pt>
                      <c:pt idx="892">
                        <c:v>45329.166666666672</c:v>
                      </c:pt>
                      <c:pt idx="893">
                        <c:v>45329.208333333328</c:v>
                      </c:pt>
                      <c:pt idx="894">
                        <c:v>45329.25</c:v>
                      </c:pt>
                      <c:pt idx="895">
                        <c:v>45329.291666666672</c:v>
                      </c:pt>
                      <c:pt idx="896">
                        <c:v>45329.333333333328</c:v>
                      </c:pt>
                      <c:pt idx="897">
                        <c:v>45329.375</c:v>
                      </c:pt>
                      <c:pt idx="898">
                        <c:v>45329.416666666672</c:v>
                      </c:pt>
                      <c:pt idx="899">
                        <c:v>45329.458333333328</c:v>
                      </c:pt>
                      <c:pt idx="900">
                        <c:v>45329.5</c:v>
                      </c:pt>
                      <c:pt idx="901">
                        <c:v>45329.541666666672</c:v>
                      </c:pt>
                      <c:pt idx="902">
                        <c:v>45329.583333333328</c:v>
                      </c:pt>
                      <c:pt idx="903">
                        <c:v>45329.625</c:v>
                      </c:pt>
                      <c:pt idx="904">
                        <c:v>45329.666666666672</c:v>
                      </c:pt>
                      <c:pt idx="905">
                        <c:v>45329.708333333328</c:v>
                      </c:pt>
                      <c:pt idx="906">
                        <c:v>45329.75</c:v>
                      </c:pt>
                      <c:pt idx="907">
                        <c:v>45329.791666666672</c:v>
                      </c:pt>
                      <c:pt idx="908">
                        <c:v>45329.833333333328</c:v>
                      </c:pt>
                      <c:pt idx="909">
                        <c:v>45329.875</c:v>
                      </c:pt>
                      <c:pt idx="910">
                        <c:v>45329.916666666672</c:v>
                      </c:pt>
                      <c:pt idx="911">
                        <c:v>45329.958333333328</c:v>
                      </c:pt>
                      <c:pt idx="912">
                        <c:v>45330</c:v>
                      </c:pt>
                      <c:pt idx="913">
                        <c:v>45330.041666666672</c:v>
                      </c:pt>
                      <c:pt idx="914">
                        <c:v>45330.083333333328</c:v>
                      </c:pt>
                      <c:pt idx="915">
                        <c:v>45330.125</c:v>
                      </c:pt>
                      <c:pt idx="916">
                        <c:v>45330.166666666672</c:v>
                      </c:pt>
                      <c:pt idx="917">
                        <c:v>45330.208333333328</c:v>
                      </c:pt>
                      <c:pt idx="918">
                        <c:v>45330.25</c:v>
                      </c:pt>
                      <c:pt idx="919">
                        <c:v>45330.291666666672</c:v>
                      </c:pt>
                      <c:pt idx="920">
                        <c:v>45330.333333333328</c:v>
                      </c:pt>
                      <c:pt idx="921">
                        <c:v>45330.375</c:v>
                      </c:pt>
                      <c:pt idx="922">
                        <c:v>45330.416666666672</c:v>
                      </c:pt>
                      <c:pt idx="923">
                        <c:v>45330.458333333328</c:v>
                      </c:pt>
                      <c:pt idx="924">
                        <c:v>45330.5</c:v>
                      </c:pt>
                      <c:pt idx="925">
                        <c:v>45330.541666666672</c:v>
                      </c:pt>
                      <c:pt idx="926">
                        <c:v>45330.583333333328</c:v>
                      </c:pt>
                      <c:pt idx="927">
                        <c:v>45330.625</c:v>
                      </c:pt>
                      <c:pt idx="928">
                        <c:v>45330.666666666672</c:v>
                      </c:pt>
                      <c:pt idx="929">
                        <c:v>45330.708333333328</c:v>
                      </c:pt>
                      <c:pt idx="930">
                        <c:v>45330.75</c:v>
                      </c:pt>
                      <c:pt idx="931">
                        <c:v>45330.791666666672</c:v>
                      </c:pt>
                      <c:pt idx="932">
                        <c:v>45330.833333333328</c:v>
                      </c:pt>
                      <c:pt idx="933">
                        <c:v>45330.875</c:v>
                      </c:pt>
                      <c:pt idx="934">
                        <c:v>45330.916666666672</c:v>
                      </c:pt>
                      <c:pt idx="935">
                        <c:v>45330.958333333328</c:v>
                      </c:pt>
                      <c:pt idx="936">
                        <c:v>45331</c:v>
                      </c:pt>
                      <c:pt idx="937">
                        <c:v>45331.041666666672</c:v>
                      </c:pt>
                      <c:pt idx="938">
                        <c:v>45331.083333333328</c:v>
                      </c:pt>
                      <c:pt idx="939">
                        <c:v>45331.125</c:v>
                      </c:pt>
                      <c:pt idx="940">
                        <c:v>45331.166666666672</c:v>
                      </c:pt>
                      <c:pt idx="941">
                        <c:v>45331.208333333328</c:v>
                      </c:pt>
                      <c:pt idx="942">
                        <c:v>45331.25</c:v>
                      </c:pt>
                      <c:pt idx="943">
                        <c:v>45331.291666666672</c:v>
                      </c:pt>
                      <c:pt idx="944">
                        <c:v>45331.333333333328</c:v>
                      </c:pt>
                      <c:pt idx="945">
                        <c:v>45331.375</c:v>
                      </c:pt>
                      <c:pt idx="946">
                        <c:v>45331.416666666672</c:v>
                      </c:pt>
                      <c:pt idx="947">
                        <c:v>45331.458333333328</c:v>
                      </c:pt>
                      <c:pt idx="948">
                        <c:v>45331.5</c:v>
                      </c:pt>
                      <c:pt idx="949">
                        <c:v>45331.541666666672</c:v>
                      </c:pt>
                      <c:pt idx="950">
                        <c:v>45331.583333333328</c:v>
                      </c:pt>
                      <c:pt idx="951">
                        <c:v>45331.625</c:v>
                      </c:pt>
                      <c:pt idx="952">
                        <c:v>45331.666666666672</c:v>
                      </c:pt>
                      <c:pt idx="953">
                        <c:v>45331.708333333328</c:v>
                      </c:pt>
                      <c:pt idx="954">
                        <c:v>45331.75</c:v>
                      </c:pt>
                      <c:pt idx="955">
                        <c:v>45331.791666666672</c:v>
                      </c:pt>
                      <c:pt idx="956">
                        <c:v>45331.833333333328</c:v>
                      </c:pt>
                      <c:pt idx="957">
                        <c:v>45331.875</c:v>
                      </c:pt>
                      <c:pt idx="958">
                        <c:v>45331.916666666672</c:v>
                      </c:pt>
                      <c:pt idx="959">
                        <c:v>45331.958333333328</c:v>
                      </c:pt>
                      <c:pt idx="960">
                        <c:v>45332</c:v>
                      </c:pt>
                      <c:pt idx="961">
                        <c:v>45332.041666666672</c:v>
                      </c:pt>
                      <c:pt idx="962">
                        <c:v>45332.083333333328</c:v>
                      </c:pt>
                      <c:pt idx="963">
                        <c:v>45332.125</c:v>
                      </c:pt>
                      <c:pt idx="964">
                        <c:v>45332.166666666672</c:v>
                      </c:pt>
                      <c:pt idx="965">
                        <c:v>45332.208333333328</c:v>
                      </c:pt>
                      <c:pt idx="966">
                        <c:v>45332.25</c:v>
                      </c:pt>
                      <c:pt idx="967">
                        <c:v>45332.291666666672</c:v>
                      </c:pt>
                      <c:pt idx="968">
                        <c:v>45332.333333333328</c:v>
                      </c:pt>
                      <c:pt idx="969">
                        <c:v>45332.375</c:v>
                      </c:pt>
                      <c:pt idx="970">
                        <c:v>45332.416666666672</c:v>
                      </c:pt>
                      <c:pt idx="971">
                        <c:v>45332.458333333328</c:v>
                      </c:pt>
                      <c:pt idx="972">
                        <c:v>45332.5</c:v>
                      </c:pt>
                      <c:pt idx="973">
                        <c:v>45332.541666666672</c:v>
                      </c:pt>
                      <c:pt idx="974">
                        <c:v>45332.583333333328</c:v>
                      </c:pt>
                      <c:pt idx="975">
                        <c:v>45332.625</c:v>
                      </c:pt>
                      <c:pt idx="976">
                        <c:v>45332.666666666672</c:v>
                      </c:pt>
                      <c:pt idx="977">
                        <c:v>45332.708333333328</c:v>
                      </c:pt>
                      <c:pt idx="978">
                        <c:v>45332.75</c:v>
                      </c:pt>
                      <c:pt idx="979">
                        <c:v>45332.791666666672</c:v>
                      </c:pt>
                      <c:pt idx="980">
                        <c:v>45332.833333333328</c:v>
                      </c:pt>
                      <c:pt idx="981">
                        <c:v>45332.875</c:v>
                      </c:pt>
                      <c:pt idx="982">
                        <c:v>45332.916666666672</c:v>
                      </c:pt>
                      <c:pt idx="983">
                        <c:v>45332.958333333328</c:v>
                      </c:pt>
                      <c:pt idx="984">
                        <c:v>45333</c:v>
                      </c:pt>
                      <c:pt idx="985">
                        <c:v>45333.041666666672</c:v>
                      </c:pt>
                      <c:pt idx="986">
                        <c:v>45333.083333333328</c:v>
                      </c:pt>
                      <c:pt idx="987">
                        <c:v>45333.125</c:v>
                      </c:pt>
                      <c:pt idx="988">
                        <c:v>45333.166666666672</c:v>
                      </c:pt>
                      <c:pt idx="989">
                        <c:v>45333.208333333328</c:v>
                      </c:pt>
                      <c:pt idx="990">
                        <c:v>45333.25</c:v>
                      </c:pt>
                      <c:pt idx="991">
                        <c:v>45333.291666666672</c:v>
                      </c:pt>
                      <c:pt idx="992">
                        <c:v>45333.333333333328</c:v>
                      </c:pt>
                      <c:pt idx="993">
                        <c:v>45333.375</c:v>
                      </c:pt>
                      <c:pt idx="994">
                        <c:v>45333.416666666672</c:v>
                      </c:pt>
                      <c:pt idx="995">
                        <c:v>45333.458333333328</c:v>
                      </c:pt>
                      <c:pt idx="996">
                        <c:v>45333.5</c:v>
                      </c:pt>
                      <c:pt idx="997">
                        <c:v>45333.541666666672</c:v>
                      </c:pt>
                      <c:pt idx="998">
                        <c:v>45333.583333333328</c:v>
                      </c:pt>
                      <c:pt idx="999">
                        <c:v>45333.625</c:v>
                      </c:pt>
                      <c:pt idx="1000">
                        <c:v>45333.666666666672</c:v>
                      </c:pt>
                      <c:pt idx="1001">
                        <c:v>45333.708333333328</c:v>
                      </c:pt>
                      <c:pt idx="1002">
                        <c:v>45333.75</c:v>
                      </c:pt>
                      <c:pt idx="1003">
                        <c:v>45333.791666666672</c:v>
                      </c:pt>
                      <c:pt idx="1004">
                        <c:v>45333.833333333328</c:v>
                      </c:pt>
                      <c:pt idx="1005">
                        <c:v>45333.875</c:v>
                      </c:pt>
                      <c:pt idx="1006">
                        <c:v>45333.916666666672</c:v>
                      </c:pt>
                      <c:pt idx="1007">
                        <c:v>45333.958333333328</c:v>
                      </c:pt>
                      <c:pt idx="1008">
                        <c:v>45334</c:v>
                      </c:pt>
                      <c:pt idx="1009">
                        <c:v>45334.041666666672</c:v>
                      </c:pt>
                      <c:pt idx="1010">
                        <c:v>45334.083333333328</c:v>
                      </c:pt>
                      <c:pt idx="1011">
                        <c:v>45334.125</c:v>
                      </c:pt>
                      <c:pt idx="1012">
                        <c:v>45334.166666666672</c:v>
                      </c:pt>
                      <c:pt idx="1013">
                        <c:v>45334.208333333328</c:v>
                      </c:pt>
                      <c:pt idx="1014">
                        <c:v>45334.25</c:v>
                      </c:pt>
                      <c:pt idx="1015">
                        <c:v>45334.291666666672</c:v>
                      </c:pt>
                      <c:pt idx="1016">
                        <c:v>45334.333333333328</c:v>
                      </c:pt>
                      <c:pt idx="1017">
                        <c:v>45334.375</c:v>
                      </c:pt>
                      <c:pt idx="1018">
                        <c:v>45334.416666666672</c:v>
                      </c:pt>
                      <c:pt idx="1019">
                        <c:v>45334.458333333328</c:v>
                      </c:pt>
                      <c:pt idx="1020">
                        <c:v>45334.5</c:v>
                      </c:pt>
                      <c:pt idx="1021">
                        <c:v>45334.541666666672</c:v>
                      </c:pt>
                      <c:pt idx="1022">
                        <c:v>45334.583333333328</c:v>
                      </c:pt>
                      <c:pt idx="1023">
                        <c:v>45334.625</c:v>
                      </c:pt>
                      <c:pt idx="1024">
                        <c:v>45334.666666666672</c:v>
                      </c:pt>
                      <c:pt idx="1025">
                        <c:v>45334.708333333328</c:v>
                      </c:pt>
                      <c:pt idx="1026">
                        <c:v>45334.75</c:v>
                      </c:pt>
                      <c:pt idx="1027">
                        <c:v>45334.791666666672</c:v>
                      </c:pt>
                      <c:pt idx="1028">
                        <c:v>45334.833333333328</c:v>
                      </c:pt>
                      <c:pt idx="1029">
                        <c:v>45334.875</c:v>
                      </c:pt>
                      <c:pt idx="1030">
                        <c:v>45334.916666666672</c:v>
                      </c:pt>
                      <c:pt idx="1031">
                        <c:v>45334.958333333328</c:v>
                      </c:pt>
                      <c:pt idx="1032">
                        <c:v>45335</c:v>
                      </c:pt>
                      <c:pt idx="1033">
                        <c:v>45335.041666666672</c:v>
                      </c:pt>
                      <c:pt idx="1034">
                        <c:v>45335.083333333328</c:v>
                      </c:pt>
                      <c:pt idx="1035">
                        <c:v>45335.125</c:v>
                      </c:pt>
                      <c:pt idx="1036">
                        <c:v>45335.166666666672</c:v>
                      </c:pt>
                      <c:pt idx="1037">
                        <c:v>45335.208333333328</c:v>
                      </c:pt>
                      <c:pt idx="1038">
                        <c:v>45335.25</c:v>
                      </c:pt>
                      <c:pt idx="1039">
                        <c:v>45335.291666666672</c:v>
                      </c:pt>
                      <c:pt idx="1040">
                        <c:v>45335.333333333328</c:v>
                      </c:pt>
                      <c:pt idx="1041">
                        <c:v>45335.375</c:v>
                      </c:pt>
                      <c:pt idx="1042">
                        <c:v>45335.416666666672</c:v>
                      </c:pt>
                      <c:pt idx="1043">
                        <c:v>45335.458333333328</c:v>
                      </c:pt>
                      <c:pt idx="1044">
                        <c:v>45335.5</c:v>
                      </c:pt>
                      <c:pt idx="1045">
                        <c:v>45335.541666666672</c:v>
                      </c:pt>
                      <c:pt idx="1046">
                        <c:v>45335.583333333328</c:v>
                      </c:pt>
                      <c:pt idx="1047">
                        <c:v>45335.625</c:v>
                      </c:pt>
                      <c:pt idx="1048">
                        <c:v>45335.666666666672</c:v>
                      </c:pt>
                      <c:pt idx="1049">
                        <c:v>45335.708333333328</c:v>
                      </c:pt>
                      <c:pt idx="1050">
                        <c:v>45335.75</c:v>
                      </c:pt>
                      <c:pt idx="1051">
                        <c:v>45335.791666666672</c:v>
                      </c:pt>
                      <c:pt idx="1052">
                        <c:v>45335.833333333328</c:v>
                      </c:pt>
                      <c:pt idx="1053">
                        <c:v>45335.875</c:v>
                      </c:pt>
                      <c:pt idx="1054">
                        <c:v>45335.916666666672</c:v>
                      </c:pt>
                      <c:pt idx="1055">
                        <c:v>45335.958333333328</c:v>
                      </c:pt>
                      <c:pt idx="1056">
                        <c:v>45336</c:v>
                      </c:pt>
                      <c:pt idx="1057">
                        <c:v>45336.041666666672</c:v>
                      </c:pt>
                      <c:pt idx="1058">
                        <c:v>45336.083333333328</c:v>
                      </c:pt>
                      <c:pt idx="1059">
                        <c:v>45336.125</c:v>
                      </c:pt>
                      <c:pt idx="1060">
                        <c:v>45336.166666666672</c:v>
                      </c:pt>
                      <c:pt idx="1061">
                        <c:v>45336.208333333328</c:v>
                      </c:pt>
                      <c:pt idx="1062">
                        <c:v>45336.25</c:v>
                      </c:pt>
                      <c:pt idx="1063">
                        <c:v>45336.291666666672</c:v>
                      </c:pt>
                      <c:pt idx="1064">
                        <c:v>45336.333333333328</c:v>
                      </c:pt>
                      <c:pt idx="1065">
                        <c:v>45336.375</c:v>
                      </c:pt>
                      <c:pt idx="1066">
                        <c:v>45336.416666666672</c:v>
                      </c:pt>
                      <c:pt idx="1067">
                        <c:v>45336.458333333328</c:v>
                      </c:pt>
                      <c:pt idx="1068">
                        <c:v>45336.5</c:v>
                      </c:pt>
                      <c:pt idx="1069">
                        <c:v>45336.541666666672</c:v>
                      </c:pt>
                      <c:pt idx="1070">
                        <c:v>45336.583333333328</c:v>
                      </c:pt>
                      <c:pt idx="1071">
                        <c:v>45336.625</c:v>
                      </c:pt>
                      <c:pt idx="1072">
                        <c:v>45336.666666666672</c:v>
                      </c:pt>
                      <c:pt idx="1073">
                        <c:v>45336.708333333328</c:v>
                      </c:pt>
                      <c:pt idx="1074">
                        <c:v>45336.75</c:v>
                      </c:pt>
                      <c:pt idx="1075">
                        <c:v>45336.791666666672</c:v>
                      </c:pt>
                      <c:pt idx="1076">
                        <c:v>45336.833333333328</c:v>
                      </c:pt>
                      <c:pt idx="1077">
                        <c:v>45336.875</c:v>
                      </c:pt>
                      <c:pt idx="1078">
                        <c:v>45336.916666666672</c:v>
                      </c:pt>
                      <c:pt idx="1079">
                        <c:v>45336.958333333328</c:v>
                      </c:pt>
                      <c:pt idx="1080">
                        <c:v>45337</c:v>
                      </c:pt>
                      <c:pt idx="1081">
                        <c:v>45337.041666666672</c:v>
                      </c:pt>
                      <c:pt idx="1082">
                        <c:v>45337.083333333328</c:v>
                      </c:pt>
                      <c:pt idx="1083">
                        <c:v>45337.125</c:v>
                      </c:pt>
                      <c:pt idx="1084">
                        <c:v>45337.166666666672</c:v>
                      </c:pt>
                      <c:pt idx="1085">
                        <c:v>45337.208333333328</c:v>
                      </c:pt>
                      <c:pt idx="1086">
                        <c:v>45337.25</c:v>
                      </c:pt>
                      <c:pt idx="1087">
                        <c:v>45337.291666666672</c:v>
                      </c:pt>
                      <c:pt idx="1088">
                        <c:v>45337.333333333328</c:v>
                      </c:pt>
                      <c:pt idx="1089">
                        <c:v>45337.375</c:v>
                      </c:pt>
                      <c:pt idx="1090">
                        <c:v>45337.416666666672</c:v>
                      </c:pt>
                      <c:pt idx="1091">
                        <c:v>45337.458333333328</c:v>
                      </c:pt>
                      <c:pt idx="1092">
                        <c:v>45337.5</c:v>
                      </c:pt>
                      <c:pt idx="1093">
                        <c:v>45337.541666666672</c:v>
                      </c:pt>
                      <c:pt idx="1094">
                        <c:v>45337.583333333328</c:v>
                      </c:pt>
                      <c:pt idx="1095">
                        <c:v>45337.625</c:v>
                      </c:pt>
                      <c:pt idx="1096">
                        <c:v>45337.666666666672</c:v>
                      </c:pt>
                      <c:pt idx="1097">
                        <c:v>45337.708333333328</c:v>
                      </c:pt>
                      <c:pt idx="1098">
                        <c:v>45337.75</c:v>
                      </c:pt>
                      <c:pt idx="1099">
                        <c:v>45337.791666666672</c:v>
                      </c:pt>
                      <c:pt idx="1100">
                        <c:v>45337.833333333328</c:v>
                      </c:pt>
                      <c:pt idx="1101">
                        <c:v>45337.875</c:v>
                      </c:pt>
                      <c:pt idx="1102">
                        <c:v>45337.916666666672</c:v>
                      </c:pt>
                      <c:pt idx="1103">
                        <c:v>45337.958333333328</c:v>
                      </c:pt>
                      <c:pt idx="1104">
                        <c:v>45338</c:v>
                      </c:pt>
                      <c:pt idx="1105">
                        <c:v>45338.041666666672</c:v>
                      </c:pt>
                      <c:pt idx="1106">
                        <c:v>45338.083333333328</c:v>
                      </c:pt>
                      <c:pt idx="1107">
                        <c:v>45338.125</c:v>
                      </c:pt>
                      <c:pt idx="1108">
                        <c:v>45338.166666666672</c:v>
                      </c:pt>
                      <c:pt idx="1109">
                        <c:v>45338.208333333328</c:v>
                      </c:pt>
                      <c:pt idx="1110">
                        <c:v>45338.25</c:v>
                      </c:pt>
                      <c:pt idx="1111">
                        <c:v>45338.291666666672</c:v>
                      </c:pt>
                      <c:pt idx="1112">
                        <c:v>45338.333333333328</c:v>
                      </c:pt>
                      <c:pt idx="1113">
                        <c:v>45338.375</c:v>
                      </c:pt>
                      <c:pt idx="1114">
                        <c:v>45338.416666666672</c:v>
                      </c:pt>
                      <c:pt idx="1115">
                        <c:v>45338.458333333328</c:v>
                      </c:pt>
                      <c:pt idx="1116">
                        <c:v>45338.5</c:v>
                      </c:pt>
                      <c:pt idx="1117">
                        <c:v>45338.541666666672</c:v>
                      </c:pt>
                      <c:pt idx="1118">
                        <c:v>45338.583333333328</c:v>
                      </c:pt>
                      <c:pt idx="1119">
                        <c:v>45338.625</c:v>
                      </c:pt>
                      <c:pt idx="1120">
                        <c:v>45338.666666666672</c:v>
                      </c:pt>
                      <c:pt idx="1121">
                        <c:v>45338.708333333328</c:v>
                      </c:pt>
                      <c:pt idx="1122">
                        <c:v>45338.75</c:v>
                      </c:pt>
                      <c:pt idx="1123">
                        <c:v>45338.791666666672</c:v>
                      </c:pt>
                      <c:pt idx="1124">
                        <c:v>45338.833333333328</c:v>
                      </c:pt>
                      <c:pt idx="1125">
                        <c:v>45338.875</c:v>
                      </c:pt>
                      <c:pt idx="1126">
                        <c:v>45338.916666666672</c:v>
                      </c:pt>
                      <c:pt idx="1127">
                        <c:v>45338.958333333328</c:v>
                      </c:pt>
                      <c:pt idx="1128">
                        <c:v>45339</c:v>
                      </c:pt>
                      <c:pt idx="1129">
                        <c:v>45339.041666666672</c:v>
                      </c:pt>
                      <c:pt idx="1130">
                        <c:v>45339.083333333328</c:v>
                      </c:pt>
                      <c:pt idx="1131">
                        <c:v>45339.125</c:v>
                      </c:pt>
                      <c:pt idx="1132">
                        <c:v>45339.166666666672</c:v>
                      </c:pt>
                      <c:pt idx="1133">
                        <c:v>45339.208333333328</c:v>
                      </c:pt>
                      <c:pt idx="1134">
                        <c:v>45339.25</c:v>
                      </c:pt>
                      <c:pt idx="1135">
                        <c:v>45339.291666666672</c:v>
                      </c:pt>
                      <c:pt idx="1136">
                        <c:v>45339.333333333328</c:v>
                      </c:pt>
                      <c:pt idx="1137">
                        <c:v>45339.375</c:v>
                      </c:pt>
                      <c:pt idx="1138">
                        <c:v>45339.416666666672</c:v>
                      </c:pt>
                      <c:pt idx="1139">
                        <c:v>45339.458333333328</c:v>
                      </c:pt>
                      <c:pt idx="1140">
                        <c:v>45339.5</c:v>
                      </c:pt>
                      <c:pt idx="1141">
                        <c:v>45339.541666666672</c:v>
                      </c:pt>
                      <c:pt idx="1142">
                        <c:v>45339.583333333328</c:v>
                      </c:pt>
                      <c:pt idx="1143">
                        <c:v>45339.625</c:v>
                      </c:pt>
                      <c:pt idx="1144">
                        <c:v>45339.666666666672</c:v>
                      </c:pt>
                      <c:pt idx="1145">
                        <c:v>45339.708333333328</c:v>
                      </c:pt>
                      <c:pt idx="1146">
                        <c:v>45339.75</c:v>
                      </c:pt>
                      <c:pt idx="1147">
                        <c:v>45339.791666666672</c:v>
                      </c:pt>
                      <c:pt idx="1148">
                        <c:v>45339.833333333328</c:v>
                      </c:pt>
                      <c:pt idx="1149">
                        <c:v>45339.875</c:v>
                      </c:pt>
                      <c:pt idx="1150">
                        <c:v>45339.916666666672</c:v>
                      </c:pt>
                      <c:pt idx="1151">
                        <c:v>45339.958333333328</c:v>
                      </c:pt>
                      <c:pt idx="1152">
                        <c:v>45340</c:v>
                      </c:pt>
                      <c:pt idx="1153">
                        <c:v>45340.041666666672</c:v>
                      </c:pt>
                      <c:pt idx="1154">
                        <c:v>45340.083333333328</c:v>
                      </c:pt>
                      <c:pt idx="1155">
                        <c:v>45340.125</c:v>
                      </c:pt>
                      <c:pt idx="1156">
                        <c:v>45340.166666666672</c:v>
                      </c:pt>
                      <c:pt idx="1157">
                        <c:v>45340.208333333328</c:v>
                      </c:pt>
                      <c:pt idx="1158">
                        <c:v>45340.25</c:v>
                      </c:pt>
                      <c:pt idx="1159">
                        <c:v>45340.291666666672</c:v>
                      </c:pt>
                      <c:pt idx="1160">
                        <c:v>45340.333333333328</c:v>
                      </c:pt>
                      <c:pt idx="1161">
                        <c:v>45340.375</c:v>
                      </c:pt>
                      <c:pt idx="1162">
                        <c:v>45340.416666666672</c:v>
                      </c:pt>
                      <c:pt idx="1163">
                        <c:v>45340.458333333328</c:v>
                      </c:pt>
                      <c:pt idx="1164">
                        <c:v>45340.5</c:v>
                      </c:pt>
                      <c:pt idx="1165">
                        <c:v>45340.541666666672</c:v>
                      </c:pt>
                      <c:pt idx="1166">
                        <c:v>45340.583333333328</c:v>
                      </c:pt>
                      <c:pt idx="1167">
                        <c:v>45340.625</c:v>
                      </c:pt>
                      <c:pt idx="1168">
                        <c:v>45340.666666666672</c:v>
                      </c:pt>
                      <c:pt idx="1169">
                        <c:v>45340.708333333328</c:v>
                      </c:pt>
                      <c:pt idx="1170">
                        <c:v>45340.75</c:v>
                      </c:pt>
                      <c:pt idx="1171">
                        <c:v>45340.791666666672</c:v>
                      </c:pt>
                      <c:pt idx="1172">
                        <c:v>45340.833333333328</c:v>
                      </c:pt>
                      <c:pt idx="1173">
                        <c:v>45340.875</c:v>
                      </c:pt>
                      <c:pt idx="1174">
                        <c:v>45340.916666666672</c:v>
                      </c:pt>
                      <c:pt idx="1175">
                        <c:v>45340.958333333328</c:v>
                      </c:pt>
                      <c:pt idx="1176">
                        <c:v>45341</c:v>
                      </c:pt>
                      <c:pt idx="1177">
                        <c:v>45341.041666666672</c:v>
                      </c:pt>
                      <c:pt idx="1178">
                        <c:v>45341.083333333328</c:v>
                      </c:pt>
                      <c:pt idx="1179">
                        <c:v>45341.125</c:v>
                      </c:pt>
                      <c:pt idx="1180">
                        <c:v>45341.166666666672</c:v>
                      </c:pt>
                      <c:pt idx="1181">
                        <c:v>45341.208333333328</c:v>
                      </c:pt>
                      <c:pt idx="1182">
                        <c:v>45341.25</c:v>
                      </c:pt>
                      <c:pt idx="1183">
                        <c:v>45341.291666666672</c:v>
                      </c:pt>
                      <c:pt idx="1184">
                        <c:v>45341.333333333328</c:v>
                      </c:pt>
                      <c:pt idx="1185">
                        <c:v>45341.375</c:v>
                      </c:pt>
                      <c:pt idx="1186">
                        <c:v>45341.416666666672</c:v>
                      </c:pt>
                      <c:pt idx="1187">
                        <c:v>45341.458333333328</c:v>
                      </c:pt>
                      <c:pt idx="1188">
                        <c:v>45341.5</c:v>
                      </c:pt>
                      <c:pt idx="1189">
                        <c:v>45341.541666666672</c:v>
                      </c:pt>
                      <c:pt idx="1190">
                        <c:v>45341.583333333328</c:v>
                      </c:pt>
                      <c:pt idx="1191">
                        <c:v>45341.625</c:v>
                      </c:pt>
                      <c:pt idx="1192">
                        <c:v>45341.666666666672</c:v>
                      </c:pt>
                      <c:pt idx="1193">
                        <c:v>45341.708333333328</c:v>
                      </c:pt>
                      <c:pt idx="1194">
                        <c:v>45341.75</c:v>
                      </c:pt>
                      <c:pt idx="1195">
                        <c:v>45341.791666666672</c:v>
                      </c:pt>
                      <c:pt idx="1196">
                        <c:v>45341.833333333328</c:v>
                      </c:pt>
                      <c:pt idx="1197">
                        <c:v>45341.875</c:v>
                      </c:pt>
                      <c:pt idx="1198">
                        <c:v>45341.916666666672</c:v>
                      </c:pt>
                      <c:pt idx="1199">
                        <c:v>45341.958333333328</c:v>
                      </c:pt>
                      <c:pt idx="1200">
                        <c:v>45342</c:v>
                      </c:pt>
                      <c:pt idx="1201">
                        <c:v>45342.041666666672</c:v>
                      </c:pt>
                      <c:pt idx="1202">
                        <c:v>45342.083333333328</c:v>
                      </c:pt>
                      <c:pt idx="1203">
                        <c:v>45342.125</c:v>
                      </c:pt>
                      <c:pt idx="1204">
                        <c:v>45342.166666666672</c:v>
                      </c:pt>
                      <c:pt idx="1205">
                        <c:v>45342.208333333328</c:v>
                      </c:pt>
                      <c:pt idx="1206">
                        <c:v>45342.25</c:v>
                      </c:pt>
                      <c:pt idx="1207">
                        <c:v>45342.291666666672</c:v>
                      </c:pt>
                      <c:pt idx="1208">
                        <c:v>45342.333333333328</c:v>
                      </c:pt>
                      <c:pt idx="1209">
                        <c:v>45342.375</c:v>
                      </c:pt>
                      <c:pt idx="1210">
                        <c:v>45342.416666666672</c:v>
                      </c:pt>
                      <c:pt idx="1211">
                        <c:v>45342.458333333328</c:v>
                      </c:pt>
                      <c:pt idx="1212">
                        <c:v>45342.5</c:v>
                      </c:pt>
                      <c:pt idx="1213">
                        <c:v>45342.541666666672</c:v>
                      </c:pt>
                      <c:pt idx="1214">
                        <c:v>45342.583333333328</c:v>
                      </c:pt>
                      <c:pt idx="1215">
                        <c:v>45342.625</c:v>
                      </c:pt>
                      <c:pt idx="1216">
                        <c:v>45342.666666666672</c:v>
                      </c:pt>
                      <c:pt idx="1217">
                        <c:v>45342.708333333328</c:v>
                      </c:pt>
                      <c:pt idx="1218">
                        <c:v>45342.75</c:v>
                      </c:pt>
                      <c:pt idx="1219">
                        <c:v>45342.791666666672</c:v>
                      </c:pt>
                      <c:pt idx="1220">
                        <c:v>45342.833333333328</c:v>
                      </c:pt>
                      <c:pt idx="1221">
                        <c:v>45342.875</c:v>
                      </c:pt>
                      <c:pt idx="1222">
                        <c:v>45342.916666666672</c:v>
                      </c:pt>
                      <c:pt idx="1223">
                        <c:v>45342.958333333328</c:v>
                      </c:pt>
                      <c:pt idx="1224">
                        <c:v>45343</c:v>
                      </c:pt>
                      <c:pt idx="1225">
                        <c:v>45343.041666666672</c:v>
                      </c:pt>
                      <c:pt idx="1226">
                        <c:v>45343.083333333328</c:v>
                      </c:pt>
                      <c:pt idx="1227">
                        <c:v>45343.125</c:v>
                      </c:pt>
                      <c:pt idx="1228">
                        <c:v>45343.166666666672</c:v>
                      </c:pt>
                      <c:pt idx="1229">
                        <c:v>45343.208333333328</c:v>
                      </c:pt>
                      <c:pt idx="1230">
                        <c:v>45343.25</c:v>
                      </c:pt>
                      <c:pt idx="1231">
                        <c:v>45343.291666666672</c:v>
                      </c:pt>
                      <c:pt idx="1232">
                        <c:v>45343.333333333328</c:v>
                      </c:pt>
                      <c:pt idx="1233">
                        <c:v>45343.375</c:v>
                      </c:pt>
                      <c:pt idx="1234">
                        <c:v>45343.416666666672</c:v>
                      </c:pt>
                      <c:pt idx="1235">
                        <c:v>45343.458333333328</c:v>
                      </c:pt>
                      <c:pt idx="1236">
                        <c:v>45343.5</c:v>
                      </c:pt>
                      <c:pt idx="1237">
                        <c:v>45343.541666666672</c:v>
                      </c:pt>
                      <c:pt idx="1238">
                        <c:v>45343.583333333328</c:v>
                      </c:pt>
                      <c:pt idx="1239">
                        <c:v>45343.625</c:v>
                      </c:pt>
                      <c:pt idx="1240">
                        <c:v>45343.666666666672</c:v>
                      </c:pt>
                      <c:pt idx="1241">
                        <c:v>45343.708333333328</c:v>
                      </c:pt>
                      <c:pt idx="1242">
                        <c:v>45343.75</c:v>
                      </c:pt>
                      <c:pt idx="1243">
                        <c:v>45343.791666666672</c:v>
                      </c:pt>
                      <c:pt idx="1244">
                        <c:v>45343.833333333328</c:v>
                      </c:pt>
                      <c:pt idx="1245">
                        <c:v>45343.875</c:v>
                      </c:pt>
                      <c:pt idx="1246">
                        <c:v>45343.916666666672</c:v>
                      </c:pt>
                      <c:pt idx="1247">
                        <c:v>45343.958333333328</c:v>
                      </c:pt>
                      <c:pt idx="1248">
                        <c:v>45344</c:v>
                      </c:pt>
                      <c:pt idx="1249">
                        <c:v>45344.041666666672</c:v>
                      </c:pt>
                      <c:pt idx="1250">
                        <c:v>45344.083333333328</c:v>
                      </c:pt>
                      <c:pt idx="1251">
                        <c:v>45344.125</c:v>
                      </c:pt>
                      <c:pt idx="1252">
                        <c:v>45344.166666666672</c:v>
                      </c:pt>
                      <c:pt idx="1253">
                        <c:v>45344.208333333328</c:v>
                      </c:pt>
                      <c:pt idx="1254">
                        <c:v>45344.25</c:v>
                      </c:pt>
                      <c:pt idx="1255">
                        <c:v>45344.291666666672</c:v>
                      </c:pt>
                      <c:pt idx="1256">
                        <c:v>45344.333333333328</c:v>
                      </c:pt>
                      <c:pt idx="1257">
                        <c:v>45344.375</c:v>
                      </c:pt>
                      <c:pt idx="1258">
                        <c:v>45344.416666666672</c:v>
                      </c:pt>
                      <c:pt idx="1259">
                        <c:v>45344.458333333328</c:v>
                      </c:pt>
                      <c:pt idx="1260">
                        <c:v>45344.5</c:v>
                      </c:pt>
                      <c:pt idx="1261">
                        <c:v>45344.541666666672</c:v>
                      </c:pt>
                      <c:pt idx="1262">
                        <c:v>45344.583333333328</c:v>
                      </c:pt>
                      <c:pt idx="1263">
                        <c:v>45344.625</c:v>
                      </c:pt>
                      <c:pt idx="1264">
                        <c:v>45344.666666666672</c:v>
                      </c:pt>
                      <c:pt idx="1265">
                        <c:v>45344.708333333328</c:v>
                      </c:pt>
                      <c:pt idx="1266">
                        <c:v>45344.75</c:v>
                      </c:pt>
                      <c:pt idx="1267">
                        <c:v>45344.791666666672</c:v>
                      </c:pt>
                      <c:pt idx="1268">
                        <c:v>45344.833333333328</c:v>
                      </c:pt>
                      <c:pt idx="1269">
                        <c:v>45344.875</c:v>
                      </c:pt>
                      <c:pt idx="1270">
                        <c:v>45344.916666666672</c:v>
                      </c:pt>
                      <c:pt idx="1271">
                        <c:v>45344.958333333328</c:v>
                      </c:pt>
                      <c:pt idx="1272">
                        <c:v>45345</c:v>
                      </c:pt>
                      <c:pt idx="1273">
                        <c:v>45345.041666666672</c:v>
                      </c:pt>
                      <c:pt idx="1274">
                        <c:v>45345.083333333328</c:v>
                      </c:pt>
                      <c:pt idx="1275">
                        <c:v>45345.125</c:v>
                      </c:pt>
                      <c:pt idx="1276">
                        <c:v>45345.166666666672</c:v>
                      </c:pt>
                      <c:pt idx="1277">
                        <c:v>45345.208333333328</c:v>
                      </c:pt>
                      <c:pt idx="1278">
                        <c:v>45345.25</c:v>
                      </c:pt>
                      <c:pt idx="1279">
                        <c:v>45345.291666666672</c:v>
                      </c:pt>
                      <c:pt idx="1280">
                        <c:v>45345.333333333328</c:v>
                      </c:pt>
                      <c:pt idx="1281">
                        <c:v>45345.375</c:v>
                      </c:pt>
                      <c:pt idx="1282">
                        <c:v>45345.416666666672</c:v>
                      </c:pt>
                      <c:pt idx="1283">
                        <c:v>45345.458333333328</c:v>
                      </c:pt>
                      <c:pt idx="1284">
                        <c:v>45345.5</c:v>
                      </c:pt>
                      <c:pt idx="1285">
                        <c:v>45345.541666666672</c:v>
                      </c:pt>
                      <c:pt idx="1286">
                        <c:v>45345.583333333328</c:v>
                      </c:pt>
                      <c:pt idx="1287">
                        <c:v>45345.625</c:v>
                      </c:pt>
                      <c:pt idx="1288">
                        <c:v>45345.666666666672</c:v>
                      </c:pt>
                      <c:pt idx="1289">
                        <c:v>45345.708333333328</c:v>
                      </c:pt>
                      <c:pt idx="1290">
                        <c:v>45345.75</c:v>
                      </c:pt>
                      <c:pt idx="1291">
                        <c:v>45345.791666666672</c:v>
                      </c:pt>
                      <c:pt idx="1292">
                        <c:v>45345.833333333328</c:v>
                      </c:pt>
                      <c:pt idx="1293">
                        <c:v>45345.875</c:v>
                      </c:pt>
                      <c:pt idx="1294">
                        <c:v>45345.916666666672</c:v>
                      </c:pt>
                      <c:pt idx="1295">
                        <c:v>45345.958333333328</c:v>
                      </c:pt>
                      <c:pt idx="1296">
                        <c:v>45346</c:v>
                      </c:pt>
                      <c:pt idx="1297">
                        <c:v>45346.041666666672</c:v>
                      </c:pt>
                      <c:pt idx="1298">
                        <c:v>45346.083333333328</c:v>
                      </c:pt>
                      <c:pt idx="1299">
                        <c:v>45346.125</c:v>
                      </c:pt>
                      <c:pt idx="1300">
                        <c:v>45346.166666666672</c:v>
                      </c:pt>
                      <c:pt idx="1301">
                        <c:v>45346.208333333328</c:v>
                      </c:pt>
                      <c:pt idx="1302">
                        <c:v>45346.25</c:v>
                      </c:pt>
                      <c:pt idx="1303">
                        <c:v>45346.291666666672</c:v>
                      </c:pt>
                      <c:pt idx="1304">
                        <c:v>45346.333333333328</c:v>
                      </c:pt>
                      <c:pt idx="1305">
                        <c:v>45346.375</c:v>
                      </c:pt>
                      <c:pt idx="1306">
                        <c:v>45346.416666666672</c:v>
                      </c:pt>
                      <c:pt idx="1307">
                        <c:v>45346.458333333328</c:v>
                      </c:pt>
                      <c:pt idx="1308">
                        <c:v>45346.5</c:v>
                      </c:pt>
                      <c:pt idx="1309">
                        <c:v>45346.541666666672</c:v>
                      </c:pt>
                      <c:pt idx="1310">
                        <c:v>45346.583333333328</c:v>
                      </c:pt>
                      <c:pt idx="1311">
                        <c:v>45346.625</c:v>
                      </c:pt>
                      <c:pt idx="1312">
                        <c:v>45346.666666666672</c:v>
                      </c:pt>
                      <c:pt idx="1313">
                        <c:v>45346.708333333328</c:v>
                      </c:pt>
                      <c:pt idx="1314">
                        <c:v>45346.75</c:v>
                      </c:pt>
                      <c:pt idx="1315">
                        <c:v>45346.791666666672</c:v>
                      </c:pt>
                      <c:pt idx="1316">
                        <c:v>45346.833333333328</c:v>
                      </c:pt>
                      <c:pt idx="1317">
                        <c:v>45346.875</c:v>
                      </c:pt>
                      <c:pt idx="1318">
                        <c:v>45346.916666666672</c:v>
                      </c:pt>
                      <c:pt idx="1319">
                        <c:v>45346.958333333328</c:v>
                      </c:pt>
                      <c:pt idx="1320">
                        <c:v>45347</c:v>
                      </c:pt>
                      <c:pt idx="1321">
                        <c:v>45347.041666666672</c:v>
                      </c:pt>
                      <c:pt idx="1322">
                        <c:v>45347.083333333328</c:v>
                      </c:pt>
                      <c:pt idx="1323">
                        <c:v>45347.125</c:v>
                      </c:pt>
                      <c:pt idx="1324">
                        <c:v>45347.166666666672</c:v>
                      </c:pt>
                      <c:pt idx="1325">
                        <c:v>45347.208333333328</c:v>
                      </c:pt>
                      <c:pt idx="1326">
                        <c:v>45347.25</c:v>
                      </c:pt>
                      <c:pt idx="1327">
                        <c:v>45347.291666666672</c:v>
                      </c:pt>
                      <c:pt idx="1328">
                        <c:v>45347.333333333328</c:v>
                      </c:pt>
                      <c:pt idx="1329">
                        <c:v>45347.375</c:v>
                      </c:pt>
                      <c:pt idx="1330">
                        <c:v>45347.416666666672</c:v>
                      </c:pt>
                      <c:pt idx="1331">
                        <c:v>45347.458333333328</c:v>
                      </c:pt>
                      <c:pt idx="1332">
                        <c:v>45347.5</c:v>
                      </c:pt>
                      <c:pt idx="1333">
                        <c:v>45347.541666666672</c:v>
                      </c:pt>
                      <c:pt idx="1334">
                        <c:v>45347.583333333328</c:v>
                      </c:pt>
                      <c:pt idx="1335">
                        <c:v>45347.625</c:v>
                      </c:pt>
                      <c:pt idx="1336">
                        <c:v>45347.666666666672</c:v>
                      </c:pt>
                      <c:pt idx="1337">
                        <c:v>45347.708333333328</c:v>
                      </c:pt>
                      <c:pt idx="1338">
                        <c:v>45347.75</c:v>
                      </c:pt>
                      <c:pt idx="1339">
                        <c:v>45347.791666666672</c:v>
                      </c:pt>
                      <c:pt idx="1340">
                        <c:v>45347.833333333328</c:v>
                      </c:pt>
                      <c:pt idx="1341">
                        <c:v>45347.875</c:v>
                      </c:pt>
                      <c:pt idx="1342">
                        <c:v>45347.916666666672</c:v>
                      </c:pt>
                      <c:pt idx="1343">
                        <c:v>45347.958333333328</c:v>
                      </c:pt>
                      <c:pt idx="1344">
                        <c:v>45348</c:v>
                      </c:pt>
                      <c:pt idx="1345">
                        <c:v>45348.041666666672</c:v>
                      </c:pt>
                      <c:pt idx="1346">
                        <c:v>45348.083333333328</c:v>
                      </c:pt>
                      <c:pt idx="1347">
                        <c:v>45348.125</c:v>
                      </c:pt>
                      <c:pt idx="1348">
                        <c:v>45348.166666666672</c:v>
                      </c:pt>
                      <c:pt idx="1349">
                        <c:v>45348.208333333328</c:v>
                      </c:pt>
                      <c:pt idx="1350">
                        <c:v>45348.25</c:v>
                      </c:pt>
                      <c:pt idx="1351">
                        <c:v>45348.291666666672</c:v>
                      </c:pt>
                      <c:pt idx="1352">
                        <c:v>45348.333333333328</c:v>
                      </c:pt>
                      <c:pt idx="1353">
                        <c:v>45348.375</c:v>
                      </c:pt>
                      <c:pt idx="1354">
                        <c:v>45348.416666666672</c:v>
                      </c:pt>
                      <c:pt idx="1355">
                        <c:v>45348.458333333328</c:v>
                      </c:pt>
                      <c:pt idx="1356">
                        <c:v>45348.5</c:v>
                      </c:pt>
                      <c:pt idx="1357">
                        <c:v>45348.541666666672</c:v>
                      </c:pt>
                      <c:pt idx="1358">
                        <c:v>45348.583333333328</c:v>
                      </c:pt>
                      <c:pt idx="1359">
                        <c:v>45348.625</c:v>
                      </c:pt>
                      <c:pt idx="1360">
                        <c:v>45348.666666666672</c:v>
                      </c:pt>
                      <c:pt idx="1361">
                        <c:v>45348.708333333328</c:v>
                      </c:pt>
                      <c:pt idx="1362">
                        <c:v>45348.75</c:v>
                      </c:pt>
                      <c:pt idx="1363">
                        <c:v>45348.791666666672</c:v>
                      </c:pt>
                      <c:pt idx="1364">
                        <c:v>45348.833333333328</c:v>
                      </c:pt>
                      <c:pt idx="1365">
                        <c:v>45348.875</c:v>
                      </c:pt>
                      <c:pt idx="1366">
                        <c:v>45348.916666666672</c:v>
                      </c:pt>
                      <c:pt idx="1367">
                        <c:v>45348.958333333328</c:v>
                      </c:pt>
                      <c:pt idx="1368">
                        <c:v>45349</c:v>
                      </c:pt>
                      <c:pt idx="1369">
                        <c:v>45349.041666666672</c:v>
                      </c:pt>
                      <c:pt idx="1370">
                        <c:v>45349.083333333328</c:v>
                      </c:pt>
                      <c:pt idx="1371">
                        <c:v>45349.125</c:v>
                      </c:pt>
                      <c:pt idx="1372">
                        <c:v>45349.166666666672</c:v>
                      </c:pt>
                      <c:pt idx="1373">
                        <c:v>45349.208333333328</c:v>
                      </c:pt>
                      <c:pt idx="1374">
                        <c:v>45349.25</c:v>
                      </c:pt>
                      <c:pt idx="1375">
                        <c:v>45349.291666666672</c:v>
                      </c:pt>
                      <c:pt idx="1376">
                        <c:v>45349.333333333328</c:v>
                      </c:pt>
                      <c:pt idx="1377">
                        <c:v>45349.375</c:v>
                      </c:pt>
                      <c:pt idx="1378">
                        <c:v>45349.416666666672</c:v>
                      </c:pt>
                      <c:pt idx="1379">
                        <c:v>45349.458333333328</c:v>
                      </c:pt>
                      <c:pt idx="1380">
                        <c:v>45349.5</c:v>
                      </c:pt>
                      <c:pt idx="1381">
                        <c:v>45349.541666666672</c:v>
                      </c:pt>
                      <c:pt idx="1382">
                        <c:v>45349.583333333328</c:v>
                      </c:pt>
                      <c:pt idx="1383">
                        <c:v>45349.625</c:v>
                      </c:pt>
                      <c:pt idx="1384">
                        <c:v>45349.666666666672</c:v>
                      </c:pt>
                      <c:pt idx="1385">
                        <c:v>45349.708333333328</c:v>
                      </c:pt>
                      <c:pt idx="1386">
                        <c:v>45349.75</c:v>
                      </c:pt>
                      <c:pt idx="1387">
                        <c:v>45349.791666666672</c:v>
                      </c:pt>
                      <c:pt idx="1388">
                        <c:v>45349.833333333328</c:v>
                      </c:pt>
                      <c:pt idx="1389">
                        <c:v>45349.875</c:v>
                      </c:pt>
                      <c:pt idx="1390">
                        <c:v>45349.916666666672</c:v>
                      </c:pt>
                      <c:pt idx="1391">
                        <c:v>45349.958333333328</c:v>
                      </c:pt>
                      <c:pt idx="1392">
                        <c:v>45350</c:v>
                      </c:pt>
                      <c:pt idx="1393">
                        <c:v>45350.041666666672</c:v>
                      </c:pt>
                      <c:pt idx="1394">
                        <c:v>45350.083333333328</c:v>
                      </c:pt>
                      <c:pt idx="1395">
                        <c:v>45350.125</c:v>
                      </c:pt>
                      <c:pt idx="1396">
                        <c:v>45350.166666666672</c:v>
                      </c:pt>
                      <c:pt idx="1397">
                        <c:v>45350.208333333328</c:v>
                      </c:pt>
                      <c:pt idx="1398">
                        <c:v>45350.25</c:v>
                      </c:pt>
                      <c:pt idx="1399">
                        <c:v>45350.291666666672</c:v>
                      </c:pt>
                      <c:pt idx="1400">
                        <c:v>45350.333333333328</c:v>
                      </c:pt>
                      <c:pt idx="1401">
                        <c:v>45350.375</c:v>
                      </c:pt>
                      <c:pt idx="1402">
                        <c:v>45350.416666666672</c:v>
                      </c:pt>
                      <c:pt idx="1403">
                        <c:v>45350.458333333328</c:v>
                      </c:pt>
                      <c:pt idx="1404">
                        <c:v>45350.5</c:v>
                      </c:pt>
                      <c:pt idx="1405">
                        <c:v>45350.541666666672</c:v>
                      </c:pt>
                      <c:pt idx="1406">
                        <c:v>45350.583333333328</c:v>
                      </c:pt>
                      <c:pt idx="1407">
                        <c:v>45350.625</c:v>
                      </c:pt>
                      <c:pt idx="1408">
                        <c:v>45350.666666666672</c:v>
                      </c:pt>
                      <c:pt idx="1409">
                        <c:v>45350.708333333328</c:v>
                      </c:pt>
                      <c:pt idx="1410">
                        <c:v>45350.75</c:v>
                      </c:pt>
                      <c:pt idx="1411">
                        <c:v>45350.791666666672</c:v>
                      </c:pt>
                      <c:pt idx="1412">
                        <c:v>45350.833333333328</c:v>
                      </c:pt>
                      <c:pt idx="1413">
                        <c:v>45350.875</c:v>
                      </c:pt>
                      <c:pt idx="1414">
                        <c:v>45350.916666666672</c:v>
                      </c:pt>
                      <c:pt idx="1415">
                        <c:v>45350.958333333328</c:v>
                      </c:pt>
                      <c:pt idx="1416">
                        <c:v>45351</c:v>
                      </c:pt>
                      <c:pt idx="1417">
                        <c:v>45351.041666666672</c:v>
                      </c:pt>
                      <c:pt idx="1418">
                        <c:v>45351.083333333328</c:v>
                      </c:pt>
                      <c:pt idx="1419">
                        <c:v>45351.125</c:v>
                      </c:pt>
                      <c:pt idx="1420">
                        <c:v>45351.166666666672</c:v>
                      </c:pt>
                      <c:pt idx="1421">
                        <c:v>45351.208333333328</c:v>
                      </c:pt>
                      <c:pt idx="1422">
                        <c:v>45351.25</c:v>
                      </c:pt>
                      <c:pt idx="1423">
                        <c:v>45351.291666666672</c:v>
                      </c:pt>
                      <c:pt idx="1424">
                        <c:v>45351.333333333328</c:v>
                      </c:pt>
                      <c:pt idx="1425">
                        <c:v>45351.375</c:v>
                      </c:pt>
                      <c:pt idx="1426">
                        <c:v>45351.416666666672</c:v>
                      </c:pt>
                      <c:pt idx="1427">
                        <c:v>45351.458333333328</c:v>
                      </c:pt>
                      <c:pt idx="1428">
                        <c:v>45351.5</c:v>
                      </c:pt>
                      <c:pt idx="1429">
                        <c:v>45351.541666666672</c:v>
                      </c:pt>
                      <c:pt idx="1430">
                        <c:v>45351.583333333328</c:v>
                      </c:pt>
                      <c:pt idx="1431">
                        <c:v>45351.625</c:v>
                      </c:pt>
                      <c:pt idx="1432">
                        <c:v>45351.666666666672</c:v>
                      </c:pt>
                      <c:pt idx="1433">
                        <c:v>45351.708333333328</c:v>
                      </c:pt>
                      <c:pt idx="1434">
                        <c:v>45351.75</c:v>
                      </c:pt>
                      <c:pt idx="1435">
                        <c:v>45351.791666666672</c:v>
                      </c:pt>
                      <c:pt idx="1436">
                        <c:v>45351.833333333328</c:v>
                      </c:pt>
                      <c:pt idx="1437">
                        <c:v>45351.875</c:v>
                      </c:pt>
                      <c:pt idx="1438">
                        <c:v>45351.916666666672</c:v>
                      </c:pt>
                      <c:pt idx="1439">
                        <c:v>45351.958333333328</c:v>
                      </c:pt>
                      <c:pt idx="1440">
                        <c:v>45352</c:v>
                      </c:pt>
                      <c:pt idx="1441">
                        <c:v>45352.041666666672</c:v>
                      </c:pt>
                      <c:pt idx="1442">
                        <c:v>45352.083333333328</c:v>
                      </c:pt>
                      <c:pt idx="1443">
                        <c:v>45352.125</c:v>
                      </c:pt>
                      <c:pt idx="1444">
                        <c:v>45352.166666666672</c:v>
                      </c:pt>
                      <c:pt idx="1445">
                        <c:v>45352.208333333328</c:v>
                      </c:pt>
                      <c:pt idx="1446">
                        <c:v>45352.25</c:v>
                      </c:pt>
                      <c:pt idx="1447">
                        <c:v>45352.291666666672</c:v>
                      </c:pt>
                      <c:pt idx="1448">
                        <c:v>45352.333333333328</c:v>
                      </c:pt>
                      <c:pt idx="1449">
                        <c:v>45352.375</c:v>
                      </c:pt>
                      <c:pt idx="1450">
                        <c:v>45352.416666666672</c:v>
                      </c:pt>
                      <c:pt idx="1451">
                        <c:v>45352.458333333328</c:v>
                      </c:pt>
                      <c:pt idx="1452">
                        <c:v>45352.5</c:v>
                      </c:pt>
                      <c:pt idx="1453">
                        <c:v>45352.541666666672</c:v>
                      </c:pt>
                      <c:pt idx="1454">
                        <c:v>45352.583333333328</c:v>
                      </c:pt>
                      <c:pt idx="1455">
                        <c:v>45352.625</c:v>
                      </c:pt>
                      <c:pt idx="1456">
                        <c:v>45352.666666666672</c:v>
                      </c:pt>
                      <c:pt idx="1457">
                        <c:v>45352.708333333328</c:v>
                      </c:pt>
                      <c:pt idx="1458">
                        <c:v>45352.75</c:v>
                      </c:pt>
                      <c:pt idx="1459">
                        <c:v>45352.791666666672</c:v>
                      </c:pt>
                      <c:pt idx="1460">
                        <c:v>45352.833333333328</c:v>
                      </c:pt>
                      <c:pt idx="1461">
                        <c:v>45352.875</c:v>
                      </c:pt>
                      <c:pt idx="1462">
                        <c:v>45352.916666666672</c:v>
                      </c:pt>
                      <c:pt idx="1463">
                        <c:v>45352.958333333328</c:v>
                      </c:pt>
                      <c:pt idx="1464">
                        <c:v>45353</c:v>
                      </c:pt>
                      <c:pt idx="1465">
                        <c:v>45353.041666666672</c:v>
                      </c:pt>
                      <c:pt idx="1466">
                        <c:v>45353.083333333328</c:v>
                      </c:pt>
                      <c:pt idx="1467">
                        <c:v>45353.125</c:v>
                      </c:pt>
                      <c:pt idx="1468">
                        <c:v>45353.166666666672</c:v>
                      </c:pt>
                      <c:pt idx="1469">
                        <c:v>45353.208333333328</c:v>
                      </c:pt>
                      <c:pt idx="1470">
                        <c:v>45353.25</c:v>
                      </c:pt>
                      <c:pt idx="1471">
                        <c:v>45353.291666666672</c:v>
                      </c:pt>
                      <c:pt idx="1472">
                        <c:v>45353.333333333328</c:v>
                      </c:pt>
                      <c:pt idx="1473">
                        <c:v>45353.375</c:v>
                      </c:pt>
                      <c:pt idx="1474">
                        <c:v>45353.416666666672</c:v>
                      </c:pt>
                      <c:pt idx="1475">
                        <c:v>45353.458333333328</c:v>
                      </c:pt>
                      <c:pt idx="1476">
                        <c:v>45353.5</c:v>
                      </c:pt>
                      <c:pt idx="1477">
                        <c:v>45353.541666666672</c:v>
                      </c:pt>
                      <c:pt idx="1478">
                        <c:v>45353.583333333328</c:v>
                      </c:pt>
                      <c:pt idx="1479">
                        <c:v>45353.625</c:v>
                      </c:pt>
                      <c:pt idx="1480">
                        <c:v>45353.666666666672</c:v>
                      </c:pt>
                      <c:pt idx="1481">
                        <c:v>45353.708333333328</c:v>
                      </c:pt>
                      <c:pt idx="1482">
                        <c:v>45353.75</c:v>
                      </c:pt>
                      <c:pt idx="1483">
                        <c:v>45353.791666666672</c:v>
                      </c:pt>
                      <c:pt idx="1484">
                        <c:v>45353.833333333328</c:v>
                      </c:pt>
                      <c:pt idx="1485">
                        <c:v>45353.875</c:v>
                      </c:pt>
                      <c:pt idx="1486">
                        <c:v>45353.916666666672</c:v>
                      </c:pt>
                      <c:pt idx="1487">
                        <c:v>45353.958333333328</c:v>
                      </c:pt>
                      <c:pt idx="1488">
                        <c:v>45354</c:v>
                      </c:pt>
                      <c:pt idx="1489">
                        <c:v>45354.041666666672</c:v>
                      </c:pt>
                      <c:pt idx="1490">
                        <c:v>45354.083333333328</c:v>
                      </c:pt>
                      <c:pt idx="1491">
                        <c:v>45354.125</c:v>
                      </c:pt>
                      <c:pt idx="1492">
                        <c:v>45354.166666666672</c:v>
                      </c:pt>
                      <c:pt idx="1493">
                        <c:v>45354.208333333328</c:v>
                      </c:pt>
                      <c:pt idx="1494">
                        <c:v>45354.25</c:v>
                      </c:pt>
                      <c:pt idx="1495">
                        <c:v>45354.291666666672</c:v>
                      </c:pt>
                      <c:pt idx="1496">
                        <c:v>45354.333333333328</c:v>
                      </c:pt>
                      <c:pt idx="1497">
                        <c:v>45354.375</c:v>
                      </c:pt>
                      <c:pt idx="1498">
                        <c:v>45354.416666666672</c:v>
                      </c:pt>
                      <c:pt idx="1499">
                        <c:v>45354.458333333328</c:v>
                      </c:pt>
                      <c:pt idx="1500">
                        <c:v>45354.5</c:v>
                      </c:pt>
                      <c:pt idx="1501">
                        <c:v>45354.541666666672</c:v>
                      </c:pt>
                      <c:pt idx="1502">
                        <c:v>45354.583333333328</c:v>
                      </c:pt>
                      <c:pt idx="1503">
                        <c:v>45354.625</c:v>
                      </c:pt>
                      <c:pt idx="1504">
                        <c:v>45354.666666666672</c:v>
                      </c:pt>
                      <c:pt idx="1505">
                        <c:v>45354.708333333328</c:v>
                      </c:pt>
                      <c:pt idx="1506">
                        <c:v>45354.75</c:v>
                      </c:pt>
                      <c:pt idx="1507">
                        <c:v>45354.791666666672</c:v>
                      </c:pt>
                      <c:pt idx="1508">
                        <c:v>45354.833333333328</c:v>
                      </c:pt>
                      <c:pt idx="1509">
                        <c:v>45354.875</c:v>
                      </c:pt>
                      <c:pt idx="1510">
                        <c:v>45354.916666666672</c:v>
                      </c:pt>
                      <c:pt idx="1511">
                        <c:v>45354.958333333328</c:v>
                      </c:pt>
                      <c:pt idx="1512">
                        <c:v>45355</c:v>
                      </c:pt>
                      <c:pt idx="1513">
                        <c:v>45355.041666666672</c:v>
                      </c:pt>
                      <c:pt idx="1514">
                        <c:v>45355.083333333328</c:v>
                      </c:pt>
                      <c:pt idx="1515">
                        <c:v>45355.125</c:v>
                      </c:pt>
                      <c:pt idx="1516">
                        <c:v>45355.166666666672</c:v>
                      </c:pt>
                      <c:pt idx="1517">
                        <c:v>45355.208333333328</c:v>
                      </c:pt>
                      <c:pt idx="1518">
                        <c:v>45355.25</c:v>
                      </c:pt>
                      <c:pt idx="1519">
                        <c:v>45355.291666666672</c:v>
                      </c:pt>
                      <c:pt idx="1520">
                        <c:v>45355.333333333328</c:v>
                      </c:pt>
                      <c:pt idx="1521">
                        <c:v>45355.375</c:v>
                      </c:pt>
                      <c:pt idx="1522">
                        <c:v>45355.416666666672</c:v>
                      </c:pt>
                      <c:pt idx="1523">
                        <c:v>45355.458333333328</c:v>
                      </c:pt>
                      <c:pt idx="1524">
                        <c:v>45355.5</c:v>
                      </c:pt>
                      <c:pt idx="1525">
                        <c:v>45355.541666666672</c:v>
                      </c:pt>
                      <c:pt idx="1526">
                        <c:v>45355.583333333328</c:v>
                      </c:pt>
                      <c:pt idx="1527">
                        <c:v>45355.625</c:v>
                      </c:pt>
                      <c:pt idx="1528">
                        <c:v>45355.666666666672</c:v>
                      </c:pt>
                      <c:pt idx="1529">
                        <c:v>45355.708333333328</c:v>
                      </c:pt>
                      <c:pt idx="1530">
                        <c:v>45355.75</c:v>
                      </c:pt>
                      <c:pt idx="1531">
                        <c:v>45355.791666666672</c:v>
                      </c:pt>
                      <c:pt idx="1532">
                        <c:v>45355.833333333328</c:v>
                      </c:pt>
                      <c:pt idx="1533">
                        <c:v>45355.875</c:v>
                      </c:pt>
                      <c:pt idx="1534">
                        <c:v>45355.916666666672</c:v>
                      </c:pt>
                      <c:pt idx="1535">
                        <c:v>45355.958333333328</c:v>
                      </c:pt>
                      <c:pt idx="1536">
                        <c:v>45356</c:v>
                      </c:pt>
                      <c:pt idx="1537">
                        <c:v>45356.041666666672</c:v>
                      </c:pt>
                      <c:pt idx="1538">
                        <c:v>45356.083333333328</c:v>
                      </c:pt>
                      <c:pt idx="1539">
                        <c:v>45356.125</c:v>
                      </c:pt>
                      <c:pt idx="1540">
                        <c:v>45356.166666666672</c:v>
                      </c:pt>
                      <c:pt idx="1541">
                        <c:v>45356.208333333328</c:v>
                      </c:pt>
                      <c:pt idx="1542">
                        <c:v>45356.25</c:v>
                      </c:pt>
                      <c:pt idx="1543">
                        <c:v>45356.291666666672</c:v>
                      </c:pt>
                      <c:pt idx="1544">
                        <c:v>45356.333333333328</c:v>
                      </c:pt>
                      <c:pt idx="1545">
                        <c:v>45356.375</c:v>
                      </c:pt>
                      <c:pt idx="1546">
                        <c:v>45356.416666666672</c:v>
                      </c:pt>
                      <c:pt idx="1547">
                        <c:v>45356.458333333328</c:v>
                      </c:pt>
                      <c:pt idx="1548">
                        <c:v>45356.5</c:v>
                      </c:pt>
                      <c:pt idx="1549">
                        <c:v>45356.541666666672</c:v>
                      </c:pt>
                      <c:pt idx="1550">
                        <c:v>45356.583333333328</c:v>
                      </c:pt>
                      <c:pt idx="1551">
                        <c:v>45356.625</c:v>
                      </c:pt>
                      <c:pt idx="1552">
                        <c:v>45356.666666666672</c:v>
                      </c:pt>
                      <c:pt idx="1553">
                        <c:v>45356.708333333328</c:v>
                      </c:pt>
                      <c:pt idx="1554">
                        <c:v>45356.75</c:v>
                      </c:pt>
                      <c:pt idx="1555">
                        <c:v>45356.791666666672</c:v>
                      </c:pt>
                      <c:pt idx="1556">
                        <c:v>45356.833333333328</c:v>
                      </c:pt>
                      <c:pt idx="1557">
                        <c:v>45356.875</c:v>
                      </c:pt>
                      <c:pt idx="1558">
                        <c:v>45356.916666666672</c:v>
                      </c:pt>
                      <c:pt idx="1559">
                        <c:v>45356.958333333328</c:v>
                      </c:pt>
                      <c:pt idx="1560">
                        <c:v>45357</c:v>
                      </c:pt>
                      <c:pt idx="1561">
                        <c:v>45357.041666666672</c:v>
                      </c:pt>
                      <c:pt idx="1562">
                        <c:v>45357.083333333328</c:v>
                      </c:pt>
                      <c:pt idx="1563">
                        <c:v>45357.125</c:v>
                      </c:pt>
                      <c:pt idx="1564">
                        <c:v>45357.166666666672</c:v>
                      </c:pt>
                      <c:pt idx="1565">
                        <c:v>45357.208333333328</c:v>
                      </c:pt>
                      <c:pt idx="1566">
                        <c:v>45357.25</c:v>
                      </c:pt>
                      <c:pt idx="1567">
                        <c:v>45357.291666666672</c:v>
                      </c:pt>
                      <c:pt idx="1568">
                        <c:v>45357.333333333328</c:v>
                      </c:pt>
                      <c:pt idx="1569">
                        <c:v>45357.375</c:v>
                      </c:pt>
                      <c:pt idx="1570">
                        <c:v>45357.416666666672</c:v>
                      </c:pt>
                      <c:pt idx="1571">
                        <c:v>45357.458333333328</c:v>
                      </c:pt>
                      <c:pt idx="1572">
                        <c:v>45357.5</c:v>
                      </c:pt>
                      <c:pt idx="1573">
                        <c:v>45357.541666666672</c:v>
                      </c:pt>
                      <c:pt idx="1574">
                        <c:v>45357.583333333328</c:v>
                      </c:pt>
                      <c:pt idx="1575">
                        <c:v>45357.625</c:v>
                      </c:pt>
                      <c:pt idx="1576">
                        <c:v>45357.666666666672</c:v>
                      </c:pt>
                      <c:pt idx="1577">
                        <c:v>45357.708333333328</c:v>
                      </c:pt>
                      <c:pt idx="1578">
                        <c:v>45357.75</c:v>
                      </c:pt>
                      <c:pt idx="1579">
                        <c:v>45357.791666666672</c:v>
                      </c:pt>
                      <c:pt idx="1580">
                        <c:v>45357.833333333328</c:v>
                      </c:pt>
                      <c:pt idx="1581">
                        <c:v>45357.875</c:v>
                      </c:pt>
                      <c:pt idx="1582">
                        <c:v>45357.916666666672</c:v>
                      </c:pt>
                      <c:pt idx="1583">
                        <c:v>45357.958333333328</c:v>
                      </c:pt>
                      <c:pt idx="1584">
                        <c:v>45358</c:v>
                      </c:pt>
                      <c:pt idx="1585">
                        <c:v>45358.041666666672</c:v>
                      </c:pt>
                      <c:pt idx="1586">
                        <c:v>45358.083333333328</c:v>
                      </c:pt>
                      <c:pt idx="1587">
                        <c:v>45358.125</c:v>
                      </c:pt>
                      <c:pt idx="1588">
                        <c:v>45358.166666666672</c:v>
                      </c:pt>
                      <c:pt idx="1589">
                        <c:v>45358.208333333328</c:v>
                      </c:pt>
                      <c:pt idx="1590">
                        <c:v>45358.25</c:v>
                      </c:pt>
                      <c:pt idx="1591">
                        <c:v>45358.291666666672</c:v>
                      </c:pt>
                      <c:pt idx="1592">
                        <c:v>45358.333333333328</c:v>
                      </c:pt>
                      <c:pt idx="1593">
                        <c:v>45358.375</c:v>
                      </c:pt>
                      <c:pt idx="1594">
                        <c:v>45358.416666666672</c:v>
                      </c:pt>
                      <c:pt idx="1595">
                        <c:v>45358.458333333328</c:v>
                      </c:pt>
                      <c:pt idx="1596">
                        <c:v>45358.5</c:v>
                      </c:pt>
                      <c:pt idx="1597">
                        <c:v>45358.541666666672</c:v>
                      </c:pt>
                      <c:pt idx="1598">
                        <c:v>45358.583333333328</c:v>
                      </c:pt>
                      <c:pt idx="1599">
                        <c:v>45358.625</c:v>
                      </c:pt>
                      <c:pt idx="1600">
                        <c:v>45358.666666666672</c:v>
                      </c:pt>
                      <c:pt idx="1601">
                        <c:v>45358.708333333328</c:v>
                      </c:pt>
                      <c:pt idx="1602">
                        <c:v>45358.75</c:v>
                      </c:pt>
                      <c:pt idx="1603">
                        <c:v>45358.791666666672</c:v>
                      </c:pt>
                      <c:pt idx="1604">
                        <c:v>45358.833333333328</c:v>
                      </c:pt>
                      <c:pt idx="1605">
                        <c:v>45358.875</c:v>
                      </c:pt>
                      <c:pt idx="1606">
                        <c:v>45358.916666666672</c:v>
                      </c:pt>
                      <c:pt idx="1607">
                        <c:v>45358.958333333328</c:v>
                      </c:pt>
                      <c:pt idx="1608">
                        <c:v>45359</c:v>
                      </c:pt>
                      <c:pt idx="1609">
                        <c:v>45359.041666666672</c:v>
                      </c:pt>
                      <c:pt idx="1610">
                        <c:v>45359.083333333328</c:v>
                      </c:pt>
                      <c:pt idx="1611">
                        <c:v>45359.125</c:v>
                      </c:pt>
                      <c:pt idx="1612">
                        <c:v>45359.166666666672</c:v>
                      </c:pt>
                      <c:pt idx="1613">
                        <c:v>45359.208333333328</c:v>
                      </c:pt>
                      <c:pt idx="1614">
                        <c:v>45359.25</c:v>
                      </c:pt>
                      <c:pt idx="1615">
                        <c:v>45359.291666666672</c:v>
                      </c:pt>
                      <c:pt idx="1616">
                        <c:v>45359.333333333328</c:v>
                      </c:pt>
                      <c:pt idx="1617">
                        <c:v>45359.375</c:v>
                      </c:pt>
                      <c:pt idx="1618">
                        <c:v>45359.416666666672</c:v>
                      </c:pt>
                      <c:pt idx="1619">
                        <c:v>45359.458333333328</c:v>
                      </c:pt>
                      <c:pt idx="1620">
                        <c:v>45359.5</c:v>
                      </c:pt>
                      <c:pt idx="1621">
                        <c:v>45359.541666666672</c:v>
                      </c:pt>
                      <c:pt idx="1622">
                        <c:v>45359.583333333328</c:v>
                      </c:pt>
                      <c:pt idx="1623">
                        <c:v>45359.625</c:v>
                      </c:pt>
                      <c:pt idx="1624">
                        <c:v>45359.666666666672</c:v>
                      </c:pt>
                      <c:pt idx="1625">
                        <c:v>45359.708333333328</c:v>
                      </c:pt>
                      <c:pt idx="1626">
                        <c:v>45359.75</c:v>
                      </c:pt>
                      <c:pt idx="1627">
                        <c:v>45359.791666666672</c:v>
                      </c:pt>
                      <c:pt idx="1628">
                        <c:v>45359.833333333328</c:v>
                      </c:pt>
                      <c:pt idx="1629">
                        <c:v>45359.875</c:v>
                      </c:pt>
                      <c:pt idx="1630">
                        <c:v>45359.916666666672</c:v>
                      </c:pt>
                      <c:pt idx="1631">
                        <c:v>45359.958333333328</c:v>
                      </c:pt>
                      <c:pt idx="1632">
                        <c:v>45360</c:v>
                      </c:pt>
                      <c:pt idx="1633">
                        <c:v>45360.041666666672</c:v>
                      </c:pt>
                      <c:pt idx="1634">
                        <c:v>45360.083333333328</c:v>
                      </c:pt>
                      <c:pt idx="1635">
                        <c:v>45360.125</c:v>
                      </c:pt>
                      <c:pt idx="1636">
                        <c:v>45360.166666666672</c:v>
                      </c:pt>
                      <c:pt idx="1637">
                        <c:v>45360.208333333328</c:v>
                      </c:pt>
                      <c:pt idx="1638">
                        <c:v>45360.25</c:v>
                      </c:pt>
                      <c:pt idx="1639">
                        <c:v>45360.291666666672</c:v>
                      </c:pt>
                      <c:pt idx="1640">
                        <c:v>45360.333333333328</c:v>
                      </c:pt>
                      <c:pt idx="1641">
                        <c:v>45360.375</c:v>
                      </c:pt>
                      <c:pt idx="1642">
                        <c:v>45360.416666666672</c:v>
                      </c:pt>
                      <c:pt idx="1643">
                        <c:v>45360.458333333328</c:v>
                      </c:pt>
                      <c:pt idx="1644">
                        <c:v>45360.5</c:v>
                      </c:pt>
                      <c:pt idx="1645">
                        <c:v>45360.541666666672</c:v>
                      </c:pt>
                      <c:pt idx="1646">
                        <c:v>45360.583333333328</c:v>
                      </c:pt>
                      <c:pt idx="1647">
                        <c:v>45360.625</c:v>
                      </c:pt>
                      <c:pt idx="1648">
                        <c:v>45360.666666666672</c:v>
                      </c:pt>
                      <c:pt idx="1649">
                        <c:v>45360.708333333328</c:v>
                      </c:pt>
                      <c:pt idx="1650">
                        <c:v>45360.75</c:v>
                      </c:pt>
                      <c:pt idx="1651">
                        <c:v>45360.791666666672</c:v>
                      </c:pt>
                      <c:pt idx="1652">
                        <c:v>45360.833333333328</c:v>
                      </c:pt>
                      <c:pt idx="1653">
                        <c:v>45360.875</c:v>
                      </c:pt>
                      <c:pt idx="1654">
                        <c:v>45360.916666666672</c:v>
                      </c:pt>
                      <c:pt idx="1655">
                        <c:v>45360.958333333328</c:v>
                      </c:pt>
                      <c:pt idx="1656">
                        <c:v>45361</c:v>
                      </c:pt>
                      <c:pt idx="1657">
                        <c:v>45361.041666666672</c:v>
                      </c:pt>
                      <c:pt idx="1658">
                        <c:v>45361.083333333328</c:v>
                      </c:pt>
                      <c:pt idx="1659">
                        <c:v>45361.125</c:v>
                      </c:pt>
                      <c:pt idx="1660">
                        <c:v>45361.166666666672</c:v>
                      </c:pt>
                      <c:pt idx="1661">
                        <c:v>45361.208333333328</c:v>
                      </c:pt>
                      <c:pt idx="1662">
                        <c:v>45361.25</c:v>
                      </c:pt>
                      <c:pt idx="1663">
                        <c:v>45361.291666666672</c:v>
                      </c:pt>
                      <c:pt idx="1664">
                        <c:v>45361.333333333328</c:v>
                      </c:pt>
                      <c:pt idx="1665">
                        <c:v>45361.375</c:v>
                      </c:pt>
                      <c:pt idx="1666">
                        <c:v>45361.416666666672</c:v>
                      </c:pt>
                      <c:pt idx="1667">
                        <c:v>45361.458333333328</c:v>
                      </c:pt>
                      <c:pt idx="1668">
                        <c:v>45361.5</c:v>
                      </c:pt>
                      <c:pt idx="1669">
                        <c:v>45361.541666666672</c:v>
                      </c:pt>
                      <c:pt idx="1670">
                        <c:v>45361.583333333328</c:v>
                      </c:pt>
                      <c:pt idx="1671">
                        <c:v>45361.625</c:v>
                      </c:pt>
                      <c:pt idx="1672">
                        <c:v>45361.666666666672</c:v>
                      </c:pt>
                      <c:pt idx="1673">
                        <c:v>45361.708333333328</c:v>
                      </c:pt>
                      <c:pt idx="1674">
                        <c:v>45361.75</c:v>
                      </c:pt>
                      <c:pt idx="1675">
                        <c:v>45361.791666666672</c:v>
                      </c:pt>
                      <c:pt idx="1676">
                        <c:v>45361.833333333328</c:v>
                      </c:pt>
                      <c:pt idx="1677">
                        <c:v>45361.875</c:v>
                      </c:pt>
                      <c:pt idx="1678">
                        <c:v>45361.916666666672</c:v>
                      </c:pt>
                      <c:pt idx="1679">
                        <c:v>45361.958333333328</c:v>
                      </c:pt>
                      <c:pt idx="1680">
                        <c:v>45362</c:v>
                      </c:pt>
                      <c:pt idx="1681">
                        <c:v>45362.041666666672</c:v>
                      </c:pt>
                      <c:pt idx="1682">
                        <c:v>45362.083333333328</c:v>
                      </c:pt>
                      <c:pt idx="1683">
                        <c:v>45362.125</c:v>
                      </c:pt>
                      <c:pt idx="1684">
                        <c:v>45362.166666666672</c:v>
                      </c:pt>
                      <c:pt idx="1685">
                        <c:v>45362.208333333328</c:v>
                      </c:pt>
                      <c:pt idx="1686">
                        <c:v>45362.25</c:v>
                      </c:pt>
                      <c:pt idx="1687">
                        <c:v>45362.291666666672</c:v>
                      </c:pt>
                      <c:pt idx="1688">
                        <c:v>45362.333333333328</c:v>
                      </c:pt>
                      <c:pt idx="1689">
                        <c:v>45362.375</c:v>
                      </c:pt>
                      <c:pt idx="1690">
                        <c:v>45362.416666666672</c:v>
                      </c:pt>
                      <c:pt idx="1691">
                        <c:v>45362.458333333328</c:v>
                      </c:pt>
                      <c:pt idx="1692">
                        <c:v>45362.5</c:v>
                      </c:pt>
                      <c:pt idx="1693">
                        <c:v>45362.541666666672</c:v>
                      </c:pt>
                      <c:pt idx="1694">
                        <c:v>45362.583333333328</c:v>
                      </c:pt>
                      <c:pt idx="1695">
                        <c:v>45362.625</c:v>
                      </c:pt>
                      <c:pt idx="1696">
                        <c:v>45362.666666666672</c:v>
                      </c:pt>
                      <c:pt idx="1697">
                        <c:v>45362.708333333328</c:v>
                      </c:pt>
                      <c:pt idx="1698">
                        <c:v>45362.75</c:v>
                      </c:pt>
                      <c:pt idx="1699">
                        <c:v>45362.791666666672</c:v>
                      </c:pt>
                      <c:pt idx="1700">
                        <c:v>45362.833333333328</c:v>
                      </c:pt>
                      <c:pt idx="1701">
                        <c:v>45362.875</c:v>
                      </c:pt>
                      <c:pt idx="1702">
                        <c:v>45362.916666666672</c:v>
                      </c:pt>
                      <c:pt idx="1703">
                        <c:v>45362.958333333328</c:v>
                      </c:pt>
                      <c:pt idx="1704">
                        <c:v>45363</c:v>
                      </c:pt>
                      <c:pt idx="1705">
                        <c:v>45363.041666666672</c:v>
                      </c:pt>
                      <c:pt idx="1706">
                        <c:v>45363.083333333328</c:v>
                      </c:pt>
                      <c:pt idx="1707">
                        <c:v>45363.125</c:v>
                      </c:pt>
                      <c:pt idx="1708">
                        <c:v>45363.166666666672</c:v>
                      </c:pt>
                      <c:pt idx="1709">
                        <c:v>45363.208333333328</c:v>
                      </c:pt>
                      <c:pt idx="1710">
                        <c:v>45363.25</c:v>
                      </c:pt>
                      <c:pt idx="1711">
                        <c:v>45363.291666666672</c:v>
                      </c:pt>
                      <c:pt idx="1712">
                        <c:v>45363.333333333328</c:v>
                      </c:pt>
                      <c:pt idx="1713">
                        <c:v>45363.375</c:v>
                      </c:pt>
                      <c:pt idx="1714">
                        <c:v>45363.416666666672</c:v>
                      </c:pt>
                      <c:pt idx="1715">
                        <c:v>45363.458333333328</c:v>
                      </c:pt>
                      <c:pt idx="1716">
                        <c:v>45363.5</c:v>
                      </c:pt>
                      <c:pt idx="1717">
                        <c:v>45363.541666666672</c:v>
                      </c:pt>
                      <c:pt idx="1718">
                        <c:v>45363.583333333328</c:v>
                      </c:pt>
                      <c:pt idx="1719">
                        <c:v>45363.625</c:v>
                      </c:pt>
                      <c:pt idx="1720">
                        <c:v>45363.666666666672</c:v>
                      </c:pt>
                      <c:pt idx="1721">
                        <c:v>45363.708333333328</c:v>
                      </c:pt>
                      <c:pt idx="1722">
                        <c:v>45363.75</c:v>
                      </c:pt>
                      <c:pt idx="1723">
                        <c:v>45363.791666666672</c:v>
                      </c:pt>
                      <c:pt idx="1724">
                        <c:v>45363.833333333328</c:v>
                      </c:pt>
                      <c:pt idx="1725">
                        <c:v>45363.875</c:v>
                      </c:pt>
                      <c:pt idx="1726">
                        <c:v>45363.916666666672</c:v>
                      </c:pt>
                      <c:pt idx="1727">
                        <c:v>45363.958333333328</c:v>
                      </c:pt>
                      <c:pt idx="1728">
                        <c:v>45364</c:v>
                      </c:pt>
                      <c:pt idx="1729">
                        <c:v>45364.041666666672</c:v>
                      </c:pt>
                      <c:pt idx="1730">
                        <c:v>45364.083333333328</c:v>
                      </c:pt>
                      <c:pt idx="1731">
                        <c:v>45364.125</c:v>
                      </c:pt>
                      <c:pt idx="1732">
                        <c:v>45364.166666666672</c:v>
                      </c:pt>
                      <c:pt idx="1733">
                        <c:v>45364.208333333328</c:v>
                      </c:pt>
                      <c:pt idx="1734">
                        <c:v>45364.25</c:v>
                      </c:pt>
                      <c:pt idx="1735">
                        <c:v>45364.291666666672</c:v>
                      </c:pt>
                      <c:pt idx="1736">
                        <c:v>45364.333333333328</c:v>
                      </c:pt>
                      <c:pt idx="1737">
                        <c:v>45364.375</c:v>
                      </c:pt>
                      <c:pt idx="1738">
                        <c:v>45364.416666666672</c:v>
                      </c:pt>
                      <c:pt idx="1739">
                        <c:v>45364.458333333328</c:v>
                      </c:pt>
                      <c:pt idx="1740">
                        <c:v>45364.5</c:v>
                      </c:pt>
                      <c:pt idx="1741">
                        <c:v>45364.541666666672</c:v>
                      </c:pt>
                      <c:pt idx="1742">
                        <c:v>45364.583333333328</c:v>
                      </c:pt>
                      <c:pt idx="1743">
                        <c:v>45364.625</c:v>
                      </c:pt>
                      <c:pt idx="1744">
                        <c:v>45364.666666666672</c:v>
                      </c:pt>
                      <c:pt idx="1745">
                        <c:v>45364.708333333328</c:v>
                      </c:pt>
                      <c:pt idx="1746">
                        <c:v>45364.75</c:v>
                      </c:pt>
                      <c:pt idx="1747">
                        <c:v>45364.791666666672</c:v>
                      </c:pt>
                      <c:pt idx="1748">
                        <c:v>45364.833333333328</c:v>
                      </c:pt>
                      <c:pt idx="1749">
                        <c:v>45364.875</c:v>
                      </c:pt>
                      <c:pt idx="1750">
                        <c:v>45364.916666666672</c:v>
                      </c:pt>
                      <c:pt idx="1751">
                        <c:v>45364.958333333328</c:v>
                      </c:pt>
                      <c:pt idx="1752">
                        <c:v>45365</c:v>
                      </c:pt>
                      <c:pt idx="1753">
                        <c:v>45365.041666666672</c:v>
                      </c:pt>
                      <c:pt idx="1754">
                        <c:v>45365.083333333328</c:v>
                      </c:pt>
                      <c:pt idx="1755">
                        <c:v>45365.125</c:v>
                      </c:pt>
                      <c:pt idx="1756">
                        <c:v>45365.166666666672</c:v>
                      </c:pt>
                      <c:pt idx="1757">
                        <c:v>45365.208333333328</c:v>
                      </c:pt>
                      <c:pt idx="1758">
                        <c:v>45365.25</c:v>
                      </c:pt>
                      <c:pt idx="1759">
                        <c:v>45365.291666666672</c:v>
                      </c:pt>
                      <c:pt idx="1760">
                        <c:v>45365.333333333328</c:v>
                      </c:pt>
                      <c:pt idx="1761">
                        <c:v>45365.375</c:v>
                      </c:pt>
                      <c:pt idx="1762">
                        <c:v>45365.416666666672</c:v>
                      </c:pt>
                      <c:pt idx="1763">
                        <c:v>45365.458333333328</c:v>
                      </c:pt>
                      <c:pt idx="1764">
                        <c:v>45365.5</c:v>
                      </c:pt>
                      <c:pt idx="1765">
                        <c:v>45365.541666666672</c:v>
                      </c:pt>
                      <c:pt idx="1766">
                        <c:v>45365.583333333328</c:v>
                      </c:pt>
                      <c:pt idx="1767">
                        <c:v>45365.625</c:v>
                      </c:pt>
                      <c:pt idx="1768">
                        <c:v>45365.666666666672</c:v>
                      </c:pt>
                      <c:pt idx="1769">
                        <c:v>45365.708333333328</c:v>
                      </c:pt>
                      <c:pt idx="1770">
                        <c:v>45365.75</c:v>
                      </c:pt>
                      <c:pt idx="1771">
                        <c:v>45365.791666666672</c:v>
                      </c:pt>
                      <c:pt idx="1772">
                        <c:v>45365.833333333328</c:v>
                      </c:pt>
                      <c:pt idx="1773">
                        <c:v>45365.875</c:v>
                      </c:pt>
                      <c:pt idx="1774">
                        <c:v>45365.916666666672</c:v>
                      </c:pt>
                      <c:pt idx="1775">
                        <c:v>45365.958333333328</c:v>
                      </c:pt>
                      <c:pt idx="1776">
                        <c:v>45366</c:v>
                      </c:pt>
                      <c:pt idx="1777">
                        <c:v>45366.041666666672</c:v>
                      </c:pt>
                      <c:pt idx="1778">
                        <c:v>45366.083333333328</c:v>
                      </c:pt>
                      <c:pt idx="1779">
                        <c:v>45366.125</c:v>
                      </c:pt>
                      <c:pt idx="1780">
                        <c:v>45366.166666666672</c:v>
                      </c:pt>
                      <c:pt idx="1781">
                        <c:v>45366.208333333328</c:v>
                      </c:pt>
                      <c:pt idx="1782">
                        <c:v>45366.25</c:v>
                      </c:pt>
                      <c:pt idx="1783">
                        <c:v>45366.291666666672</c:v>
                      </c:pt>
                      <c:pt idx="1784">
                        <c:v>45366.333333333328</c:v>
                      </c:pt>
                      <c:pt idx="1785">
                        <c:v>45366.375</c:v>
                      </c:pt>
                      <c:pt idx="1786">
                        <c:v>45366.416666666672</c:v>
                      </c:pt>
                      <c:pt idx="1787">
                        <c:v>45366.458333333328</c:v>
                      </c:pt>
                      <c:pt idx="1788">
                        <c:v>45366.5</c:v>
                      </c:pt>
                      <c:pt idx="1789">
                        <c:v>45366.541666666672</c:v>
                      </c:pt>
                      <c:pt idx="1790">
                        <c:v>45366.583333333328</c:v>
                      </c:pt>
                      <c:pt idx="1791">
                        <c:v>45366.625</c:v>
                      </c:pt>
                      <c:pt idx="1792">
                        <c:v>45366.666666666672</c:v>
                      </c:pt>
                      <c:pt idx="1793">
                        <c:v>45366.708333333328</c:v>
                      </c:pt>
                      <c:pt idx="1794">
                        <c:v>45366.75</c:v>
                      </c:pt>
                      <c:pt idx="1795">
                        <c:v>45366.791666666672</c:v>
                      </c:pt>
                      <c:pt idx="1796">
                        <c:v>45366.833333333328</c:v>
                      </c:pt>
                      <c:pt idx="1797">
                        <c:v>45366.875</c:v>
                      </c:pt>
                      <c:pt idx="1798">
                        <c:v>45366.916666666672</c:v>
                      </c:pt>
                      <c:pt idx="1799">
                        <c:v>45366.958333333328</c:v>
                      </c:pt>
                      <c:pt idx="1800">
                        <c:v>45367</c:v>
                      </c:pt>
                      <c:pt idx="1801">
                        <c:v>45367.041666666672</c:v>
                      </c:pt>
                      <c:pt idx="1802">
                        <c:v>45367.083333333328</c:v>
                      </c:pt>
                      <c:pt idx="1803">
                        <c:v>45367.125</c:v>
                      </c:pt>
                      <c:pt idx="1804">
                        <c:v>45367.166666666672</c:v>
                      </c:pt>
                      <c:pt idx="1805">
                        <c:v>45367.208333333328</c:v>
                      </c:pt>
                      <c:pt idx="1806">
                        <c:v>45367.25</c:v>
                      </c:pt>
                      <c:pt idx="1807">
                        <c:v>45367.291666666672</c:v>
                      </c:pt>
                      <c:pt idx="1808">
                        <c:v>45367.333333333328</c:v>
                      </c:pt>
                      <c:pt idx="1809">
                        <c:v>45367.375</c:v>
                      </c:pt>
                      <c:pt idx="1810">
                        <c:v>45367.416666666672</c:v>
                      </c:pt>
                      <c:pt idx="1811">
                        <c:v>45367.458333333328</c:v>
                      </c:pt>
                      <c:pt idx="1812">
                        <c:v>45367.5</c:v>
                      </c:pt>
                      <c:pt idx="1813">
                        <c:v>45367.541666666672</c:v>
                      </c:pt>
                      <c:pt idx="1814">
                        <c:v>45367.583333333328</c:v>
                      </c:pt>
                      <c:pt idx="1815">
                        <c:v>45367.625</c:v>
                      </c:pt>
                      <c:pt idx="1816">
                        <c:v>45367.666666666672</c:v>
                      </c:pt>
                      <c:pt idx="1817">
                        <c:v>45367.708333333328</c:v>
                      </c:pt>
                      <c:pt idx="1818">
                        <c:v>45367.75</c:v>
                      </c:pt>
                      <c:pt idx="1819">
                        <c:v>45367.791666666672</c:v>
                      </c:pt>
                      <c:pt idx="1820">
                        <c:v>45367.833333333328</c:v>
                      </c:pt>
                      <c:pt idx="1821">
                        <c:v>45367.875</c:v>
                      </c:pt>
                      <c:pt idx="1822">
                        <c:v>45367.916666666672</c:v>
                      </c:pt>
                      <c:pt idx="1823">
                        <c:v>45367.958333333328</c:v>
                      </c:pt>
                      <c:pt idx="1824">
                        <c:v>45368</c:v>
                      </c:pt>
                      <c:pt idx="1825">
                        <c:v>45368.041666666672</c:v>
                      </c:pt>
                      <c:pt idx="1826">
                        <c:v>45368.083333333328</c:v>
                      </c:pt>
                      <c:pt idx="1827">
                        <c:v>45368.125</c:v>
                      </c:pt>
                      <c:pt idx="1828">
                        <c:v>45368.166666666672</c:v>
                      </c:pt>
                      <c:pt idx="1829">
                        <c:v>45368.208333333328</c:v>
                      </c:pt>
                      <c:pt idx="1830">
                        <c:v>45368.25</c:v>
                      </c:pt>
                      <c:pt idx="1831">
                        <c:v>45368.291666666672</c:v>
                      </c:pt>
                      <c:pt idx="1832">
                        <c:v>45368.333333333328</c:v>
                      </c:pt>
                      <c:pt idx="1833">
                        <c:v>45368.375</c:v>
                      </c:pt>
                      <c:pt idx="1834">
                        <c:v>45368.416666666672</c:v>
                      </c:pt>
                      <c:pt idx="1835">
                        <c:v>45368.458333333328</c:v>
                      </c:pt>
                      <c:pt idx="1836">
                        <c:v>45368.5</c:v>
                      </c:pt>
                      <c:pt idx="1837">
                        <c:v>45368.541666666672</c:v>
                      </c:pt>
                      <c:pt idx="1838">
                        <c:v>45368.583333333328</c:v>
                      </c:pt>
                      <c:pt idx="1839">
                        <c:v>45368.625</c:v>
                      </c:pt>
                      <c:pt idx="1840">
                        <c:v>45368.666666666672</c:v>
                      </c:pt>
                      <c:pt idx="1841">
                        <c:v>45368.708333333328</c:v>
                      </c:pt>
                      <c:pt idx="1842">
                        <c:v>45368.75</c:v>
                      </c:pt>
                      <c:pt idx="1843">
                        <c:v>45368.791666666672</c:v>
                      </c:pt>
                      <c:pt idx="1844">
                        <c:v>45368.833333333328</c:v>
                      </c:pt>
                      <c:pt idx="1845">
                        <c:v>45368.875</c:v>
                      </c:pt>
                      <c:pt idx="1846">
                        <c:v>45368.916666666672</c:v>
                      </c:pt>
                      <c:pt idx="1847">
                        <c:v>45368.958333333328</c:v>
                      </c:pt>
                      <c:pt idx="1848">
                        <c:v>45369</c:v>
                      </c:pt>
                      <c:pt idx="1849">
                        <c:v>45369.041666666672</c:v>
                      </c:pt>
                      <c:pt idx="1850">
                        <c:v>45369.083333333328</c:v>
                      </c:pt>
                      <c:pt idx="1851">
                        <c:v>45369.125</c:v>
                      </c:pt>
                      <c:pt idx="1852">
                        <c:v>45369.166666666672</c:v>
                      </c:pt>
                      <c:pt idx="1853">
                        <c:v>45369.208333333328</c:v>
                      </c:pt>
                      <c:pt idx="1854">
                        <c:v>45369.25</c:v>
                      </c:pt>
                      <c:pt idx="1855">
                        <c:v>45369.291666666672</c:v>
                      </c:pt>
                      <c:pt idx="1856">
                        <c:v>45369.333333333328</c:v>
                      </c:pt>
                      <c:pt idx="1857">
                        <c:v>45369.375</c:v>
                      </c:pt>
                      <c:pt idx="1858">
                        <c:v>45369.416666666672</c:v>
                      </c:pt>
                      <c:pt idx="1859">
                        <c:v>45369.458333333328</c:v>
                      </c:pt>
                      <c:pt idx="1860">
                        <c:v>45369.5</c:v>
                      </c:pt>
                      <c:pt idx="1861">
                        <c:v>45369.541666666672</c:v>
                      </c:pt>
                      <c:pt idx="1862">
                        <c:v>45369.583333333328</c:v>
                      </c:pt>
                      <c:pt idx="1863">
                        <c:v>45369.625</c:v>
                      </c:pt>
                      <c:pt idx="1864">
                        <c:v>45369.666666666672</c:v>
                      </c:pt>
                      <c:pt idx="1865">
                        <c:v>45369.708333333328</c:v>
                      </c:pt>
                      <c:pt idx="1866">
                        <c:v>45369.75</c:v>
                      </c:pt>
                      <c:pt idx="1867">
                        <c:v>45369.791666666672</c:v>
                      </c:pt>
                      <c:pt idx="1868">
                        <c:v>45369.833333333328</c:v>
                      </c:pt>
                      <c:pt idx="1869">
                        <c:v>45369.875</c:v>
                      </c:pt>
                      <c:pt idx="1870">
                        <c:v>45369.916666666672</c:v>
                      </c:pt>
                      <c:pt idx="1871">
                        <c:v>45369.958333333328</c:v>
                      </c:pt>
                      <c:pt idx="1872">
                        <c:v>45370</c:v>
                      </c:pt>
                      <c:pt idx="1873">
                        <c:v>45370.041666666672</c:v>
                      </c:pt>
                      <c:pt idx="1874">
                        <c:v>45370.083333333328</c:v>
                      </c:pt>
                      <c:pt idx="1875">
                        <c:v>45370.125</c:v>
                      </c:pt>
                      <c:pt idx="1876">
                        <c:v>45370.166666666672</c:v>
                      </c:pt>
                      <c:pt idx="1877">
                        <c:v>45370.208333333328</c:v>
                      </c:pt>
                      <c:pt idx="1878">
                        <c:v>45370.25</c:v>
                      </c:pt>
                      <c:pt idx="1879">
                        <c:v>45370.291666666672</c:v>
                      </c:pt>
                      <c:pt idx="1880">
                        <c:v>45370.333333333328</c:v>
                      </c:pt>
                      <c:pt idx="1881">
                        <c:v>45370.375</c:v>
                      </c:pt>
                      <c:pt idx="1882">
                        <c:v>45370.416666666672</c:v>
                      </c:pt>
                      <c:pt idx="1883">
                        <c:v>45370.458333333328</c:v>
                      </c:pt>
                      <c:pt idx="1884">
                        <c:v>45370.5</c:v>
                      </c:pt>
                      <c:pt idx="1885">
                        <c:v>45370.541666666672</c:v>
                      </c:pt>
                      <c:pt idx="1886">
                        <c:v>45370.583333333328</c:v>
                      </c:pt>
                      <c:pt idx="1887">
                        <c:v>45370.625</c:v>
                      </c:pt>
                      <c:pt idx="1888">
                        <c:v>45370.666666666672</c:v>
                      </c:pt>
                      <c:pt idx="1889">
                        <c:v>45370.708333333328</c:v>
                      </c:pt>
                      <c:pt idx="1890">
                        <c:v>45370.75</c:v>
                      </c:pt>
                      <c:pt idx="1891">
                        <c:v>45370.791666666672</c:v>
                      </c:pt>
                      <c:pt idx="1892">
                        <c:v>45370.833333333328</c:v>
                      </c:pt>
                      <c:pt idx="1893">
                        <c:v>45370.875</c:v>
                      </c:pt>
                      <c:pt idx="1894">
                        <c:v>45370.916666666672</c:v>
                      </c:pt>
                      <c:pt idx="1895">
                        <c:v>45370.958333333328</c:v>
                      </c:pt>
                      <c:pt idx="1896">
                        <c:v>45371</c:v>
                      </c:pt>
                      <c:pt idx="1897">
                        <c:v>45371.041666666672</c:v>
                      </c:pt>
                      <c:pt idx="1898">
                        <c:v>45371.083333333328</c:v>
                      </c:pt>
                      <c:pt idx="1899">
                        <c:v>45371.125</c:v>
                      </c:pt>
                      <c:pt idx="1900">
                        <c:v>45371.166666666672</c:v>
                      </c:pt>
                      <c:pt idx="1901">
                        <c:v>45371.208333333328</c:v>
                      </c:pt>
                      <c:pt idx="1902">
                        <c:v>45371.25</c:v>
                      </c:pt>
                      <c:pt idx="1903">
                        <c:v>45371.291666666672</c:v>
                      </c:pt>
                      <c:pt idx="1904">
                        <c:v>45371.333333333328</c:v>
                      </c:pt>
                      <c:pt idx="1905">
                        <c:v>45371.375</c:v>
                      </c:pt>
                      <c:pt idx="1906">
                        <c:v>45371.416666666672</c:v>
                      </c:pt>
                      <c:pt idx="1907">
                        <c:v>45371.458333333328</c:v>
                      </c:pt>
                      <c:pt idx="1908">
                        <c:v>45371.5</c:v>
                      </c:pt>
                      <c:pt idx="1909">
                        <c:v>45371.541666666672</c:v>
                      </c:pt>
                      <c:pt idx="1910">
                        <c:v>45371.583333333328</c:v>
                      </c:pt>
                      <c:pt idx="1911">
                        <c:v>45371.625</c:v>
                      </c:pt>
                      <c:pt idx="1912">
                        <c:v>45371.666666666672</c:v>
                      </c:pt>
                      <c:pt idx="1913">
                        <c:v>45371.708333333328</c:v>
                      </c:pt>
                      <c:pt idx="1914">
                        <c:v>45371.75</c:v>
                      </c:pt>
                      <c:pt idx="1915">
                        <c:v>45371.791666666672</c:v>
                      </c:pt>
                      <c:pt idx="1916">
                        <c:v>45371.833333333328</c:v>
                      </c:pt>
                      <c:pt idx="1917">
                        <c:v>45371.875</c:v>
                      </c:pt>
                      <c:pt idx="1918">
                        <c:v>45371.916666666672</c:v>
                      </c:pt>
                      <c:pt idx="1919">
                        <c:v>45371.958333333328</c:v>
                      </c:pt>
                      <c:pt idx="1920">
                        <c:v>45372</c:v>
                      </c:pt>
                      <c:pt idx="1921">
                        <c:v>45372.041666666672</c:v>
                      </c:pt>
                      <c:pt idx="1922">
                        <c:v>45372.083333333328</c:v>
                      </c:pt>
                      <c:pt idx="1923">
                        <c:v>45372.125</c:v>
                      </c:pt>
                      <c:pt idx="1924">
                        <c:v>45372.166666666672</c:v>
                      </c:pt>
                      <c:pt idx="1925">
                        <c:v>45372.208333333328</c:v>
                      </c:pt>
                      <c:pt idx="1926">
                        <c:v>45372.25</c:v>
                      </c:pt>
                      <c:pt idx="1927">
                        <c:v>45372.291666666672</c:v>
                      </c:pt>
                      <c:pt idx="1928">
                        <c:v>45372.333333333328</c:v>
                      </c:pt>
                      <c:pt idx="1929">
                        <c:v>45372.375</c:v>
                      </c:pt>
                      <c:pt idx="1930">
                        <c:v>45372.416666666672</c:v>
                      </c:pt>
                      <c:pt idx="1931">
                        <c:v>45372.458333333328</c:v>
                      </c:pt>
                      <c:pt idx="1932">
                        <c:v>45372.5</c:v>
                      </c:pt>
                      <c:pt idx="1933">
                        <c:v>45372.541666666672</c:v>
                      </c:pt>
                      <c:pt idx="1934">
                        <c:v>45372.583333333328</c:v>
                      </c:pt>
                      <c:pt idx="1935">
                        <c:v>45372.625</c:v>
                      </c:pt>
                      <c:pt idx="1936">
                        <c:v>45372.666666666672</c:v>
                      </c:pt>
                      <c:pt idx="1937">
                        <c:v>45372.708333333328</c:v>
                      </c:pt>
                      <c:pt idx="1938">
                        <c:v>45372.75</c:v>
                      </c:pt>
                      <c:pt idx="1939">
                        <c:v>45372.791666666672</c:v>
                      </c:pt>
                      <c:pt idx="1940">
                        <c:v>45372.833333333328</c:v>
                      </c:pt>
                      <c:pt idx="1941">
                        <c:v>45372.875</c:v>
                      </c:pt>
                      <c:pt idx="1942">
                        <c:v>45372.916666666672</c:v>
                      </c:pt>
                      <c:pt idx="1943">
                        <c:v>45372.958333333328</c:v>
                      </c:pt>
                      <c:pt idx="1944">
                        <c:v>45373</c:v>
                      </c:pt>
                      <c:pt idx="1945">
                        <c:v>45373.041666666672</c:v>
                      </c:pt>
                      <c:pt idx="1946">
                        <c:v>45373.083333333328</c:v>
                      </c:pt>
                      <c:pt idx="1947">
                        <c:v>45373.125</c:v>
                      </c:pt>
                      <c:pt idx="1948">
                        <c:v>45373.166666666672</c:v>
                      </c:pt>
                      <c:pt idx="1949">
                        <c:v>45373.208333333328</c:v>
                      </c:pt>
                      <c:pt idx="1950">
                        <c:v>45373.25</c:v>
                      </c:pt>
                      <c:pt idx="1951">
                        <c:v>45373.291666666672</c:v>
                      </c:pt>
                      <c:pt idx="1952">
                        <c:v>45373.333333333328</c:v>
                      </c:pt>
                      <c:pt idx="1953">
                        <c:v>45373.375</c:v>
                      </c:pt>
                      <c:pt idx="1954">
                        <c:v>45373.416666666672</c:v>
                      </c:pt>
                      <c:pt idx="1955">
                        <c:v>45373.458333333328</c:v>
                      </c:pt>
                      <c:pt idx="1956">
                        <c:v>45373.5</c:v>
                      </c:pt>
                      <c:pt idx="1957">
                        <c:v>45373.541666666672</c:v>
                      </c:pt>
                      <c:pt idx="1958">
                        <c:v>45373.583333333328</c:v>
                      </c:pt>
                      <c:pt idx="1959">
                        <c:v>45373.625</c:v>
                      </c:pt>
                      <c:pt idx="1960">
                        <c:v>45373.666666666672</c:v>
                      </c:pt>
                      <c:pt idx="1961">
                        <c:v>45373.708333333328</c:v>
                      </c:pt>
                      <c:pt idx="1962">
                        <c:v>45373.75</c:v>
                      </c:pt>
                      <c:pt idx="1963">
                        <c:v>45373.791666666672</c:v>
                      </c:pt>
                      <c:pt idx="1964">
                        <c:v>45373.833333333328</c:v>
                      </c:pt>
                      <c:pt idx="1965">
                        <c:v>45373.875</c:v>
                      </c:pt>
                      <c:pt idx="1966">
                        <c:v>45373.916666666672</c:v>
                      </c:pt>
                      <c:pt idx="1967">
                        <c:v>45373.958333333328</c:v>
                      </c:pt>
                      <c:pt idx="1968">
                        <c:v>45374</c:v>
                      </c:pt>
                      <c:pt idx="1969">
                        <c:v>45374.041666666672</c:v>
                      </c:pt>
                      <c:pt idx="1970">
                        <c:v>45374.083333333328</c:v>
                      </c:pt>
                      <c:pt idx="1971">
                        <c:v>45374.125</c:v>
                      </c:pt>
                      <c:pt idx="1972">
                        <c:v>45374.166666666672</c:v>
                      </c:pt>
                      <c:pt idx="1973">
                        <c:v>45374.208333333328</c:v>
                      </c:pt>
                      <c:pt idx="1974">
                        <c:v>45374.25</c:v>
                      </c:pt>
                      <c:pt idx="1975">
                        <c:v>45374.291666666672</c:v>
                      </c:pt>
                      <c:pt idx="1976">
                        <c:v>45374.333333333328</c:v>
                      </c:pt>
                      <c:pt idx="1977">
                        <c:v>45374.375</c:v>
                      </c:pt>
                      <c:pt idx="1978">
                        <c:v>45374.416666666672</c:v>
                      </c:pt>
                      <c:pt idx="1979">
                        <c:v>45374.458333333328</c:v>
                      </c:pt>
                      <c:pt idx="1980">
                        <c:v>45374.5</c:v>
                      </c:pt>
                      <c:pt idx="1981">
                        <c:v>45374.541666666672</c:v>
                      </c:pt>
                      <c:pt idx="1982">
                        <c:v>45374.583333333328</c:v>
                      </c:pt>
                      <c:pt idx="1983">
                        <c:v>45374.625</c:v>
                      </c:pt>
                      <c:pt idx="1984">
                        <c:v>45374.666666666672</c:v>
                      </c:pt>
                      <c:pt idx="1985">
                        <c:v>45374.708333333328</c:v>
                      </c:pt>
                      <c:pt idx="1986">
                        <c:v>45374.75</c:v>
                      </c:pt>
                      <c:pt idx="1987">
                        <c:v>45374.791666666672</c:v>
                      </c:pt>
                      <c:pt idx="1988">
                        <c:v>45374.833333333328</c:v>
                      </c:pt>
                      <c:pt idx="1989">
                        <c:v>45374.875</c:v>
                      </c:pt>
                      <c:pt idx="1990">
                        <c:v>45374.916666666672</c:v>
                      </c:pt>
                      <c:pt idx="1991">
                        <c:v>45374.958333333328</c:v>
                      </c:pt>
                      <c:pt idx="1992">
                        <c:v>45375</c:v>
                      </c:pt>
                      <c:pt idx="1993">
                        <c:v>45375.041666666672</c:v>
                      </c:pt>
                      <c:pt idx="1994">
                        <c:v>45375.083333333328</c:v>
                      </c:pt>
                      <c:pt idx="1995">
                        <c:v>45375.125</c:v>
                      </c:pt>
                      <c:pt idx="1996">
                        <c:v>45375.166666666672</c:v>
                      </c:pt>
                      <c:pt idx="1997">
                        <c:v>45375.208333333328</c:v>
                      </c:pt>
                      <c:pt idx="1998">
                        <c:v>45375.25</c:v>
                      </c:pt>
                      <c:pt idx="1999">
                        <c:v>45375.291666666672</c:v>
                      </c:pt>
                      <c:pt idx="2000">
                        <c:v>45375.333333333328</c:v>
                      </c:pt>
                      <c:pt idx="2001">
                        <c:v>45375.375</c:v>
                      </c:pt>
                      <c:pt idx="2002">
                        <c:v>45375.416666666672</c:v>
                      </c:pt>
                      <c:pt idx="2003">
                        <c:v>45375.458333333328</c:v>
                      </c:pt>
                      <c:pt idx="2004">
                        <c:v>45375.5</c:v>
                      </c:pt>
                      <c:pt idx="2005">
                        <c:v>45375.541666666672</c:v>
                      </c:pt>
                      <c:pt idx="2006">
                        <c:v>45375.583333333328</c:v>
                      </c:pt>
                      <c:pt idx="2007">
                        <c:v>45375.625</c:v>
                      </c:pt>
                      <c:pt idx="2008">
                        <c:v>45375.666666666672</c:v>
                      </c:pt>
                      <c:pt idx="2009">
                        <c:v>45375.708333333328</c:v>
                      </c:pt>
                      <c:pt idx="2010">
                        <c:v>45375.75</c:v>
                      </c:pt>
                      <c:pt idx="2011">
                        <c:v>45375.791666666672</c:v>
                      </c:pt>
                      <c:pt idx="2012">
                        <c:v>45375.833333333328</c:v>
                      </c:pt>
                      <c:pt idx="2013">
                        <c:v>45375.875</c:v>
                      </c:pt>
                      <c:pt idx="2014">
                        <c:v>45375.916666666672</c:v>
                      </c:pt>
                      <c:pt idx="2015">
                        <c:v>45375.958333333328</c:v>
                      </c:pt>
                      <c:pt idx="2016">
                        <c:v>45376</c:v>
                      </c:pt>
                      <c:pt idx="2017">
                        <c:v>45376.041666666672</c:v>
                      </c:pt>
                      <c:pt idx="2018">
                        <c:v>45376.083333333328</c:v>
                      </c:pt>
                      <c:pt idx="2019">
                        <c:v>45376.125</c:v>
                      </c:pt>
                      <c:pt idx="2020">
                        <c:v>45376.166666666672</c:v>
                      </c:pt>
                      <c:pt idx="2021">
                        <c:v>45376.208333333328</c:v>
                      </c:pt>
                      <c:pt idx="2022">
                        <c:v>45376.25</c:v>
                      </c:pt>
                      <c:pt idx="2023">
                        <c:v>45376.291666666672</c:v>
                      </c:pt>
                      <c:pt idx="2024">
                        <c:v>45376.333333333328</c:v>
                      </c:pt>
                      <c:pt idx="2025">
                        <c:v>45376.375</c:v>
                      </c:pt>
                      <c:pt idx="2026">
                        <c:v>45376.416666666672</c:v>
                      </c:pt>
                      <c:pt idx="2027">
                        <c:v>45376.458333333328</c:v>
                      </c:pt>
                      <c:pt idx="2028">
                        <c:v>45376.5</c:v>
                      </c:pt>
                      <c:pt idx="2029">
                        <c:v>45376.541666666672</c:v>
                      </c:pt>
                      <c:pt idx="2030">
                        <c:v>45376.583333333328</c:v>
                      </c:pt>
                      <c:pt idx="2031">
                        <c:v>45376.625</c:v>
                      </c:pt>
                      <c:pt idx="2032">
                        <c:v>45376.666666666672</c:v>
                      </c:pt>
                      <c:pt idx="2033">
                        <c:v>45376.708333333328</c:v>
                      </c:pt>
                      <c:pt idx="2034">
                        <c:v>45376.75</c:v>
                      </c:pt>
                      <c:pt idx="2035">
                        <c:v>45376.791666666672</c:v>
                      </c:pt>
                      <c:pt idx="2036">
                        <c:v>45376.833333333328</c:v>
                      </c:pt>
                      <c:pt idx="2037">
                        <c:v>45376.875</c:v>
                      </c:pt>
                      <c:pt idx="2038">
                        <c:v>45376.916666666672</c:v>
                      </c:pt>
                      <c:pt idx="2039">
                        <c:v>45376.958333333328</c:v>
                      </c:pt>
                      <c:pt idx="2040">
                        <c:v>45377</c:v>
                      </c:pt>
                      <c:pt idx="2041">
                        <c:v>45377.041666666672</c:v>
                      </c:pt>
                      <c:pt idx="2042">
                        <c:v>45377.083333333328</c:v>
                      </c:pt>
                      <c:pt idx="2043">
                        <c:v>45377.125</c:v>
                      </c:pt>
                      <c:pt idx="2044">
                        <c:v>45377.166666666672</c:v>
                      </c:pt>
                      <c:pt idx="2045">
                        <c:v>45377.208333333328</c:v>
                      </c:pt>
                      <c:pt idx="2046">
                        <c:v>45377.25</c:v>
                      </c:pt>
                      <c:pt idx="2047">
                        <c:v>45377.291666666672</c:v>
                      </c:pt>
                      <c:pt idx="2048">
                        <c:v>45377.333333333328</c:v>
                      </c:pt>
                      <c:pt idx="2049">
                        <c:v>45377.375</c:v>
                      </c:pt>
                      <c:pt idx="2050">
                        <c:v>45377.416666666672</c:v>
                      </c:pt>
                      <c:pt idx="2051">
                        <c:v>45377.458333333328</c:v>
                      </c:pt>
                      <c:pt idx="2052">
                        <c:v>45377.5</c:v>
                      </c:pt>
                      <c:pt idx="2053">
                        <c:v>45377.541666666672</c:v>
                      </c:pt>
                      <c:pt idx="2054">
                        <c:v>45377.583333333328</c:v>
                      </c:pt>
                      <c:pt idx="2055">
                        <c:v>45377.625</c:v>
                      </c:pt>
                      <c:pt idx="2056">
                        <c:v>45377.666666666672</c:v>
                      </c:pt>
                      <c:pt idx="2057">
                        <c:v>45377.708333333328</c:v>
                      </c:pt>
                      <c:pt idx="2058">
                        <c:v>45377.75</c:v>
                      </c:pt>
                      <c:pt idx="2059">
                        <c:v>45377.791666666672</c:v>
                      </c:pt>
                      <c:pt idx="2060">
                        <c:v>45377.833333333328</c:v>
                      </c:pt>
                      <c:pt idx="2061">
                        <c:v>45377.875</c:v>
                      </c:pt>
                      <c:pt idx="2062">
                        <c:v>45377.916666666672</c:v>
                      </c:pt>
                      <c:pt idx="2063">
                        <c:v>45377.958333333328</c:v>
                      </c:pt>
                      <c:pt idx="2064">
                        <c:v>45378</c:v>
                      </c:pt>
                      <c:pt idx="2065">
                        <c:v>45378.041666666672</c:v>
                      </c:pt>
                      <c:pt idx="2066">
                        <c:v>45378.083333333328</c:v>
                      </c:pt>
                      <c:pt idx="2067">
                        <c:v>45378.125</c:v>
                      </c:pt>
                      <c:pt idx="2068">
                        <c:v>45378.166666666672</c:v>
                      </c:pt>
                      <c:pt idx="2069">
                        <c:v>45378.208333333328</c:v>
                      </c:pt>
                      <c:pt idx="2070">
                        <c:v>45378.25</c:v>
                      </c:pt>
                      <c:pt idx="2071">
                        <c:v>45378.291666666672</c:v>
                      </c:pt>
                      <c:pt idx="2072">
                        <c:v>45378.333333333328</c:v>
                      </c:pt>
                      <c:pt idx="2073">
                        <c:v>45378.375</c:v>
                      </c:pt>
                      <c:pt idx="2074">
                        <c:v>45378.416666666672</c:v>
                      </c:pt>
                      <c:pt idx="2075">
                        <c:v>45378.458333333328</c:v>
                      </c:pt>
                      <c:pt idx="2076">
                        <c:v>45378.5</c:v>
                      </c:pt>
                      <c:pt idx="2077">
                        <c:v>45378.541666666672</c:v>
                      </c:pt>
                      <c:pt idx="2078">
                        <c:v>45378.583333333328</c:v>
                      </c:pt>
                      <c:pt idx="2079">
                        <c:v>45378.625</c:v>
                      </c:pt>
                      <c:pt idx="2080">
                        <c:v>45378.666666666672</c:v>
                      </c:pt>
                      <c:pt idx="2081">
                        <c:v>45378.708333333328</c:v>
                      </c:pt>
                      <c:pt idx="2082">
                        <c:v>45378.75</c:v>
                      </c:pt>
                      <c:pt idx="2083">
                        <c:v>45378.791666666672</c:v>
                      </c:pt>
                      <c:pt idx="2084">
                        <c:v>45378.833333333328</c:v>
                      </c:pt>
                      <c:pt idx="2085">
                        <c:v>45378.875</c:v>
                      </c:pt>
                      <c:pt idx="2086">
                        <c:v>45378.916666666672</c:v>
                      </c:pt>
                      <c:pt idx="2087">
                        <c:v>45378.958333333328</c:v>
                      </c:pt>
                      <c:pt idx="2088">
                        <c:v>45379</c:v>
                      </c:pt>
                      <c:pt idx="2089">
                        <c:v>45379.041666666672</c:v>
                      </c:pt>
                      <c:pt idx="2090">
                        <c:v>45379.083333333328</c:v>
                      </c:pt>
                      <c:pt idx="2091">
                        <c:v>45379.125</c:v>
                      </c:pt>
                      <c:pt idx="2092">
                        <c:v>45379.166666666672</c:v>
                      </c:pt>
                      <c:pt idx="2093">
                        <c:v>45379.208333333328</c:v>
                      </c:pt>
                      <c:pt idx="2094">
                        <c:v>45379.25</c:v>
                      </c:pt>
                      <c:pt idx="2095">
                        <c:v>45379.291666666672</c:v>
                      </c:pt>
                      <c:pt idx="2096">
                        <c:v>45379.333333333328</c:v>
                      </c:pt>
                      <c:pt idx="2097">
                        <c:v>45379.375</c:v>
                      </c:pt>
                      <c:pt idx="2098">
                        <c:v>45379.416666666672</c:v>
                      </c:pt>
                      <c:pt idx="2099">
                        <c:v>45379.458333333328</c:v>
                      </c:pt>
                      <c:pt idx="2100">
                        <c:v>45379.5</c:v>
                      </c:pt>
                      <c:pt idx="2101">
                        <c:v>45379.541666666672</c:v>
                      </c:pt>
                      <c:pt idx="2102">
                        <c:v>45379.583333333328</c:v>
                      </c:pt>
                      <c:pt idx="2103">
                        <c:v>45379.625</c:v>
                      </c:pt>
                      <c:pt idx="2104">
                        <c:v>45379.666666666672</c:v>
                      </c:pt>
                      <c:pt idx="2105">
                        <c:v>45379.708333333328</c:v>
                      </c:pt>
                      <c:pt idx="2106">
                        <c:v>45379.75</c:v>
                      </c:pt>
                      <c:pt idx="2107">
                        <c:v>45379.791666666672</c:v>
                      </c:pt>
                      <c:pt idx="2108">
                        <c:v>45379.833333333328</c:v>
                      </c:pt>
                      <c:pt idx="2109">
                        <c:v>45379.875</c:v>
                      </c:pt>
                      <c:pt idx="2110">
                        <c:v>45379.916666666672</c:v>
                      </c:pt>
                      <c:pt idx="2111">
                        <c:v>45379.958333333328</c:v>
                      </c:pt>
                      <c:pt idx="2112">
                        <c:v>45380</c:v>
                      </c:pt>
                      <c:pt idx="2113">
                        <c:v>45380.041666666672</c:v>
                      </c:pt>
                      <c:pt idx="2114">
                        <c:v>45380.083333333328</c:v>
                      </c:pt>
                      <c:pt idx="2115">
                        <c:v>45380.125</c:v>
                      </c:pt>
                      <c:pt idx="2116">
                        <c:v>45380.166666666672</c:v>
                      </c:pt>
                      <c:pt idx="2117">
                        <c:v>45380.208333333328</c:v>
                      </c:pt>
                      <c:pt idx="2118">
                        <c:v>45380.25</c:v>
                      </c:pt>
                      <c:pt idx="2119">
                        <c:v>45380.291666666672</c:v>
                      </c:pt>
                      <c:pt idx="2120">
                        <c:v>45380.333333333328</c:v>
                      </c:pt>
                      <c:pt idx="2121">
                        <c:v>45380.375</c:v>
                      </c:pt>
                      <c:pt idx="2122">
                        <c:v>45380.416666666672</c:v>
                      </c:pt>
                      <c:pt idx="2123">
                        <c:v>45380.458333333328</c:v>
                      </c:pt>
                      <c:pt idx="2124">
                        <c:v>45380.5</c:v>
                      </c:pt>
                      <c:pt idx="2125">
                        <c:v>45380.541666666672</c:v>
                      </c:pt>
                      <c:pt idx="2126">
                        <c:v>45380.583333333328</c:v>
                      </c:pt>
                      <c:pt idx="2127">
                        <c:v>45380.625</c:v>
                      </c:pt>
                      <c:pt idx="2128">
                        <c:v>45380.666666666672</c:v>
                      </c:pt>
                      <c:pt idx="2129">
                        <c:v>45380.708333333328</c:v>
                      </c:pt>
                      <c:pt idx="2130">
                        <c:v>45380.75</c:v>
                      </c:pt>
                      <c:pt idx="2131">
                        <c:v>45380.791666666672</c:v>
                      </c:pt>
                      <c:pt idx="2132">
                        <c:v>45380.833333333328</c:v>
                      </c:pt>
                      <c:pt idx="2133">
                        <c:v>45380.875</c:v>
                      </c:pt>
                      <c:pt idx="2134">
                        <c:v>45380.916666666672</c:v>
                      </c:pt>
                      <c:pt idx="2135">
                        <c:v>45380.958333333328</c:v>
                      </c:pt>
                      <c:pt idx="2136">
                        <c:v>45381</c:v>
                      </c:pt>
                      <c:pt idx="2137">
                        <c:v>45381.041666666672</c:v>
                      </c:pt>
                      <c:pt idx="2138">
                        <c:v>45381.083333333328</c:v>
                      </c:pt>
                      <c:pt idx="2139">
                        <c:v>45381.125</c:v>
                      </c:pt>
                      <c:pt idx="2140">
                        <c:v>45381.166666666672</c:v>
                      </c:pt>
                      <c:pt idx="2141">
                        <c:v>45381.208333333328</c:v>
                      </c:pt>
                      <c:pt idx="2142">
                        <c:v>45381.25</c:v>
                      </c:pt>
                      <c:pt idx="2143">
                        <c:v>45381.291666666672</c:v>
                      </c:pt>
                      <c:pt idx="2144">
                        <c:v>45381.333333333328</c:v>
                      </c:pt>
                      <c:pt idx="2145">
                        <c:v>45381.375</c:v>
                      </c:pt>
                      <c:pt idx="2146">
                        <c:v>45381.416666666672</c:v>
                      </c:pt>
                      <c:pt idx="2147">
                        <c:v>45381.458333333328</c:v>
                      </c:pt>
                      <c:pt idx="2148">
                        <c:v>45381.5</c:v>
                      </c:pt>
                      <c:pt idx="2149">
                        <c:v>45381.541666666672</c:v>
                      </c:pt>
                      <c:pt idx="2150">
                        <c:v>45381.583333333328</c:v>
                      </c:pt>
                      <c:pt idx="2151">
                        <c:v>45381.625</c:v>
                      </c:pt>
                      <c:pt idx="2152">
                        <c:v>45381.666666666672</c:v>
                      </c:pt>
                      <c:pt idx="2153">
                        <c:v>45381.708333333328</c:v>
                      </c:pt>
                      <c:pt idx="2154">
                        <c:v>45381.75</c:v>
                      </c:pt>
                      <c:pt idx="2155">
                        <c:v>45381.791666666672</c:v>
                      </c:pt>
                      <c:pt idx="2156">
                        <c:v>45381.833333333328</c:v>
                      </c:pt>
                      <c:pt idx="2157">
                        <c:v>45381.875</c:v>
                      </c:pt>
                      <c:pt idx="2158">
                        <c:v>45381.916666666672</c:v>
                      </c:pt>
                      <c:pt idx="2159">
                        <c:v>45381.958333333328</c:v>
                      </c:pt>
                      <c:pt idx="2160">
                        <c:v>45382</c:v>
                      </c:pt>
                      <c:pt idx="2161">
                        <c:v>45382.041666666672</c:v>
                      </c:pt>
                      <c:pt idx="2162">
                        <c:v>45382.125</c:v>
                      </c:pt>
                      <c:pt idx="2163">
                        <c:v>45382.166666666672</c:v>
                      </c:pt>
                      <c:pt idx="2164">
                        <c:v>45382.208333333328</c:v>
                      </c:pt>
                      <c:pt idx="2165">
                        <c:v>45382.25</c:v>
                      </c:pt>
                      <c:pt idx="2166">
                        <c:v>45382.291666666672</c:v>
                      </c:pt>
                      <c:pt idx="2167">
                        <c:v>45382.333333333328</c:v>
                      </c:pt>
                      <c:pt idx="2168">
                        <c:v>45382.375</c:v>
                      </c:pt>
                      <c:pt idx="2169">
                        <c:v>45382.416666666672</c:v>
                      </c:pt>
                      <c:pt idx="2170">
                        <c:v>45382.458333333328</c:v>
                      </c:pt>
                      <c:pt idx="2171">
                        <c:v>45382.5</c:v>
                      </c:pt>
                      <c:pt idx="2172">
                        <c:v>45382.541666666672</c:v>
                      </c:pt>
                      <c:pt idx="2173">
                        <c:v>45382.583333333328</c:v>
                      </c:pt>
                      <c:pt idx="2174">
                        <c:v>45382.625</c:v>
                      </c:pt>
                      <c:pt idx="2175">
                        <c:v>45382.666666666672</c:v>
                      </c:pt>
                      <c:pt idx="2176">
                        <c:v>45382.708333333328</c:v>
                      </c:pt>
                      <c:pt idx="2177">
                        <c:v>45382.75</c:v>
                      </c:pt>
                      <c:pt idx="2178">
                        <c:v>45382.791666666672</c:v>
                      </c:pt>
                      <c:pt idx="2179">
                        <c:v>45382.833333333328</c:v>
                      </c:pt>
                      <c:pt idx="2180">
                        <c:v>45382.875</c:v>
                      </c:pt>
                      <c:pt idx="2181">
                        <c:v>45382.916666666672</c:v>
                      </c:pt>
                      <c:pt idx="2182">
                        <c:v>45382.958333333328</c:v>
                      </c:pt>
                      <c:pt idx="2183">
                        <c:v>45383</c:v>
                      </c:pt>
                      <c:pt idx="2184">
                        <c:v>45383.041666666672</c:v>
                      </c:pt>
                      <c:pt idx="2185">
                        <c:v>45383.083333333328</c:v>
                      </c:pt>
                      <c:pt idx="2186">
                        <c:v>45383.125</c:v>
                      </c:pt>
                      <c:pt idx="2187">
                        <c:v>45383.166666666672</c:v>
                      </c:pt>
                      <c:pt idx="2188">
                        <c:v>45383.208333333328</c:v>
                      </c:pt>
                      <c:pt idx="2189">
                        <c:v>45383.25</c:v>
                      </c:pt>
                      <c:pt idx="2190">
                        <c:v>45383.291666666672</c:v>
                      </c:pt>
                      <c:pt idx="2191">
                        <c:v>45383.333333333328</c:v>
                      </c:pt>
                      <c:pt idx="2192">
                        <c:v>45383.375</c:v>
                      </c:pt>
                      <c:pt idx="2193">
                        <c:v>45383.416666666672</c:v>
                      </c:pt>
                      <c:pt idx="2194">
                        <c:v>45383.458333333328</c:v>
                      </c:pt>
                      <c:pt idx="2195">
                        <c:v>45383.5</c:v>
                      </c:pt>
                      <c:pt idx="2196">
                        <c:v>45383.541666666672</c:v>
                      </c:pt>
                      <c:pt idx="2197">
                        <c:v>45383.583333333328</c:v>
                      </c:pt>
                      <c:pt idx="2198">
                        <c:v>45383.625</c:v>
                      </c:pt>
                      <c:pt idx="2199">
                        <c:v>45383.666666666672</c:v>
                      </c:pt>
                      <c:pt idx="2200">
                        <c:v>45383.708333333328</c:v>
                      </c:pt>
                      <c:pt idx="2201">
                        <c:v>45383.75</c:v>
                      </c:pt>
                      <c:pt idx="2202">
                        <c:v>45383.791666666672</c:v>
                      </c:pt>
                      <c:pt idx="2203">
                        <c:v>45383.833333333328</c:v>
                      </c:pt>
                      <c:pt idx="2204">
                        <c:v>45383.875</c:v>
                      </c:pt>
                      <c:pt idx="2205">
                        <c:v>45383.916666666672</c:v>
                      </c:pt>
                      <c:pt idx="2206">
                        <c:v>45383.958333333328</c:v>
                      </c:pt>
                      <c:pt idx="2207">
                        <c:v>45384</c:v>
                      </c:pt>
                      <c:pt idx="2208">
                        <c:v>45384.041666666672</c:v>
                      </c:pt>
                      <c:pt idx="2209">
                        <c:v>45384.083333333328</c:v>
                      </c:pt>
                      <c:pt idx="2210">
                        <c:v>45384.125</c:v>
                      </c:pt>
                      <c:pt idx="2211">
                        <c:v>45384.166666666672</c:v>
                      </c:pt>
                      <c:pt idx="2212">
                        <c:v>45384.208333333328</c:v>
                      </c:pt>
                      <c:pt idx="2213">
                        <c:v>45384.25</c:v>
                      </c:pt>
                      <c:pt idx="2214">
                        <c:v>45384.291666666672</c:v>
                      </c:pt>
                      <c:pt idx="2215">
                        <c:v>45384.333333333328</c:v>
                      </c:pt>
                      <c:pt idx="2216">
                        <c:v>45384.375</c:v>
                      </c:pt>
                      <c:pt idx="2217">
                        <c:v>45384.416666666672</c:v>
                      </c:pt>
                      <c:pt idx="2218">
                        <c:v>45384.458333333328</c:v>
                      </c:pt>
                      <c:pt idx="2219">
                        <c:v>45384.5</c:v>
                      </c:pt>
                      <c:pt idx="2220">
                        <c:v>45384.541666666672</c:v>
                      </c:pt>
                      <c:pt idx="2221">
                        <c:v>45384.583333333328</c:v>
                      </c:pt>
                      <c:pt idx="2222">
                        <c:v>45384.625</c:v>
                      </c:pt>
                      <c:pt idx="2223">
                        <c:v>45384.666666666672</c:v>
                      </c:pt>
                      <c:pt idx="2224">
                        <c:v>45384.708333333328</c:v>
                      </c:pt>
                      <c:pt idx="2225">
                        <c:v>45384.75</c:v>
                      </c:pt>
                      <c:pt idx="2226">
                        <c:v>45384.791666666672</c:v>
                      </c:pt>
                      <c:pt idx="2227">
                        <c:v>45384.833333333328</c:v>
                      </c:pt>
                      <c:pt idx="2228">
                        <c:v>45384.875</c:v>
                      </c:pt>
                      <c:pt idx="2229">
                        <c:v>45384.916666666672</c:v>
                      </c:pt>
                      <c:pt idx="2230">
                        <c:v>45384.958333333328</c:v>
                      </c:pt>
                      <c:pt idx="2231">
                        <c:v>45385</c:v>
                      </c:pt>
                      <c:pt idx="2232">
                        <c:v>45385.041666666672</c:v>
                      </c:pt>
                      <c:pt idx="2233">
                        <c:v>45385.083333333328</c:v>
                      </c:pt>
                      <c:pt idx="2234">
                        <c:v>45385.125</c:v>
                      </c:pt>
                      <c:pt idx="2235">
                        <c:v>45385.166666666672</c:v>
                      </c:pt>
                      <c:pt idx="2236">
                        <c:v>45385.208333333328</c:v>
                      </c:pt>
                      <c:pt idx="2237">
                        <c:v>45385.25</c:v>
                      </c:pt>
                      <c:pt idx="2238">
                        <c:v>45385.291666666672</c:v>
                      </c:pt>
                      <c:pt idx="2239">
                        <c:v>45385.333333333328</c:v>
                      </c:pt>
                      <c:pt idx="2240">
                        <c:v>45385.375</c:v>
                      </c:pt>
                      <c:pt idx="2241">
                        <c:v>45385.416666666672</c:v>
                      </c:pt>
                      <c:pt idx="2242">
                        <c:v>45385.458333333328</c:v>
                      </c:pt>
                      <c:pt idx="2243">
                        <c:v>45385.5</c:v>
                      </c:pt>
                      <c:pt idx="2244">
                        <c:v>45385.541666666672</c:v>
                      </c:pt>
                      <c:pt idx="2245">
                        <c:v>45385.583333333328</c:v>
                      </c:pt>
                      <c:pt idx="2246">
                        <c:v>45385.625</c:v>
                      </c:pt>
                      <c:pt idx="2247">
                        <c:v>45385.666666666672</c:v>
                      </c:pt>
                      <c:pt idx="2248">
                        <c:v>45385.708333333328</c:v>
                      </c:pt>
                      <c:pt idx="2249">
                        <c:v>45385.75</c:v>
                      </c:pt>
                      <c:pt idx="2250">
                        <c:v>45385.791666666672</c:v>
                      </c:pt>
                      <c:pt idx="2251">
                        <c:v>45385.833333333328</c:v>
                      </c:pt>
                      <c:pt idx="2252">
                        <c:v>45385.875</c:v>
                      </c:pt>
                      <c:pt idx="2253">
                        <c:v>45385.916666666672</c:v>
                      </c:pt>
                      <c:pt idx="2254">
                        <c:v>45385.958333333328</c:v>
                      </c:pt>
                      <c:pt idx="2255">
                        <c:v>45386</c:v>
                      </c:pt>
                      <c:pt idx="2256">
                        <c:v>45386.041666666672</c:v>
                      </c:pt>
                      <c:pt idx="2257">
                        <c:v>45386.083333333328</c:v>
                      </c:pt>
                      <c:pt idx="2258">
                        <c:v>45386.125</c:v>
                      </c:pt>
                      <c:pt idx="2259">
                        <c:v>45386.166666666672</c:v>
                      </c:pt>
                      <c:pt idx="2260">
                        <c:v>45386.208333333328</c:v>
                      </c:pt>
                      <c:pt idx="2261">
                        <c:v>45386.25</c:v>
                      </c:pt>
                      <c:pt idx="2262">
                        <c:v>45386.291666666672</c:v>
                      </c:pt>
                      <c:pt idx="2263">
                        <c:v>45386.333333333328</c:v>
                      </c:pt>
                      <c:pt idx="2264">
                        <c:v>45386.375</c:v>
                      </c:pt>
                      <c:pt idx="2265">
                        <c:v>45386.416666666672</c:v>
                      </c:pt>
                      <c:pt idx="2266">
                        <c:v>45386.458333333328</c:v>
                      </c:pt>
                      <c:pt idx="2267">
                        <c:v>45386.5</c:v>
                      </c:pt>
                      <c:pt idx="2268">
                        <c:v>45386.541666666672</c:v>
                      </c:pt>
                      <c:pt idx="2269">
                        <c:v>45386.583333333328</c:v>
                      </c:pt>
                      <c:pt idx="2270">
                        <c:v>45386.625</c:v>
                      </c:pt>
                      <c:pt idx="2271">
                        <c:v>45386.666666666672</c:v>
                      </c:pt>
                      <c:pt idx="2272">
                        <c:v>45386.708333333328</c:v>
                      </c:pt>
                      <c:pt idx="2273">
                        <c:v>45386.75</c:v>
                      </c:pt>
                      <c:pt idx="2274">
                        <c:v>45386.791666666672</c:v>
                      </c:pt>
                      <c:pt idx="2275">
                        <c:v>45386.833333333328</c:v>
                      </c:pt>
                      <c:pt idx="2276">
                        <c:v>45386.875</c:v>
                      </c:pt>
                      <c:pt idx="2277">
                        <c:v>45386.916666666672</c:v>
                      </c:pt>
                      <c:pt idx="2278">
                        <c:v>45386.958333333328</c:v>
                      </c:pt>
                      <c:pt idx="2279">
                        <c:v>45387</c:v>
                      </c:pt>
                      <c:pt idx="2280">
                        <c:v>45387.041666666672</c:v>
                      </c:pt>
                      <c:pt idx="2281">
                        <c:v>45387.083333333328</c:v>
                      </c:pt>
                      <c:pt idx="2282">
                        <c:v>45387.125</c:v>
                      </c:pt>
                      <c:pt idx="2283">
                        <c:v>45387.166666666672</c:v>
                      </c:pt>
                      <c:pt idx="2284">
                        <c:v>45387.208333333328</c:v>
                      </c:pt>
                      <c:pt idx="2285">
                        <c:v>45387.25</c:v>
                      </c:pt>
                      <c:pt idx="2286">
                        <c:v>45387.291666666672</c:v>
                      </c:pt>
                      <c:pt idx="2287">
                        <c:v>45387.333333333328</c:v>
                      </c:pt>
                      <c:pt idx="2288">
                        <c:v>45387.375</c:v>
                      </c:pt>
                      <c:pt idx="2289">
                        <c:v>45387.416666666672</c:v>
                      </c:pt>
                      <c:pt idx="2290">
                        <c:v>45387.458333333328</c:v>
                      </c:pt>
                      <c:pt idx="2291">
                        <c:v>45387.5</c:v>
                      </c:pt>
                      <c:pt idx="2292">
                        <c:v>45387.541666666672</c:v>
                      </c:pt>
                      <c:pt idx="2293">
                        <c:v>45387.583333333328</c:v>
                      </c:pt>
                      <c:pt idx="2294">
                        <c:v>45387.625</c:v>
                      </c:pt>
                      <c:pt idx="2295">
                        <c:v>45387.666666666672</c:v>
                      </c:pt>
                      <c:pt idx="2296">
                        <c:v>45387.708333333328</c:v>
                      </c:pt>
                      <c:pt idx="2297">
                        <c:v>45387.75</c:v>
                      </c:pt>
                      <c:pt idx="2298">
                        <c:v>45387.791666666672</c:v>
                      </c:pt>
                      <c:pt idx="2299">
                        <c:v>45387.833333333328</c:v>
                      </c:pt>
                      <c:pt idx="2300">
                        <c:v>45387.875</c:v>
                      </c:pt>
                      <c:pt idx="2301">
                        <c:v>45387.916666666672</c:v>
                      </c:pt>
                      <c:pt idx="2302">
                        <c:v>45387.958333333328</c:v>
                      </c:pt>
                      <c:pt idx="2303">
                        <c:v>45388</c:v>
                      </c:pt>
                      <c:pt idx="2304">
                        <c:v>45388.041666666672</c:v>
                      </c:pt>
                      <c:pt idx="2305">
                        <c:v>45388.083333333328</c:v>
                      </c:pt>
                      <c:pt idx="2306">
                        <c:v>45388.125</c:v>
                      </c:pt>
                      <c:pt idx="2307">
                        <c:v>45388.166666666672</c:v>
                      </c:pt>
                      <c:pt idx="2308">
                        <c:v>45388.208333333328</c:v>
                      </c:pt>
                      <c:pt idx="2309">
                        <c:v>45388.25</c:v>
                      </c:pt>
                      <c:pt idx="2310">
                        <c:v>45388.291666666672</c:v>
                      </c:pt>
                      <c:pt idx="2311">
                        <c:v>45388.333333333328</c:v>
                      </c:pt>
                      <c:pt idx="2312">
                        <c:v>45388.375</c:v>
                      </c:pt>
                      <c:pt idx="2313">
                        <c:v>45388.416666666672</c:v>
                      </c:pt>
                      <c:pt idx="2314">
                        <c:v>45388.458333333328</c:v>
                      </c:pt>
                      <c:pt idx="2315">
                        <c:v>45388.5</c:v>
                      </c:pt>
                      <c:pt idx="2316">
                        <c:v>45388.541666666672</c:v>
                      </c:pt>
                      <c:pt idx="2317">
                        <c:v>45388.583333333328</c:v>
                      </c:pt>
                      <c:pt idx="2318">
                        <c:v>45388.625</c:v>
                      </c:pt>
                      <c:pt idx="2319">
                        <c:v>45388.666666666672</c:v>
                      </c:pt>
                      <c:pt idx="2320">
                        <c:v>45388.708333333328</c:v>
                      </c:pt>
                      <c:pt idx="2321">
                        <c:v>45388.75</c:v>
                      </c:pt>
                      <c:pt idx="2322">
                        <c:v>45388.791666666672</c:v>
                      </c:pt>
                      <c:pt idx="2323">
                        <c:v>45388.833333333328</c:v>
                      </c:pt>
                      <c:pt idx="2324">
                        <c:v>45388.875</c:v>
                      </c:pt>
                      <c:pt idx="2325">
                        <c:v>45388.916666666672</c:v>
                      </c:pt>
                      <c:pt idx="2326">
                        <c:v>45388.958333333328</c:v>
                      </c:pt>
                      <c:pt idx="2327">
                        <c:v>45389</c:v>
                      </c:pt>
                      <c:pt idx="2328">
                        <c:v>45389.041666666672</c:v>
                      </c:pt>
                      <c:pt idx="2329">
                        <c:v>45389.083333333328</c:v>
                      </c:pt>
                      <c:pt idx="2330">
                        <c:v>45389.125</c:v>
                      </c:pt>
                      <c:pt idx="2331">
                        <c:v>45389.166666666672</c:v>
                      </c:pt>
                      <c:pt idx="2332">
                        <c:v>45389.208333333328</c:v>
                      </c:pt>
                      <c:pt idx="2333">
                        <c:v>45389.25</c:v>
                      </c:pt>
                      <c:pt idx="2334">
                        <c:v>45389.291666666672</c:v>
                      </c:pt>
                      <c:pt idx="2335">
                        <c:v>45389.333333333328</c:v>
                      </c:pt>
                      <c:pt idx="2336">
                        <c:v>45389.375</c:v>
                      </c:pt>
                      <c:pt idx="2337">
                        <c:v>45389.416666666672</c:v>
                      </c:pt>
                      <c:pt idx="2338">
                        <c:v>45389.458333333328</c:v>
                      </c:pt>
                      <c:pt idx="2339">
                        <c:v>45389.5</c:v>
                      </c:pt>
                      <c:pt idx="2340">
                        <c:v>45389.541666666672</c:v>
                      </c:pt>
                      <c:pt idx="2341">
                        <c:v>45389.583333333328</c:v>
                      </c:pt>
                      <c:pt idx="2342">
                        <c:v>45389.625</c:v>
                      </c:pt>
                      <c:pt idx="2343">
                        <c:v>45389.666666666672</c:v>
                      </c:pt>
                      <c:pt idx="2344">
                        <c:v>45389.708333333328</c:v>
                      </c:pt>
                      <c:pt idx="2345">
                        <c:v>45389.75</c:v>
                      </c:pt>
                      <c:pt idx="2346">
                        <c:v>45389.791666666672</c:v>
                      </c:pt>
                      <c:pt idx="2347">
                        <c:v>45389.833333333328</c:v>
                      </c:pt>
                      <c:pt idx="2348">
                        <c:v>45389.875</c:v>
                      </c:pt>
                      <c:pt idx="2349">
                        <c:v>45389.916666666672</c:v>
                      </c:pt>
                      <c:pt idx="2350">
                        <c:v>45389.958333333328</c:v>
                      </c:pt>
                      <c:pt idx="2351">
                        <c:v>45390</c:v>
                      </c:pt>
                      <c:pt idx="2352">
                        <c:v>45390.041666666672</c:v>
                      </c:pt>
                      <c:pt idx="2353">
                        <c:v>45390.083333333328</c:v>
                      </c:pt>
                      <c:pt idx="2354">
                        <c:v>45390.125</c:v>
                      </c:pt>
                      <c:pt idx="2355">
                        <c:v>45390.166666666672</c:v>
                      </c:pt>
                      <c:pt idx="2356">
                        <c:v>45390.208333333328</c:v>
                      </c:pt>
                      <c:pt idx="2357">
                        <c:v>45390.25</c:v>
                      </c:pt>
                      <c:pt idx="2358">
                        <c:v>45390.291666666672</c:v>
                      </c:pt>
                      <c:pt idx="2359">
                        <c:v>45390.333333333328</c:v>
                      </c:pt>
                      <c:pt idx="2360">
                        <c:v>45390.375</c:v>
                      </c:pt>
                      <c:pt idx="2361">
                        <c:v>45390.416666666672</c:v>
                      </c:pt>
                      <c:pt idx="2362">
                        <c:v>45390.458333333328</c:v>
                      </c:pt>
                      <c:pt idx="2363">
                        <c:v>45390.5</c:v>
                      </c:pt>
                      <c:pt idx="2364">
                        <c:v>45390.541666666672</c:v>
                      </c:pt>
                      <c:pt idx="2365">
                        <c:v>45390.583333333328</c:v>
                      </c:pt>
                      <c:pt idx="2366">
                        <c:v>45390.625</c:v>
                      </c:pt>
                      <c:pt idx="2367">
                        <c:v>45390.666666666672</c:v>
                      </c:pt>
                      <c:pt idx="2368">
                        <c:v>45390.708333333328</c:v>
                      </c:pt>
                      <c:pt idx="2369">
                        <c:v>45390.75</c:v>
                      </c:pt>
                      <c:pt idx="2370">
                        <c:v>45390.791666666672</c:v>
                      </c:pt>
                      <c:pt idx="2371">
                        <c:v>45390.833333333328</c:v>
                      </c:pt>
                      <c:pt idx="2372">
                        <c:v>45390.875</c:v>
                      </c:pt>
                      <c:pt idx="2373">
                        <c:v>45390.916666666672</c:v>
                      </c:pt>
                      <c:pt idx="2374">
                        <c:v>45390.958333333328</c:v>
                      </c:pt>
                      <c:pt idx="2375">
                        <c:v>45391</c:v>
                      </c:pt>
                      <c:pt idx="2376">
                        <c:v>45391.041666666672</c:v>
                      </c:pt>
                      <c:pt idx="2377">
                        <c:v>45391.083333333328</c:v>
                      </c:pt>
                      <c:pt idx="2378">
                        <c:v>45391.125</c:v>
                      </c:pt>
                      <c:pt idx="2379">
                        <c:v>45391.166666666672</c:v>
                      </c:pt>
                      <c:pt idx="2380">
                        <c:v>45391.208333333328</c:v>
                      </c:pt>
                      <c:pt idx="2381">
                        <c:v>45391.25</c:v>
                      </c:pt>
                      <c:pt idx="2382">
                        <c:v>45391.291666666672</c:v>
                      </c:pt>
                      <c:pt idx="2383">
                        <c:v>45391.333333333328</c:v>
                      </c:pt>
                      <c:pt idx="2384">
                        <c:v>45391.375</c:v>
                      </c:pt>
                      <c:pt idx="2385">
                        <c:v>45391.416666666672</c:v>
                      </c:pt>
                      <c:pt idx="2386">
                        <c:v>45391.458333333328</c:v>
                      </c:pt>
                      <c:pt idx="2387">
                        <c:v>45391.5</c:v>
                      </c:pt>
                      <c:pt idx="2388">
                        <c:v>45391.541666666672</c:v>
                      </c:pt>
                      <c:pt idx="2389">
                        <c:v>45391.583333333328</c:v>
                      </c:pt>
                      <c:pt idx="2390">
                        <c:v>45391.625</c:v>
                      </c:pt>
                      <c:pt idx="2391">
                        <c:v>45391.666666666672</c:v>
                      </c:pt>
                      <c:pt idx="2392">
                        <c:v>45391.708333333328</c:v>
                      </c:pt>
                      <c:pt idx="2393">
                        <c:v>45391.75</c:v>
                      </c:pt>
                      <c:pt idx="2394">
                        <c:v>45391.791666666672</c:v>
                      </c:pt>
                      <c:pt idx="2395">
                        <c:v>45391.833333333328</c:v>
                      </c:pt>
                      <c:pt idx="2396">
                        <c:v>45391.875</c:v>
                      </c:pt>
                      <c:pt idx="2397">
                        <c:v>45391.916666666672</c:v>
                      </c:pt>
                      <c:pt idx="2398">
                        <c:v>45391.958333333328</c:v>
                      </c:pt>
                      <c:pt idx="2399">
                        <c:v>45392</c:v>
                      </c:pt>
                      <c:pt idx="2400">
                        <c:v>45392.041666666672</c:v>
                      </c:pt>
                      <c:pt idx="2401">
                        <c:v>45392.083333333328</c:v>
                      </c:pt>
                      <c:pt idx="2402">
                        <c:v>45392.125</c:v>
                      </c:pt>
                      <c:pt idx="2403">
                        <c:v>45392.166666666672</c:v>
                      </c:pt>
                      <c:pt idx="2404">
                        <c:v>45392.208333333328</c:v>
                      </c:pt>
                      <c:pt idx="2405">
                        <c:v>45392.25</c:v>
                      </c:pt>
                      <c:pt idx="2406">
                        <c:v>45392.291666666672</c:v>
                      </c:pt>
                      <c:pt idx="2407">
                        <c:v>45392.333333333328</c:v>
                      </c:pt>
                      <c:pt idx="2408">
                        <c:v>45392.375</c:v>
                      </c:pt>
                      <c:pt idx="2409">
                        <c:v>45392.416666666672</c:v>
                      </c:pt>
                      <c:pt idx="2410">
                        <c:v>45392.458333333328</c:v>
                      </c:pt>
                      <c:pt idx="2411">
                        <c:v>45392.5</c:v>
                      </c:pt>
                      <c:pt idx="2412">
                        <c:v>45392.541666666672</c:v>
                      </c:pt>
                      <c:pt idx="2413">
                        <c:v>45392.583333333328</c:v>
                      </c:pt>
                      <c:pt idx="2414">
                        <c:v>45392.625</c:v>
                      </c:pt>
                      <c:pt idx="2415">
                        <c:v>45392.666666666672</c:v>
                      </c:pt>
                      <c:pt idx="2416">
                        <c:v>45392.708333333328</c:v>
                      </c:pt>
                      <c:pt idx="2417">
                        <c:v>45392.75</c:v>
                      </c:pt>
                      <c:pt idx="2418">
                        <c:v>45392.791666666672</c:v>
                      </c:pt>
                      <c:pt idx="2419">
                        <c:v>45392.833333333328</c:v>
                      </c:pt>
                      <c:pt idx="2420">
                        <c:v>45392.875</c:v>
                      </c:pt>
                      <c:pt idx="2421">
                        <c:v>45392.916666666672</c:v>
                      </c:pt>
                      <c:pt idx="2422">
                        <c:v>45392.958333333328</c:v>
                      </c:pt>
                      <c:pt idx="2423">
                        <c:v>45393</c:v>
                      </c:pt>
                      <c:pt idx="2424">
                        <c:v>45393.041666666672</c:v>
                      </c:pt>
                      <c:pt idx="2425">
                        <c:v>45393.083333333328</c:v>
                      </c:pt>
                      <c:pt idx="2426">
                        <c:v>45393.125</c:v>
                      </c:pt>
                      <c:pt idx="2427">
                        <c:v>45393.166666666672</c:v>
                      </c:pt>
                      <c:pt idx="2428">
                        <c:v>45393.208333333328</c:v>
                      </c:pt>
                      <c:pt idx="2429">
                        <c:v>45393.25</c:v>
                      </c:pt>
                      <c:pt idx="2430">
                        <c:v>45393.291666666672</c:v>
                      </c:pt>
                      <c:pt idx="2431">
                        <c:v>45393.333333333328</c:v>
                      </c:pt>
                      <c:pt idx="2432">
                        <c:v>45393.375</c:v>
                      </c:pt>
                      <c:pt idx="2433">
                        <c:v>45393.416666666672</c:v>
                      </c:pt>
                      <c:pt idx="2434">
                        <c:v>45393.458333333328</c:v>
                      </c:pt>
                      <c:pt idx="2435">
                        <c:v>45393.5</c:v>
                      </c:pt>
                      <c:pt idx="2436">
                        <c:v>45393.541666666672</c:v>
                      </c:pt>
                      <c:pt idx="2437">
                        <c:v>45393.583333333328</c:v>
                      </c:pt>
                      <c:pt idx="2438">
                        <c:v>45393.625</c:v>
                      </c:pt>
                      <c:pt idx="2439">
                        <c:v>45393.666666666672</c:v>
                      </c:pt>
                      <c:pt idx="2440">
                        <c:v>45393.708333333328</c:v>
                      </c:pt>
                      <c:pt idx="2441">
                        <c:v>45393.75</c:v>
                      </c:pt>
                      <c:pt idx="2442">
                        <c:v>45393.791666666672</c:v>
                      </c:pt>
                      <c:pt idx="2443">
                        <c:v>45393.833333333328</c:v>
                      </c:pt>
                      <c:pt idx="2444">
                        <c:v>45393.875</c:v>
                      </c:pt>
                      <c:pt idx="2445">
                        <c:v>45393.916666666672</c:v>
                      </c:pt>
                      <c:pt idx="2446">
                        <c:v>45393.958333333328</c:v>
                      </c:pt>
                      <c:pt idx="2447">
                        <c:v>45394</c:v>
                      </c:pt>
                      <c:pt idx="2448">
                        <c:v>45394.041666666672</c:v>
                      </c:pt>
                      <c:pt idx="2449">
                        <c:v>45394.083333333328</c:v>
                      </c:pt>
                      <c:pt idx="2450">
                        <c:v>45394.125</c:v>
                      </c:pt>
                      <c:pt idx="2451">
                        <c:v>45394.166666666672</c:v>
                      </c:pt>
                      <c:pt idx="2452">
                        <c:v>45394.208333333328</c:v>
                      </c:pt>
                      <c:pt idx="2453">
                        <c:v>45394.25</c:v>
                      </c:pt>
                      <c:pt idx="2454">
                        <c:v>45394.291666666672</c:v>
                      </c:pt>
                      <c:pt idx="2455">
                        <c:v>45394.333333333328</c:v>
                      </c:pt>
                      <c:pt idx="2456">
                        <c:v>45394.375</c:v>
                      </c:pt>
                      <c:pt idx="2457">
                        <c:v>45394.416666666672</c:v>
                      </c:pt>
                      <c:pt idx="2458">
                        <c:v>45394.458333333328</c:v>
                      </c:pt>
                      <c:pt idx="2459">
                        <c:v>45394.5</c:v>
                      </c:pt>
                      <c:pt idx="2460">
                        <c:v>45394.541666666672</c:v>
                      </c:pt>
                      <c:pt idx="2461">
                        <c:v>45394.583333333328</c:v>
                      </c:pt>
                      <c:pt idx="2462">
                        <c:v>45394.625</c:v>
                      </c:pt>
                      <c:pt idx="2463">
                        <c:v>45394.666666666672</c:v>
                      </c:pt>
                      <c:pt idx="2464">
                        <c:v>45394.708333333328</c:v>
                      </c:pt>
                      <c:pt idx="2465">
                        <c:v>45394.75</c:v>
                      </c:pt>
                      <c:pt idx="2466">
                        <c:v>45394.791666666672</c:v>
                      </c:pt>
                      <c:pt idx="2467">
                        <c:v>45394.833333333328</c:v>
                      </c:pt>
                      <c:pt idx="2468">
                        <c:v>45394.875</c:v>
                      </c:pt>
                      <c:pt idx="2469">
                        <c:v>45394.916666666672</c:v>
                      </c:pt>
                      <c:pt idx="2470">
                        <c:v>45394.958333333328</c:v>
                      </c:pt>
                      <c:pt idx="2471">
                        <c:v>45395</c:v>
                      </c:pt>
                      <c:pt idx="2472">
                        <c:v>45395.041666666672</c:v>
                      </c:pt>
                      <c:pt idx="2473">
                        <c:v>45395.083333333328</c:v>
                      </c:pt>
                      <c:pt idx="2474">
                        <c:v>45395.125</c:v>
                      </c:pt>
                      <c:pt idx="2475">
                        <c:v>45395.166666666672</c:v>
                      </c:pt>
                      <c:pt idx="2476">
                        <c:v>45395.208333333328</c:v>
                      </c:pt>
                      <c:pt idx="2477">
                        <c:v>45395.25</c:v>
                      </c:pt>
                      <c:pt idx="2478">
                        <c:v>45395.291666666672</c:v>
                      </c:pt>
                      <c:pt idx="2479">
                        <c:v>45395.333333333328</c:v>
                      </c:pt>
                      <c:pt idx="2480">
                        <c:v>45395.375</c:v>
                      </c:pt>
                      <c:pt idx="2481">
                        <c:v>45395.416666666672</c:v>
                      </c:pt>
                      <c:pt idx="2482">
                        <c:v>45395.458333333328</c:v>
                      </c:pt>
                      <c:pt idx="2483">
                        <c:v>45395.5</c:v>
                      </c:pt>
                      <c:pt idx="2484">
                        <c:v>45395.541666666672</c:v>
                      </c:pt>
                      <c:pt idx="2485">
                        <c:v>45395.583333333328</c:v>
                      </c:pt>
                      <c:pt idx="2486">
                        <c:v>45395.625</c:v>
                      </c:pt>
                      <c:pt idx="2487">
                        <c:v>45395.666666666672</c:v>
                      </c:pt>
                      <c:pt idx="2488">
                        <c:v>45395.708333333328</c:v>
                      </c:pt>
                      <c:pt idx="2489">
                        <c:v>45395.75</c:v>
                      </c:pt>
                      <c:pt idx="2490">
                        <c:v>45395.791666666672</c:v>
                      </c:pt>
                      <c:pt idx="2491">
                        <c:v>45395.833333333328</c:v>
                      </c:pt>
                      <c:pt idx="2492">
                        <c:v>45395.875</c:v>
                      </c:pt>
                      <c:pt idx="2493">
                        <c:v>45395.916666666672</c:v>
                      </c:pt>
                      <c:pt idx="2494">
                        <c:v>45395.958333333328</c:v>
                      </c:pt>
                      <c:pt idx="2495">
                        <c:v>45396</c:v>
                      </c:pt>
                      <c:pt idx="2496">
                        <c:v>45396.041666666672</c:v>
                      </c:pt>
                      <c:pt idx="2497">
                        <c:v>45396.083333333328</c:v>
                      </c:pt>
                      <c:pt idx="2498">
                        <c:v>45396.125</c:v>
                      </c:pt>
                      <c:pt idx="2499">
                        <c:v>45396.166666666672</c:v>
                      </c:pt>
                      <c:pt idx="2500">
                        <c:v>45396.208333333328</c:v>
                      </c:pt>
                      <c:pt idx="2501">
                        <c:v>45396.25</c:v>
                      </c:pt>
                      <c:pt idx="2502">
                        <c:v>45396.291666666672</c:v>
                      </c:pt>
                      <c:pt idx="2503">
                        <c:v>45396.333333333328</c:v>
                      </c:pt>
                      <c:pt idx="2504">
                        <c:v>45396.375</c:v>
                      </c:pt>
                      <c:pt idx="2505">
                        <c:v>45396.416666666672</c:v>
                      </c:pt>
                      <c:pt idx="2506">
                        <c:v>45396.458333333328</c:v>
                      </c:pt>
                      <c:pt idx="2507">
                        <c:v>45396.5</c:v>
                      </c:pt>
                      <c:pt idx="2508">
                        <c:v>45396.541666666672</c:v>
                      </c:pt>
                      <c:pt idx="2509">
                        <c:v>45396.583333333328</c:v>
                      </c:pt>
                      <c:pt idx="2510">
                        <c:v>45396.625</c:v>
                      </c:pt>
                      <c:pt idx="2511">
                        <c:v>45396.666666666672</c:v>
                      </c:pt>
                      <c:pt idx="2512">
                        <c:v>45396.708333333328</c:v>
                      </c:pt>
                      <c:pt idx="2513">
                        <c:v>45396.75</c:v>
                      </c:pt>
                      <c:pt idx="2514">
                        <c:v>45396.791666666672</c:v>
                      </c:pt>
                      <c:pt idx="2515">
                        <c:v>45396.833333333328</c:v>
                      </c:pt>
                      <c:pt idx="2516">
                        <c:v>45396.875</c:v>
                      </c:pt>
                      <c:pt idx="2517">
                        <c:v>45396.916666666672</c:v>
                      </c:pt>
                      <c:pt idx="2518">
                        <c:v>45396.958333333328</c:v>
                      </c:pt>
                      <c:pt idx="2519">
                        <c:v>45397</c:v>
                      </c:pt>
                      <c:pt idx="2520">
                        <c:v>45397.041666666672</c:v>
                      </c:pt>
                      <c:pt idx="2521">
                        <c:v>45397.083333333328</c:v>
                      </c:pt>
                      <c:pt idx="2522">
                        <c:v>45397.125</c:v>
                      </c:pt>
                      <c:pt idx="2523">
                        <c:v>45397.166666666672</c:v>
                      </c:pt>
                      <c:pt idx="2524">
                        <c:v>45397.208333333328</c:v>
                      </c:pt>
                      <c:pt idx="2525">
                        <c:v>45397.25</c:v>
                      </c:pt>
                      <c:pt idx="2526">
                        <c:v>45397.291666666672</c:v>
                      </c:pt>
                      <c:pt idx="2527">
                        <c:v>45397.333333333328</c:v>
                      </c:pt>
                      <c:pt idx="2528">
                        <c:v>45397.375</c:v>
                      </c:pt>
                      <c:pt idx="2529">
                        <c:v>45397.416666666672</c:v>
                      </c:pt>
                      <c:pt idx="2530">
                        <c:v>45397.458333333328</c:v>
                      </c:pt>
                      <c:pt idx="2531">
                        <c:v>45397.5</c:v>
                      </c:pt>
                      <c:pt idx="2532">
                        <c:v>45397.541666666672</c:v>
                      </c:pt>
                      <c:pt idx="2533">
                        <c:v>45397.583333333328</c:v>
                      </c:pt>
                      <c:pt idx="2534">
                        <c:v>45397.625</c:v>
                      </c:pt>
                      <c:pt idx="2535">
                        <c:v>45397.666666666672</c:v>
                      </c:pt>
                      <c:pt idx="2536">
                        <c:v>45397.708333333328</c:v>
                      </c:pt>
                      <c:pt idx="2537">
                        <c:v>45397.75</c:v>
                      </c:pt>
                      <c:pt idx="2538">
                        <c:v>45397.791666666672</c:v>
                      </c:pt>
                      <c:pt idx="2539">
                        <c:v>45397.833333333328</c:v>
                      </c:pt>
                      <c:pt idx="2540">
                        <c:v>45397.875</c:v>
                      </c:pt>
                      <c:pt idx="2541">
                        <c:v>45397.916666666672</c:v>
                      </c:pt>
                      <c:pt idx="2542">
                        <c:v>45397.958333333328</c:v>
                      </c:pt>
                      <c:pt idx="2543">
                        <c:v>45398</c:v>
                      </c:pt>
                      <c:pt idx="2544">
                        <c:v>45398.041666666672</c:v>
                      </c:pt>
                      <c:pt idx="2545">
                        <c:v>45398.083333333328</c:v>
                      </c:pt>
                      <c:pt idx="2546">
                        <c:v>45398.125</c:v>
                      </c:pt>
                      <c:pt idx="2547">
                        <c:v>45398.166666666672</c:v>
                      </c:pt>
                      <c:pt idx="2548">
                        <c:v>45398.208333333328</c:v>
                      </c:pt>
                      <c:pt idx="2549">
                        <c:v>45398.25</c:v>
                      </c:pt>
                      <c:pt idx="2550">
                        <c:v>45398.291666666672</c:v>
                      </c:pt>
                      <c:pt idx="2551">
                        <c:v>45398.333333333328</c:v>
                      </c:pt>
                      <c:pt idx="2552">
                        <c:v>45398.375</c:v>
                      </c:pt>
                      <c:pt idx="2553">
                        <c:v>45398.416666666672</c:v>
                      </c:pt>
                      <c:pt idx="2554">
                        <c:v>45398.458333333328</c:v>
                      </c:pt>
                      <c:pt idx="2555">
                        <c:v>45398.5</c:v>
                      </c:pt>
                      <c:pt idx="2556">
                        <c:v>45398.541666666672</c:v>
                      </c:pt>
                      <c:pt idx="2557">
                        <c:v>45398.583333333328</c:v>
                      </c:pt>
                      <c:pt idx="2558">
                        <c:v>45398.625</c:v>
                      </c:pt>
                      <c:pt idx="2559">
                        <c:v>45398.666666666672</c:v>
                      </c:pt>
                      <c:pt idx="2560">
                        <c:v>45398.708333333328</c:v>
                      </c:pt>
                      <c:pt idx="2561">
                        <c:v>45398.75</c:v>
                      </c:pt>
                      <c:pt idx="2562">
                        <c:v>45398.791666666672</c:v>
                      </c:pt>
                      <c:pt idx="2563">
                        <c:v>45398.833333333328</c:v>
                      </c:pt>
                      <c:pt idx="2564">
                        <c:v>45398.875</c:v>
                      </c:pt>
                      <c:pt idx="2565">
                        <c:v>45398.916666666672</c:v>
                      </c:pt>
                      <c:pt idx="2566">
                        <c:v>45398.958333333328</c:v>
                      </c:pt>
                      <c:pt idx="2567">
                        <c:v>45399</c:v>
                      </c:pt>
                      <c:pt idx="2568">
                        <c:v>45399.041666666672</c:v>
                      </c:pt>
                      <c:pt idx="2569">
                        <c:v>45399.083333333328</c:v>
                      </c:pt>
                      <c:pt idx="2570">
                        <c:v>45399.125</c:v>
                      </c:pt>
                      <c:pt idx="2571">
                        <c:v>45399.166666666672</c:v>
                      </c:pt>
                      <c:pt idx="2572">
                        <c:v>45399.208333333328</c:v>
                      </c:pt>
                      <c:pt idx="2573">
                        <c:v>45399.25</c:v>
                      </c:pt>
                      <c:pt idx="2574">
                        <c:v>45399.291666666672</c:v>
                      </c:pt>
                      <c:pt idx="2575">
                        <c:v>45399.333333333328</c:v>
                      </c:pt>
                      <c:pt idx="2576">
                        <c:v>45399.375</c:v>
                      </c:pt>
                      <c:pt idx="2577">
                        <c:v>45399.416666666672</c:v>
                      </c:pt>
                      <c:pt idx="2578">
                        <c:v>45399.458333333328</c:v>
                      </c:pt>
                      <c:pt idx="2579">
                        <c:v>45399.5</c:v>
                      </c:pt>
                      <c:pt idx="2580">
                        <c:v>45399.541666666672</c:v>
                      </c:pt>
                      <c:pt idx="2581">
                        <c:v>45399.583333333328</c:v>
                      </c:pt>
                      <c:pt idx="2582">
                        <c:v>45399.625</c:v>
                      </c:pt>
                      <c:pt idx="2583">
                        <c:v>45399.666666666672</c:v>
                      </c:pt>
                      <c:pt idx="2584">
                        <c:v>45399.708333333328</c:v>
                      </c:pt>
                      <c:pt idx="2585">
                        <c:v>45399.75</c:v>
                      </c:pt>
                      <c:pt idx="2586">
                        <c:v>45399.791666666672</c:v>
                      </c:pt>
                      <c:pt idx="2587">
                        <c:v>45399.833333333328</c:v>
                      </c:pt>
                      <c:pt idx="2588">
                        <c:v>45399.875</c:v>
                      </c:pt>
                      <c:pt idx="2589">
                        <c:v>45399.916666666672</c:v>
                      </c:pt>
                      <c:pt idx="2590">
                        <c:v>45399.958333333328</c:v>
                      </c:pt>
                      <c:pt idx="2591">
                        <c:v>45400</c:v>
                      </c:pt>
                      <c:pt idx="2592">
                        <c:v>45400.041666666672</c:v>
                      </c:pt>
                      <c:pt idx="2593">
                        <c:v>45400.083333333328</c:v>
                      </c:pt>
                      <c:pt idx="2594">
                        <c:v>45400.125</c:v>
                      </c:pt>
                      <c:pt idx="2595">
                        <c:v>45400.166666666672</c:v>
                      </c:pt>
                      <c:pt idx="2596">
                        <c:v>45400.208333333328</c:v>
                      </c:pt>
                      <c:pt idx="2597">
                        <c:v>45400.25</c:v>
                      </c:pt>
                      <c:pt idx="2598">
                        <c:v>45400.291666666672</c:v>
                      </c:pt>
                      <c:pt idx="2599">
                        <c:v>45400.333333333328</c:v>
                      </c:pt>
                      <c:pt idx="2600">
                        <c:v>45400.375</c:v>
                      </c:pt>
                      <c:pt idx="2601">
                        <c:v>45400.416666666672</c:v>
                      </c:pt>
                      <c:pt idx="2602">
                        <c:v>45400.458333333328</c:v>
                      </c:pt>
                      <c:pt idx="2603">
                        <c:v>45400.5</c:v>
                      </c:pt>
                      <c:pt idx="2604">
                        <c:v>45400.541666666672</c:v>
                      </c:pt>
                      <c:pt idx="2605">
                        <c:v>45400.583333333328</c:v>
                      </c:pt>
                      <c:pt idx="2606">
                        <c:v>45400.625</c:v>
                      </c:pt>
                      <c:pt idx="2607">
                        <c:v>45400.666666666672</c:v>
                      </c:pt>
                      <c:pt idx="2608">
                        <c:v>45400.708333333328</c:v>
                      </c:pt>
                      <c:pt idx="2609">
                        <c:v>45400.75</c:v>
                      </c:pt>
                      <c:pt idx="2610">
                        <c:v>45400.791666666672</c:v>
                      </c:pt>
                      <c:pt idx="2611">
                        <c:v>45400.833333333328</c:v>
                      </c:pt>
                      <c:pt idx="2612">
                        <c:v>45400.875</c:v>
                      </c:pt>
                      <c:pt idx="2613">
                        <c:v>45400.916666666672</c:v>
                      </c:pt>
                      <c:pt idx="2614">
                        <c:v>45400.958333333328</c:v>
                      </c:pt>
                      <c:pt idx="2615">
                        <c:v>45401</c:v>
                      </c:pt>
                      <c:pt idx="2616">
                        <c:v>45401.041666666672</c:v>
                      </c:pt>
                      <c:pt idx="2617">
                        <c:v>45401.083333333328</c:v>
                      </c:pt>
                      <c:pt idx="2618">
                        <c:v>45401.125</c:v>
                      </c:pt>
                      <c:pt idx="2619">
                        <c:v>45401.166666666672</c:v>
                      </c:pt>
                      <c:pt idx="2620">
                        <c:v>45401.208333333328</c:v>
                      </c:pt>
                      <c:pt idx="2621">
                        <c:v>45401.25</c:v>
                      </c:pt>
                      <c:pt idx="2622">
                        <c:v>45401.291666666672</c:v>
                      </c:pt>
                      <c:pt idx="2623">
                        <c:v>45401.333333333328</c:v>
                      </c:pt>
                      <c:pt idx="2624">
                        <c:v>45401.375</c:v>
                      </c:pt>
                      <c:pt idx="2625">
                        <c:v>45401.416666666672</c:v>
                      </c:pt>
                      <c:pt idx="2626">
                        <c:v>45401.458333333328</c:v>
                      </c:pt>
                      <c:pt idx="2627">
                        <c:v>45401.5</c:v>
                      </c:pt>
                      <c:pt idx="2628">
                        <c:v>45401.541666666672</c:v>
                      </c:pt>
                      <c:pt idx="2629">
                        <c:v>45401.583333333328</c:v>
                      </c:pt>
                      <c:pt idx="2630">
                        <c:v>45401.625</c:v>
                      </c:pt>
                      <c:pt idx="2631">
                        <c:v>45401.666666666672</c:v>
                      </c:pt>
                      <c:pt idx="2632">
                        <c:v>45401.708333333328</c:v>
                      </c:pt>
                      <c:pt idx="2633">
                        <c:v>45401.75</c:v>
                      </c:pt>
                      <c:pt idx="2634">
                        <c:v>45401.791666666672</c:v>
                      </c:pt>
                      <c:pt idx="2635">
                        <c:v>45401.833333333328</c:v>
                      </c:pt>
                      <c:pt idx="2636">
                        <c:v>45401.875</c:v>
                      </c:pt>
                      <c:pt idx="2637">
                        <c:v>45401.916666666672</c:v>
                      </c:pt>
                      <c:pt idx="2638">
                        <c:v>45401.958333333328</c:v>
                      </c:pt>
                      <c:pt idx="2639">
                        <c:v>45402</c:v>
                      </c:pt>
                      <c:pt idx="2640">
                        <c:v>45402.041666666672</c:v>
                      </c:pt>
                      <c:pt idx="2641">
                        <c:v>45402.083333333328</c:v>
                      </c:pt>
                      <c:pt idx="2642">
                        <c:v>45402.125</c:v>
                      </c:pt>
                      <c:pt idx="2643">
                        <c:v>45402.166666666672</c:v>
                      </c:pt>
                      <c:pt idx="2644">
                        <c:v>45402.208333333328</c:v>
                      </c:pt>
                      <c:pt idx="2645">
                        <c:v>45402.25</c:v>
                      </c:pt>
                      <c:pt idx="2646">
                        <c:v>45402.291666666672</c:v>
                      </c:pt>
                      <c:pt idx="2647">
                        <c:v>45402.333333333328</c:v>
                      </c:pt>
                      <c:pt idx="2648">
                        <c:v>45402.375</c:v>
                      </c:pt>
                      <c:pt idx="2649">
                        <c:v>45402.416666666672</c:v>
                      </c:pt>
                      <c:pt idx="2650">
                        <c:v>45402.458333333328</c:v>
                      </c:pt>
                      <c:pt idx="2651">
                        <c:v>45402.5</c:v>
                      </c:pt>
                      <c:pt idx="2652">
                        <c:v>45402.541666666672</c:v>
                      </c:pt>
                      <c:pt idx="2653">
                        <c:v>45402.583333333328</c:v>
                      </c:pt>
                      <c:pt idx="2654">
                        <c:v>45402.625</c:v>
                      </c:pt>
                      <c:pt idx="2655">
                        <c:v>45402.666666666672</c:v>
                      </c:pt>
                      <c:pt idx="2656">
                        <c:v>45402.708333333328</c:v>
                      </c:pt>
                      <c:pt idx="2657">
                        <c:v>45402.75</c:v>
                      </c:pt>
                      <c:pt idx="2658">
                        <c:v>45402.791666666672</c:v>
                      </c:pt>
                      <c:pt idx="2659">
                        <c:v>45402.833333333328</c:v>
                      </c:pt>
                      <c:pt idx="2660">
                        <c:v>45402.875</c:v>
                      </c:pt>
                      <c:pt idx="2661">
                        <c:v>45402.916666666672</c:v>
                      </c:pt>
                      <c:pt idx="2662">
                        <c:v>45402.958333333328</c:v>
                      </c:pt>
                      <c:pt idx="2663">
                        <c:v>45403</c:v>
                      </c:pt>
                      <c:pt idx="2664">
                        <c:v>45403.041666666672</c:v>
                      </c:pt>
                      <c:pt idx="2665">
                        <c:v>45403.083333333328</c:v>
                      </c:pt>
                      <c:pt idx="2666">
                        <c:v>45403.125</c:v>
                      </c:pt>
                      <c:pt idx="2667">
                        <c:v>45403.166666666672</c:v>
                      </c:pt>
                      <c:pt idx="2668">
                        <c:v>45403.208333333328</c:v>
                      </c:pt>
                      <c:pt idx="2669">
                        <c:v>45403.25</c:v>
                      </c:pt>
                      <c:pt idx="2670">
                        <c:v>45403.291666666672</c:v>
                      </c:pt>
                      <c:pt idx="2671">
                        <c:v>45403.333333333328</c:v>
                      </c:pt>
                      <c:pt idx="2672">
                        <c:v>45403.375</c:v>
                      </c:pt>
                      <c:pt idx="2673">
                        <c:v>45403.416666666672</c:v>
                      </c:pt>
                      <c:pt idx="2674">
                        <c:v>45403.458333333328</c:v>
                      </c:pt>
                      <c:pt idx="2675">
                        <c:v>45403.5</c:v>
                      </c:pt>
                      <c:pt idx="2676">
                        <c:v>45403.541666666672</c:v>
                      </c:pt>
                      <c:pt idx="2677">
                        <c:v>45403.583333333328</c:v>
                      </c:pt>
                      <c:pt idx="2678">
                        <c:v>45403.625</c:v>
                      </c:pt>
                      <c:pt idx="2679">
                        <c:v>45403.666666666672</c:v>
                      </c:pt>
                      <c:pt idx="2680">
                        <c:v>45403.708333333328</c:v>
                      </c:pt>
                      <c:pt idx="2681">
                        <c:v>45403.75</c:v>
                      </c:pt>
                      <c:pt idx="2682">
                        <c:v>45403.791666666672</c:v>
                      </c:pt>
                      <c:pt idx="2683">
                        <c:v>45403.833333333328</c:v>
                      </c:pt>
                      <c:pt idx="2684">
                        <c:v>45403.875</c:v>
                      </c:pt>
                      <c:pt idx="2685">
                        <c:v>45403.916666666672</c:v>
                      </c:pt>
                      <c:pt idx="2686">
                        <c:v>45403.958333333328</c:v>
                      </c:pt>
                      <c:pt idx="2687">
                        <c:v>45404</c:v>
                      </c:pt>
                      <c:pt idx="2688">
                        <c:v>45404.041666666672</c:v>
                      </c:pt>
                      <c:pt idx="2689">
                        <c:v>45404.083333333328</c:v>
                      </c:pt>
                      <c:pt idx="2690">
                        <c:v>45404.125</c:v>
                      </c:pt>
                      <c:pt idx="2691">
                        <c:v>45404.166666666672</c:v>
                      </c:pt>
                      <c:pt idx="2692">
                        <c:v>45404.208333333328</c:v>
                      </c:pt>
                      <c:pt idx="2693">
                        <c:v>45404.25</c:v>
                      </c:pt>
                      <c:pt idx="2694">
                        <c:v>45404.291666666672</c:v>
                      </c:pt>
                      <c:pt idx="2695">
                        <c:v>45404.333333333328</c:v>
                      </c:pt>
                      <c:pt idx="2696">
                        <c:v>45404.375</c:v>
                      </c:pt>
                      <c:pt idx="2697">
                        <c:v>45404.416666666672</c:v>
                      </c:pt>
                      <c:pt idx="2698">
                        <c:v>45404.458333333328</c:v>
                      </c:pt>
                      <c:pt idx="2699">
                        <c:v>45404.5</c:v>
                      </c:pt>
                      <c:pt idx="2700">
                        <c:v>45404.541666666672</c:v>
                      </c:pt>
                      <c:pt idx="2701">
                        <c:v>45404.583333333328</c:v>
                      </c:pt>
                      <c:pt idx="2702">
                        <c:v>45404.625</c:v>
                      </c:pt>
                      <c:pt idx="2703">
                        <c:v>45404.666666666672</c:v>
                      </c:pt>
                      <c:pt idx="2704">
                        <c:v>45404.708333333328</c:v>
                      </c:pt>
                      <c:pt idx="2705">
                        <c:v>45404.75</c:v>
                      </c:pt>
                      <c:pt idx="2706">
                        <c:v>45404.791666666672</c:v>
                      </c:pt>
                      <c:pt idx="2707">
                        <c:v>45404.833333333328</c:v>
                      </c:pt>
                      <c:pt idx="2708">
                        <c:v>45404.875</c:v>
                      </c:pt>
                      <c:pt idx="2709">
                        <c:v>45404.916666666672</c:v>
                      </c:pt>
                      <c:pt idx="2710">
                        <c:v>45404.958333333328</c:v>
                      </c:pt>
                      <c:pt idx="2711">
                        <c:v>45405</c:v>
                      </c:pt>
                      <c:pt idx="2712">
                        <c:v>45405.041666666672</c:v>
                      </c:pt>
                      <c:pt idx="2713">
                        <c:v>45405.083333333328</c:v>
                      </c:pt>
                      <c:pt idx="2714">
                        <c:v>45405.125</c:v>
                      </c:pt>
                      <c:pt idx="2715">
                        <c:v>45405.166666666672</c:v>
                      </c:pt>
                      <c:pt idx="2716">
                        <c:v>45405.208333333328</c:v>
                      </c:pt>
                      <c:pt idx="2717">
                        <c:v>45405.25</c:v>
                      </c:pt>
                      <c:pt idx="2718">
                        <c:v>45405.291666666672</c:v>
                      </c:pt>
                      <c:pt idx="2719">
                        <c:v>45405.333333333328</c:v>
                      </c:pt>
                      <c:pt idx="2720">
                        <c:v>45405.375</c:v>
                      </c:pt>
                      <c:pt idx="2721">
                        <c:v>45405.416666666672</c:v>
                      </c:pt>
                      <c:pt idx="2722">
                        <c:v>45405.458333333328</c:v>
                      </c:pt>
                      <c:pt idx="2723">
                        <c:v>45405.5</c:v>
                      </c:pt>
                      <c:pt idx="2724">
                        <c:v>45405.541666666672</c:v>
                      </c:pt>
                      <c:pt idx="2725">
                        <c:v>45405.583333333328</c:v>
                      </c:pt>
                      <c:pt idx="2726">
                        <c:v>45405.625</c:v>
                      </c:pt>
                      <c:pt idx="2727">
                        <c:v>45405.666666666672</c:v>
                      </c:pt>
                      <c:pt idx="2728">
                        <c:v>45405.708333333328</c:v>
                      </c:pt>
                      <c:pt idx="2729">
                        <c:v>45405.75</c:v>
                      </c:pt>
                      <c:pt idx="2730">
                        <c:v>45405.791666666672</c:v>
                      </c:pt>
                      <c:pt idx="2731">
                        <c:v>45405.833333333328</c:v>
                      </c:pt>
                      <c:pt idx="2732">
                        <c:v>45405.875</c:v>
                      </c:pt>
                      <c:pt idx="2733">
                        <c:v>45405.916666666672</c:v>
                      </c:pt>
                      <c:pt idx="2734">
                        <c:v>45405.958333333328</c:v>
                      </c:pt>
                      <c:pt idx="2735">
                        <c:v>45406</c:v>
                      </c:pt>
                      <c:pt idx="2736">
                        <c:v>45406.041666666672</c:v>
                      </c:pt>
                      <c:pt idx="2737">
                        <c:v>45406.083333333328</c:v>
                      </c:pt>
                      <c:pt idx="2738">
                        <c:v>45406.125</c:v>
                      </c:pt>
                      <c:pt idx="2739">
                        <c:v>45406.166666666672</c:v>
                      </c:pt>
                      <c:pt idx="2740">
                        <c:v>45406.208333333328</c:v>
                      </c:pt>
                      <c:pt idx="2741">
                        <c:v>45406.25</c:v>
                      </c:pt>
                      <c:pt idx="2742">
                        <c:v>45406.291666666672</c:v>
                      </c:pt>
                      <c:pt idx="2743">
                        <c:v>45406.333333333328</c:v>
                      </c:pt>
                      <c:pt idx="2744">
                        <c:v>45406.375</c:v>
                      </c:pt>
                      <c:pt idx="2745">
                        <c:v>45406.416666666672</c:v>
                      </c:pt>
                      <c:pt idx="2746">
                        <c:v>45406.458333333328</c:v>
                      </c:pt>
                      <c:pt idx="2747">
                        <c:v>45406.5</c:v>
                      </c:pt>
                      <c:pt idx="2748">
                        <c:v>45406.541666666672</c:v>
                      </c:pt>
                      <c:pt idx="2749">
                        <c:v>45406.583333333328</c:v>
                      </c:pt>
                      <c:pt idx="2750">
                        <c:v>45406.625</c:v>
                      </c:pt>
                      <c:pt idx="2751">
                        <c:v>45406.666666666672</c:v>
                      </c:pt>
                      <c:pt idx="2752">
                        <c:v>45406.708333333328</c:v>
                      </c:pt>
                      <c:pt idx="2753">
                        <c:v>45406.75</c:v>
                      </c:pt>
                      <c:pt idx="2754">
                        <c:v>45406.791666666672</c:v>
                      </c:pt>
                      <c:pt idx="2755">
                        <c:v>45406.833333333328</c:v>
                      </c:pt>
                      <c:pt idx="2756">
                        <c:v>45406.875</c:v>
                      </c:pt>
                      <c:pt idx="2757">
                        <c:v>45406.916666666672</c:v>
                      </c:pt>
                      <c:pt idx="2758">
                        <c:v>45406.958333333328</c:v>
                      </c:pt>
                      <c:pt idx="2759">
                        <c:v>45407</c:v>
                      </c:pt>
                      <c:pt idx="2760">
                        <c:v>45407.041666666672</c:v>
                      </c:pt>
                      <c:pt idx="2761">
                        <c:v>45407.083333333328</c:v>
                      </c:pt>
                      <c:pt idx="2762">
                        <c:v>45407.125</c:v>
                      </c:pt>
                      <c:pt idx="2763">
                        <c:v>45407.166666666672</c:v>
                      </c:pt>
                      <c:pt idx="2764">
                        <c:v>45407.208333333328</c:v>
                      </c:pt>
                      <c:pt idx="2765">
                        <c:v>45407.25</c:v>
                      </c:pt>
                      <c:pt idx="2766">
                        <c:v>45407.291666666672</c:v>
                      </c:pt>
                      <c:pt idx="2767">
                        <c:v>45407.333333333328</c:v>
                      </c:pt>
                      <c:pt idx="2768">
                        <c:v>45407.375</c:v>
                      </c:pt>
                      <c:pt idx="2769">
                        <c:v>45407.416666666672</c:v>
                      </c:pt>
                      <c:pt idx="2770">
                        <c:v>45407.458333333328</c:v>
                      </c:pt>
                      <c:pt idx="2771">
                        <c:v>45407.5</c:v>
                      </c:pt>
                      <c:pt idx="2772">
                        <c:v>45407.541666666672</c:v>
                      </c:pt>
                      <c:pt idx="2773">
                        <c:v>45407.583333333328</c:v>
                      </c:pt>
                      <c:pt idx="2774">
                        <c:v>45407.625</c:v>
                      </c:pt>
                      <c:pt idx="2775">
                        <c:v>45407.666666666672</c:v>
                      </c:pt>
                      <c:pt idx="2776">
                        <c:v>45407.708333333328</c:v>
                      </c:pt>
                      <c:pt idx="2777">
                        <c:v>45407.75</c:v>
                      </c:pt>
                      <c:pt idx="2778">
                        <c:v>45407.791666666672</c:v>
                      </c:pt>
                      <c:pt idx="2779">
                        <c:v>45407.833333333328</c:v>
                      </c:pt>
                      <c:pt idx="2780">
                        <c:v>45407.875</c:v>
                      </c:pt>
                      <c:pt idx="2781">
                        <c:v>45407.916666666672</c:v>
                      </c:pt>
                      <c:pt idx="2782">
                        <c:v>45407.958333333328</c:v>
                      </c:pt>
                      <c:pt idx="2783">
                        <c:v>45408</c:v>
                      </c:pt>
                      <c:pt idx="2784">
                        <c:v>45408.041666666672</c:v>
                      </c:pt>
                      <c:pt idx="2785">
                        <c:v>45408.083333333328</c:v>
                      </c:pt>
                      <c:pt idx="2786">
                        <c:v>45408.125</c:v>
                      </c:pt>
                      <c:pt idx="2787">
                        <c:v>45408.166666666672</c:v>
                      </c:pt>
                      <c:pt idx="2788">
                        <c:v>45408.208333333328</c:v>
                      </c:pt>
                      <c:pt idx="2789">
                        <c:v>45408.25</c:v>
                      </c:pt>
                      <c:pt idx="2790">
                        <c:v>45408.291666666672</c:v>
                      </c:pt>
                      <c:pt idx="2791">
                        <c:v>45408.333333333328</c:v>
                      </c:pt>
                      <c:pt idx="2792">
                        <c:v>45408.375</c:v>
                      </c:pt>
                      <c:pt idx="2793">
                        <c:v>45408.416666666672</c:v>
                      </c:pt>
                      <c:pt idx="2794">
                        <c:v>45408.458333333328</c:v>
                      </c:pt>
                      <c:pt idx="2795">
                        <c:v>45408.5</c:v>
                      </c:pt>
                      <c:pt idx="2796">
                        <c:v>45408.541666666672</c:v>
                      </c:pt>
                      <c:pt idx="2797">
                        <c:v>45408.583333333328</c:v>
                      </c:pt>
                      <c:pt idx="2798">
                        <c:v>45408.625</c:v>
                      </c:pt>
                      <c:pt idx="2799">
                        <c:v>45408.666666666672</c:v>
                      </c:pt>
                      <c:pt idx="2800">
                        <c:v>45408.708333333328</c:v>
                      </c:pt>
                      <c:pt idx="2801">
                        <c:v>45408.75</c:v>
                      </c:pt>
                      <c:pt idx="2802">
                        <c:v>45408.791666666672</c:v>
                      </c:pt>
                      <c:pt idx="2803">
                        <c:v>45408.833333333328</c:v>
                      </c:pt>
                      <c:pt idx="2804">
                        <c:v>45408.875</c:v>
                      </c:pt>
                      <c:pt idx="2805">
                        <c:v>45408.916666666672</c:v>
                      </c:pt>
                      <c:pt idx="2806">
                        <c:v>45408.958333333328</c:v>
                      </c:pt>
                      <c:pt idx="2807">
                        <c:v>45409</c:v>
                      </c:pt>
                      <c:pt idx="2808">
                        <c:v>45409.041666666672</c:v>
                      </c:pt>
                      <c:pt idx="2809">
                        <c:v>45409.083333333328</c:v>
                      </c:pt>
                      <c:pt idx="2810">
                        <c:v>45409.125</c:v>
                      </c:pt>
                      <c:pt idx="2811">
                        <c:v>45409.166666666672</c:v>
                      </c:pt>
                      <c:pt idx="2812">
                        <c:v>45409.208333333328</c:v>
                      </c:pt>
                      <c:pt idx="2813">
                        <c:v>45409.25</c:v>
                      </c:pt>
                      <c:pt idx="2814">
                        <c:v>45409.291666666672</c:v>
                      </c:pt>
                      <c:pt idx="2815">
                        <c:v>45409.333333333328</c:v>
                      </c:pt>
                      <c:pt idx="2816">
                        <c:v>45409.375</c:v>
                      </c:pt>
                      <c:pt idx="2817">
                        <c:v>45409.416666666672</c:v>
                      </c:pt>
                      <c:pt idx="2818">
                        <c:v>45409.458333333328</c:v>
                      </c:pt>
                      <c:pt idx="2819">
                        <c:v>45409.5</c:v>
                      </c:pt>
                      <c:pt idx="2820">
                        <c:v>45409.541666666672</c:v>
                      </c:pt>
                      <c:pt idx="2821">
                        <c:v>45409.583333333328</c:v>
                      </c:pt>
                      <c:pt idx="2822">
                        <c:v>45409.625</c:v>
                      </c:pt>
                      <c:pt idx="2823">
                        <c:v>45409.666666666672</c:v>
                      </c:pt>
                      <c:pt idx="2824">
                        <c:v>45409.708333333328</c:v>
                      </c:pt>
                      <c:pt idx="2825">
                        <c:v>45409.75</c:v>
                      </c:pt>
                      <c:pt idx="2826">
                        <c:v>45409.791666666672</c:v>
                      </c:pt>
                      <c:pt idx="2827">
                        <c:v>45409.833333333328</c:v>
                      </c:pt>
                      <c:pt idx="2828">
                        <c:v>45409.875</c:v>
                      </c:pt>
                      <c:pt idx="2829">
                        <c:v>45409.916666666672</c:v>
                      </c:pt>
                      <c:pt idx="2830">
                        <c:v>45409.958333333328</c:v>
                      </c:pt>
                      <c:pt idx="2831">
                        <c:v>45410</c:v>
                      </c:pt>
                      <c:pt idx="2832">
                        <c:v>45410.041666666672</c:v>
                      </c:pt>
                      <c:pt idx="2833">
                        <c:v>45410.083333333328</c:v>
                      </c:pt>
                      <c:pt idx="2834">
                        <c:v>45410.125</c:v>
                      </c:pt>
                      <c:pt idx="2835">
                        <c:v>45410.166666666672</c:v>
                      </c:pt>
                      <c:pt idx="2836">
                        <c:v>45410.208333333328</c:v>
                      </c:pt>
                      <c:pt idx="2837">
                        <c:v>45410.25</c:v>
                      </c:pt>
                      <c:pt idx="2838">
                        <c:v>45410.291666666672</c:v>
                      </c:pt>
                      <c:pt idx="2839">
                        <c:v>45410.333333333328</c:v>
                      </c:pt>
                      <c:pt idx="2840">
                        <c:v>45410.375</c:v>
                      </c:pt>
                      <c:pt idx="2841">
                        <c:v>45410.416666666672</c:v>
                      </c:pt>
                      <c:pt idx="2842">
                        <c:v>45410.458333333328</c:v>
                      </c:pt>
                      <c:pt idx="2843">
                        <c:v>45410.5</c:v>
                      </c:pt>
                      <c:pt idx="2844">
                        <c:v>45410.541666666672</c:v>
                      </c:pt>
                      <c:pt idx="2845">
                        <c:v>45410.583333333328</c:v>
                      </c:pt>
                      <c:pt idx="2846">
                        <c:v>45410.625</c:v>
                      </c:pt>
                      <c:pt idx="2847">
                        <c:v>45410.666666666672</c:v>
                      </c:pt>
                      <c:pt idx="2848">
                        <c:v>45410.708333333328</c:v>
                      </c:pt>
                      <c:pt idx="2849">
                        <c:v>45410.75</c:v>
                      </c:pt>
                      <c:pt idx="2850">
                        <c:v>45410.791666666672</c:v>
                      </c:pt>
                      <c:pt idx="2851">
                        <c:v>45410.833333333328</c:v>
                      </c:pt>
                      <c:pt idx="2852">
                        <c:v>45410.875</c:v>
                      </c:pt>
                      <c:pt idx="2853">
                        <c:v>45410.916666666672</c:v>
                      </c:pt>
                      <c:pt idx="2854">
                        <c:v>45410.958333333328</c:v>
                      </c:pt>
                      <c:pt idx="2855">
                        <c:v>45411</c:v>
                      </c:pt>
                      <c:pt idx="2856">
                        <c:v>45411.041666666672</c:v>
                      </c:pt>
                      <c:pt idx="2857">
                        <c:v>45411.083333333328</c:v>
                      </c:pt>
                      <c:pt idx="2858">
                        <c:v>45411.125</c:v>
                      </c:pt>
                      <c:pt idx="2859">
                        <c:v>45411.166666666672</c:v>
                      </c:pt>
                      <c:pt idx="2860">
                        <c:v>45411.208333333328</c:v>
                      </c:pt>
                      <c:pt idx="2861">
                        <c:v>45411.25</c:v>
                      </c:pt>
                      <c:pt idx="2862">
                        <c:v>45411.291666666672</c:v>
                      </c:pt>
                      <c:pt idx="2863">
                        <c:v>45411.333333333328</c:v>
                      </c:pt>
                      <c:pt idx="2864">
                        <c:v>45411.375</c:v>
                      </c:pt>
                      <c:pt idx="2865">
                        <c:v>45411.416666666672</c:v>
                      </c:pt>
                      <c:pt idx="2866">
                        <c:v>45411.458333333328</c:v>
                      </c:pt>
                      <c:pt idx="2867">
                        <c:v>45411.5</c:v>
                      </c:pt>
                      <c:pt idx="2868">
                        <c:v>45411.541666666672</c:v>
                      </c:pt>
                      <c:pt idx="2869">
                        <c:v>45411.583333333328</c:v>
                      </c:pt>
                      <c:pt idx="2870">
                        <c:v>45411.625</c:v>
                      </c:pt>
                      <c:pt idx="2871">
                        <c:v>45411.666666666672</c:v>
                      </c:pt>
                      <c:pt idx="2872">
                        <c:v>45411.708333333328</c:v>
                      </c:pt>
                      <c:pt idx="2873">
                        <c:v>45411.75</c:v>
                      </c:pt>
                      <c:pt idx="2874">
                        <c:v>45411.791666666672</c:v>
                      </c:pt>
                      <c:pt idx="2875">
                        <c:v>45411.833333333328</c:v>
                      </c:pt>
                      <c:pt idx="2876">
                        <c:v>45411.875</c:v>
                      </c:pt>
                      <c:pt idx="2877">
                        <c:v>45411.916666666672</c:v>
                      </c:pt>
                      <c:pt idx="2878">
                        <c:v>45411.958333333328</c:v>
                      </c:pt>
                      <c:pt idx="2879">
                        <c:v>45412</c:v>
                      </c:pt>
                      <c:pt idx="2880">
                        <c:v>45412.041666666672</c:v>
                      </c:pt>
                      <c:pt idx="2881">
                        <c:v>45412.083333333328</c:v>
                      </c:pt>
                      <c:pt idx="2882">
                        <c:v>45412.125</c:v>
                      </c:pt>
                      <c:pt idx="2883">
                        <c:v>45412.166666666672</c:v>
                      </c:pt>
                      <c:pt idx="2884">
                        <c:v>45412.208333333328</c:v>
                      </c:pt>
                      <c:pt idx="2885">
                        <c:v>45412.25</c:v>
                      </c:pt>
                      <c:pt idx="2886">
                        <c:v>45412.291666666672</c:v>
                      </c:pt>
                      <c:pt idx="2887">
                        <c:v>45412.333333333328</c:v>
                      </c:pt>
                      <c:pt idx="2888">
                        <c:v>45412.375</c:v>
                      </c:pt>
                      <c:pt idx="2889">
                        <c:v>45412.416666666672</c:v>
                      </c:pt>
                      <c:pt idx="2890">
                        <c:v>45412.458333333328</c:v>
                      </c:pt>
                      <c:pt idx="2891">
                        <c:v>45412.5</c:v>
                      </c:pt>
                      <c:pt idx="2892">
                        <c:v>45412.541666666672</c:v>
                      </c:pt>
                      <c:pt idx="2893">
                        <c:v>45412.583333333328</c:v>
                      </c:pt>
                      <c:pt idx="2894">
                        <c:v>45412.625</c:v>
                      </c:pt>
                      <c:pt idx="2895">
                        <c:v>45412.666666666672</c:v>
                      </c:pt>
                      <c:pt idx="2896">
                        <c:v>45412.708333333328</c:v>
                      </c:pt>
                      <c:pt idx="2897">
                        <c:v>45412.75</c:v>
                      </c:pt>
                      <c:pt idx="2898">
                        <c:v>45412.791666666672</c:v>
                      </c:pt>
                      <c:pt idx="2899">
                        <c:v>45412.833333333328</c:v>
                      </c:pt>
                      <c:pt idx="2900">
                        <c:v>45412.875</c:v>
                      </c:pt>
                      <c:pt idx="2901">
                        <c:v>45412.916666666672</c:v>
                      </c:pt>
                      <c:pt idx="2902">
                        <c:v>45412.958333333328</c:v>
                      </c:pt>
                      <c:pt idx="2903">
                        <c:v>45413</c:v>
                      </c:pt>
                      <c:pt idx="2904">
                        <c:v>45413.041666666672</c:v>
                      </c:pt>
                      <c:pt idx="2905">
                        <c:v>45413.083333333328</c:v>
                      </c:pt>
                      <c:pt idx="2906">
                        <c:v>45413.125</c:v>
                      </c:pt>
                      <c:pt idx="2907">
                        <c:v>45413.166666666672</c:v>
                      </c:pt>
                      <c:pt idx="2908">
                        <c:v>45413.208333333328</c:v>
                      </c:pt>
                      <c:pt idx="2909">
                        <c:v>45413.25</c:v>
                      </c:pt>
                      <c:pt idx="2910">
                        <c:v>45413.291666666672</c:v>
                      </c:pt>
                      <c:pt idx="2911">
                        <c:v>45413.333333333328</c:v>
                      </c:pt>
                      <c:pt idx="2912">
                        <c:v>45413.375</c:v>
                      </c:pt>
                      <c:pt idx="2913">
                        <c:v>45413.416666666672</c:v>
                      </c:pt>
                      <c:pt idx="2914">
                        <c:v>45413.458333333328</c:v>
                      </c:pt>
                      <c:pt idx="2915">
                        <c:v>45413.5</c:v>
                      </c:pt>
                      <c:pt idx="2916">
                        <c:v>45413.541666666672</c:v>
                      </c:pt>
                      <c:pt idx="2917">
                        <c:v>45413.583333333328</c:v>
                      </c:pt>
                      <c:pt idx="2918">
                        <c:v>45413.625</c:v>
                      </c:pt>
                      <c:pt idx="2919">
                        <c:v>45413.666666666672</c:v>
                      </c:pt>
                      <c:pt idx="2920">
                        <c:v>45413.708333333328</c:v>
                      </c:pt>
                      <c:pt idx="2921">
                        <c:v>45413.75</c:v>
                      </c:pt>
                      <c:pt idx="2922">
                        <c:v>45413.791666666672</c:v>
                      </c:pt>
                      <c:pt idx="2923">
                        <c:v>45413.833333333328</c:v>
                      </c:pt>
                      <c:pt idx="2924">
                        <c:v>45413.875</c:v>
                      </c:pt>
                      <c:pt idx="2925">
                        <c:v>45413.916666666672</c:v>
                      </c:pt>
                      <c:pt idx="2926">
                        <c:v>45413.958333333328</c:v>
                      </c:pt>
                      <c:pt idx="2927">
                        <c:v>45414</c:v>
                      </c:pt>
                      <c:pt idx="2928">
                        <c:v>45414.041666666672</c:v>
                      </c:pt>
                      <c:pt idx="2929">
                        <c:v>45414.083333333328</c:v>
                      </c:pt>
                      <c:pt idx="2930">
                        <c:v>45414.125</c:v>
                      </c:pt>
                      <c:pt idx="2931">
                        <c:v>45414.166666666672</c:v>
                      </c:pt>
                      <c:pt idx="2932">
                        <c:v>45414.208333333328</c:v>
                      </c:pt>
                      <c:pt idx="2933">
                        <c:v>45414.25</c:v>
                      </c:pt>
                      <c:pt idx="2934">
                        <c:v>45414.291666666672</c:v>
                      </c:pt>
                      <c:pt idx="2935">
                        <c:v>45414.333333333328</c:v>
                      </c:pt>
                      <c:pt idx="2936">
                        <c:v>45414.375</c:v>
                      </c:pt>
                      <c:pt idx="2937">
                        <c:v>45414.416666666672</c:v>
                      </c:pt>
                      <c:pt idx="2938">
                        <c:v>45414.458333333328</c:v>
                      </c:pt>
                      <c:pt idx="2939">
                        <c:v>45414.5</c:v>
                      </c:pt>
                      <c:pt idx="2940">
                        <c:v>45414.541666666672</c:v>
                      </c:pt>
                      <c:pt idx="2941">
                        <c:v>45414.583333333328</c:v>
                      </c:pt>
                      <c:pt idx="2942">
                        <c:v>45414.625</c:v>
                      </c:pt>
                      <c:pt idx="2943">
                        <c:v>45414.666666666672</c:v>
                      </c:pt>
                      <c:pt idx="2944">
                        <c:v>45414.708333333328</c:v>
                      </c:pt>
                      <c:pt idx="2945">
                        <c:v>45414.75</c:v>
                      </c:pt>
                      <c:pt idx="2946">
                        <c:v>45414.791666666672</c:v>
                      </c:pt>
                      <c:pt idx="2947">
                        <c:v>45414.833333333328</c:v>
                      </c:pt>
                      <c:pt idx="2948">
                        <c:v>45414.875</c:v>
                      </c:pt>
                      <c:pt idx="2949">
                        <c:v>45414.916666666672</c:v>
                      </c:pt>
                      <c:pt idx="2950">
                        <c:v>45414.958333333328</c:v>
                      </c:pt>
                      <c:pt idx="2951">
                        <c:v>45415</c:v>
                      </c:pt>
                      <c:pt idx="2952">
                        <c:v>45415.041666666672</c:v>
                      </c:pt>
                      <c:pt idx="2953">
                        <c:v>45415.083333333328</c:v>
                      </c:pt>
                      <c:pt idx="2954">
                        <c:v>45415.125</c:v>
                      </c:pt>
                      <c:pt idx="2955">
                        <c:v>45415.166666666672</c:v>
                      </c:pt>
                      <c:pt idx="2956">
                        <c:v>45415.208333333328</c:v>
                      </c:pt>
                      <c:pt idx="2957">
                        <c:v>45415.25</c:v>
                      </c:pt>
                      <c:pt idx="2958">
                        <c:v>45415.291666666672</c:v>
                      </c:pt>
                      <c:pt idx="2959">
                        <c:v>45415.333333333328</c:v>
                      </c:pt>
                      <c:pt idx="2960">
                        <c:v>45415.375</c:v>
                      </c:pt>
                      <c:pt idx="2961">
                        <c:v>45415.416666666672</c:v>
                      </c:pt>
                      <c:pt idx="2962">
                        <c:v>45415.458333333328</c:v>
                      </c:pt>
                      <c:pt idx="2963">
                        <c:v>45415.5</c:v>
                      </c:pt>
                      <c:pt idx="2964">
                        <c:v>45415.541666666672</c:v>
                      </c:pt>
                      <c:pt idx="2965">
                        <c:v>45415.583333333328</c:v>
                      </c:pt>
                      <c:pt idx="2966">
                        <c:v>45415.625</c:v>
                      </c:pt>
                      <c:pt idx="2967">
                        <c:v>45415.666666666672</c:v>
                      </c:pt>
                      <c:pt idx="2968">
                        <c:v>45415.708333333328</c:v>
                      </c:pt>
                      <c:pt idx="2969">
                        <c:v>45415.75</c:v>
                      </c:pt>
                      <c:pt idx="2970">
                        <c:v>45415.791666666672</c:v>
                      </c:pt>
                      <c:pt idx="2971">
                        <c:v>45415.833333333328</c:v>
                      </c:pt>
                      <c:pt idx="2972">
                        <c:v>45415.875</c:v>
                      </c:pt>
                      <c:pt idx="2973">
                        <c:v>45415.916666666672</c:v>
                      </c:pt>
                      <c:pt idx="2974">
                        <c:v>45415.958333333328</c:v>
                      </c:pt>
                      <c:pt idx="2975">
                        <c:v>45416</c:v>
                      </c:pt>
                      <c:pt idx="2976">
                        <c:v>45416.041666666672</c:v>
                      </c:pt>
                      <c:pt idx="2977">
                        <c:v>45416.083333333328</c:v>
                      </c:pt>
                      <c:pt idx="2978">
                        <c:v>45416.125</c:v>
                      </c:pt>
                      <c:pt idx="2979">
                        <c:v>45416.166666666672</c:v>
                      </c:pt>
                      <c:pt idx="2980">
                        <c:v>45416.208333333328</c:v>
                      </c:pt>
                      <c:pt idx="2981">
                        <c:v>45416.25</c:v>
                      </c:pt>
                      <c:pt idx="2982">
                        <c:v>45416.291666666672</c:v>
                      </c:pt>
                      <c:pt idx="2983">
                        <c:v>45416.333333333328</c:v>
                      </c:pt>
                      <c:pt idx="2984">
                        <c:v>45416.375</c:v>
                      </c:pt>
                      <c:pt idx="2985">
                        <c:v>45416.416666666672</c:v>
                      </c:pt>
                      <c:pt idx="2986">
                        <c:v>45416.458333333328</c:v>
                      </c:pt>
                      <c:pt idx="2987">
                        <c:v>45416.5</c:v>
                      </c:pt>
                      <c:pt idx="2988">
                        <c:v>45416.541666666672</c:v>
                      </c:pt>
                      <c:pt idx="2989">
                        <c:v>45416.583333333328</c:v>
                      </c:pt>
                      <c:pt idx="2990">
                        <c:v>45416.625</c:v>
                      </c:pt>
                      <c:pt idx="2991">
                        <c:v>45416.666666666672</c:v>
                      </c:pt>
                      <c:pt idx="2992">
                        <c:v>45416.708333333328</c:v>
                      </c:pt>
                      <c:pt idx="2993">
                        <c:v>45416.75</c:v>
                      </c:pt>
                      <c:pt idx="2994">
                        <c:v>45416.791666666672</c:v>
                      </c:pt>
                      <c:pt idx="2995">
                        <c:v>45416.833333333328</c:v>
                      </c:pt>
                      <c:pt idx="2996">
                        <c:v>45416.875</c:v>
                      </c:pt>
                      <c:pt idx="2997">
                        <c:v>45416.916666666672</c:v>
                      </c:pt>
                      <c:pt idx="2998">
                        <c:v>45416.958333333328</c:v>
                      </c:pt>
                      <c:pt idx="2999">
                        <c:v>45417</c:v>
                      </c:pt>
                      <c:pt idx="3000">
                        <c:v>45417.041666666672</c:v>
                      </c:pt>
                      <c:pt idx="3001">
                        <c:v>45417.083333333328</c:v>
                      </c:pt>
                      <c:pt idx="3002">
                        <c:v>45417.125</c:v>
                      </c:pt>
                      <c:pt idx="3003">
                        <c:v>45417.166666666672</c:v>
                      </c:pt>
                      <c:pt idx="3004">
                        <c:v>45417.208333333328</c:v>
                      </c:pt>
                      <c:pt idx="3005">
                        <c:v>45417.25</c:v>
                      </c:pt>
                      <c:pt idx="3006">
                        <c:v>45417.291666666672</c:v>
                      </c:pt>
                      <c:pt idx="3007">
                        <c:v>45417.333333333328</c:v>
                      </c:pt>
                      <c:pt idx="3008">
                        <c:v>45417.375</c:v>
                      </c:pt>
                      <c:pt idx="3009">
                        <c:v>45417.416666666672</c:v>
                      </c:pt>
                      <c:pt idx="3010">
                        <c:v>45417.458333333328</c:v>
                      </c:pt>
                      <c:pt idx="3011">
                        <c:v>45417.5</c:v>
                      </c:pt>
                      <c:pt idx="3012">
                        <c:v>45417.541666666672</c:v>
                      </c:pt>
                      <c:pt idx="3013">
                        <c:v>45417.583333333328</c:v>
                      </c:pt>
                      <c:pt idx="3014">
                        <c:v>45417.625</c:v>
                      </c:pt>
                      <c:pt idx="3015">
                        <c:v>45417.666666666672</c:v>
                      </c:pt>
                      <c:pt idx="3016">
                        <c:v>45417.708333333328</c:v>
                      </c:pt>
                      <c:pt idx="3017">
                        <c:v>45417.75</c:v>
                      </c:pt>
                      <c:pt idx="3018">
                        <c:v>45417.791666666672</c:v>
                      </c:pt>
                      <c:pt idx="3019">
                        <c:v>45417.833333333328</c:v>
                      </c:pt>
                      <c:pt idx="3020">
                        <c:v>45417.875</c:v>
                      </c:pt>
                      <c:pt idx="3021">
                        <c:v>45417.916666666672</c:v>
                      </c:pt>
                      <c:pt idx="3022">
                        <c:v>45417.958333333328</c:v>
                      </c:pt>
                      <c:pt idx="3023">
                        <c:v>45418</c:v>
                      </c:pt>
                      <c:pt idx="3024">
                        <c:v>45418.041666666672</c:v>
                      </c:pt>
                      <c:pt idx="3025">
                        <c:v>45418.083333333328</c:v>
                      </c:pt>
                      <c:pt idx="3026">
                        <c:v>45418.125</c:v>
                      </c:pt>
                      <c:pt idx="3027">
                        <c:v>45418.166666666672</c:v>
                      </c:pt>
                      <c:pt idx="3028">
                        <c:v>45418.208333333328</c:v>
                      </c:pt>
                      <c:pt idx="3029">
                        <c:v>45418.25</c:v>
                      </c:pt>
                      <c:pt idx="3030">
                        <c:v>45418.291666666672</c:v>
                      </c:pt>
                      <c:pt idx="3031">
                        <c:v>45418.333333333328</c:v>
                      </c:pt>
                      <c:pt idx="3032">
                        <c:v>45418.375</c:v>
                      </c:pt>
                      <c:pt idx="3033">
                        <c:v>45418.416666666672</c:v>
                      </c:pt>
                      <c:pt idx="3034">
                        <c:v>45418.458333333328</c:v>
                      </c:pt>
                      <c:pt idx="3035">
                        <c:v>45418.5</c:v>
                      </c:pt>
                      <c:pt idx="3036">
                        <c:v>45418.541666666672</c:v>
                      </c:pt>
                      <c:pt idx="3037">
                        <c:v>45418.583333333328</c:v>
                      </c:pt>
                      <c:pt idx="3038">
                        <c:v>45418.625</c:v>
                      </c:pt>
                      <c:pt idx="3039">
                        <c:v>45418.666666666672</c:v>
                      </c:pt>
                      <c:pt idx="3040">
                        <c:v>45418.708333333328</c:v>
                      </c:pt>
                      <c:pt idx="3041">
                        <c:v>45418.75</c:v>
                      </c:pt>
                      <c:pt idx="3042">
                        <c:v>45418.791666666672</c:v>
                      </c:pt>
                      <c:pt idx="3043">
                        <c:v>45418.833333333328</c:v>
                      </c:pt>
                      <c:pt idx="3044">
                        <c:v>45418.875</c:v>
                      </c:pt>
                      <c:pt idx="3045">
                        <c:v>45418.916666666672</c:v>
                      </c:pt>
                      <c:pt idx="3046">
                        <c:v>45418.958333333328</c:v>
                      </c:pt>
                      <c:pt idx="3047">
                        <c:v>45419</c:v>
                      </c:pt>
                      <c:pt idx="3048">
                        <c:v>45419.041666666672</c:v>
                      </c:pt>
                      <c:pt idx="3049">
                        <c:v>45419.083333333328</c:v>
                      </c:pt>
                      <c:pt idx="3050">
                        <c:v>45419.125</c:v>
                      </c:pt>
                      <c:pt idx="3051">
                        <c:v>45419.166666666672</c:v>
                      </c:pt>
                      <c:pt idx="3052">
                        <c:v>45419.208333333328</c:v>
                      </c:pt>
                      <c:pt idx="3053">
                        <c:v>45419.25</c:v>
                      </c:pt>
                      <c:pt idx="3054">
                        <c:v>45419.291666666672</c:v>
                      </c:pt>
                      <c:pt idx="3055">
                        <c:v>45419.333333333328</c:v>
                      </c:pt>
                      <c:pt idx="3056">
                        <c:v>45419.375</c:v>
                      </c:pt>
                      <c:pt idx="3057">
                        <c:v>45419.416666666672</c:v>
                      </c:pt>
                      <c:pt idx="3058">
                        <c:v>45419.458333333328</c:v>
                      </c:pt>
                      <c:pt idx="3059">
                        <c:v>45419.5</c:v>
                      </c:pt>
                      <c:pt idx="3060">
                        <c:v>45419.541666666672</c:v>
                      </c:pt>
                      <c:pt idx="3061">
                        <c:v>45419.583333333328</c:v>
                      </c:pt>
                      <c:pt idx="3062">
                        <c:v>45419.625</c:v>
                      </c:pt>
                      <c:pt idx="3063">
                        <c:v>45419.666666666672</c:v>
                      </c:pt>
                      <c:pt idx="3064">
                        <c:v>45419.708333333328</c:v>
                      </c:pt>
                      <c:pt idx="3065">
                        <c:v>45419.75</c:v>
                      </c:pt>
                      <c:pt idx="3066">
                        <c:v>45419.791666666672</c:v>
                      </c:pt>
                      <c:pt idx="3067">
                        <c:v>45419.833333333328</c:v>
                      </c:pt>
                      <c:pt idx="3068">
                        <c:v>45419.875</c:v>
                      </c:pt>
                      <c:pt idx="3069">
                        <c:v>45419.916666666672</c:v>
                      </c:pt>
                      <c:pt idx="3070">
                        <c:v>45419.958333333328</c:v>
                      </c:pt>
                      <c:pt idx="3071">
                        <c:v>45420</c:v>
                      </c:pt>
                      <c:pt idx="3072">
                        <c:v>45420.041666666672</c:v>
                      </c:pt>
                      <c:pt idx="3073">
                        <c:v>45420.083333333328</c:v>
                      </c:pt>
                      <c:pt idx="3074">
                        <c:v>45420.125</c:v>
                      </c:pt>
                      <c:pt idx="3075">
                        <c:v>45420.166666666672</c:v>
                      </c:pt>
                      <c:pt idx="3076">
                        <c:v>45420.208333333328</c:v>
                      </c:pt>
                      <c:pt idx="3077">
                        <c:v>45420.25</c:v>
                      </c:pt>
                      <c:pt idx="3078">
                        <c:v>45420.291666666672</c:v>
                      </c:pt>
                      <c:pt idx="3079">
                        <c:v>45420.333333333328</c:v>
                      </c:pt>
                      <c:pt idx="3080">
                        <c:v>45420.375</c:v>
                      </c:pt>
                      <c:pt idx="3081">
                        <c:v>45420.416666666672</c:v>
                      </c:pt>
                      <c:pt idx="3082">
                        <c:v>45420.458333333328</c:v>
                      </c:pt>
                      <c:pt idx="3083">
                        <c:v>45420.5</c:v>
                      </c:pt>
                      <c:pt idx="3084">
                        <c:v>45420.541666666672</c:v>
                      </c:pt>
                      <c:pt idx="3085">
                        <c:v>45420.583333333328</c:v>
                      </c:pt>
                      <c:pt idx="3086">
                        <c:v>45420.625</c:v>
                      </c:pt>
                      <c:pt idx="3087">
                        <c:v>45420.666666666672</c:v>
                      </c:pt>
                      <c:pt idx="3088">
                        <c:v>45420.708333333328</c:v>
                      </c:pt>
                      <c:pt idx="3089">
                        <c:v>45420.75</c:v>
                      </c:pt>
                      <c:pt idx="3090">
                        <c:v>45420.791666666672</c:v>
                      </c:pt>
                      <c:pt idx="3091">
                        <c:v>45420.833333333328</c:v>
                      </c:pt>
                      <c:pt idx="3092">
                        <c:v>45420.875</c:v>
                      </c:pt>
                      <c:pt idx="3093">
                        <c:v>45420.916666666672</c:v>
                      </c:pt>
                      <c:pt idx="3094">
                        <c:v>45420.958333333328</c:v>
                      </c:pt>
                      <c:pt idx="3095">
                        <c:v>45421</c:v>
                      </c:pt>
                      <c:pt idx="3096">
                        <c:v>45421.041666666672</c:v>
                      </c:pt>
                      <c:pt idx="3097">
                        <c:v>45421.083333333328</c:v>
                      </c:pt>
                      <c:pt idx="3098">
                        <c:v>45421.125</c:v>
                      </c:pt>
                      <c:pt idx="3099">
                        <c:v>45421.166666666672</c:v>
                      </c:pt>
                      <c:pt idx="3100">
                        <c:v>45421.208333333328</c:v>
                      </c:pt>
                      <c:pt idx="3101">
                        <c:v>45421.25</c:v>
                      </c:pt>
                      <c:pt idx="3102">
                        <c:v>45421.291666666672</c:v>
                      </c:pt>
                      <c:pt idx="3103">
                        <c:v>45421.333333333328</c:v>
                      </c:pt>
                      <c:pt idx="3104">
                        <c:v>45421.375</c:v>
                      </c:pt>
                      <c:pt idx="3105">
                        <c:v>45421.416666666672</c:v>
                      </c:pt>
                      <c:pt idx="3106">
                        <c:v>45421.458333333328</c:v>
                      </c:pt>
                      <c:pt idx="3107">
                        <c:v>45421.5</c:v>
                      </c:pt>
                      <c:pt idx="3108">
                        <c:v>45421.541666666672</c:v>
                      </c:pt>
                      <c:pt idx="3109">
                        <c:v>45421.583333333328</c:v>
                      </c:pt>
                      <c:pt idx="3110">
                        <c:v>45421.625</c:v>
                      </c:pt>
                      <c:pt idx="3111">
                        <c:v>45421.666666666672</c:v>
                      </c:pt>
                      <c:pt idx="3112">
                        <c:v>45421.708333333328</c:v>
                      </c:pt>
                      <c:pt idx="3113">
                        <c:v>45421.75</c:v>
                      </c:pt>
                      <c:pt idx="3114">
                        <c:v>45421.791666666672</c:v>
                      </c:pt>
                      <c:pt idx="3115">
                        <c:v>45421.833333333328</c:v>
                      </c:pt>
                      <c:pt idx="3116">
                        <c:v>45421.875</c:v>
                      </c:pt>
                      <c:pt idx="3117">
                        <c:v>45421.916666666672</c:v>
                      </c:pt>
                      <c:pt idx="3118">
                        <c:v>45421.958333333328</c:v>
                      </c:pt>
                      <c:pt idx="3119">
                        <c:v>45422</c:v>
                      </c:pt>
                      <c:pt idx="3120">
                        <c:v>45422.041666666672</c:v>
                      </c:pt>
                      <c:pt idx="3121">
                        <c:v>45422.083333333328</c:v>
                      </c:pt>
                      <c:pt idx="3122">
                        <c:v>45422.125</c:v>
                      </c:pt>
                      <c:pt idx="3123">
                        <c:v>45422.166666666672</c:v>
                      </c:pt>
                      <c:pt idx="3124">
                        <c:v>45422.208333333328</c:v>
                      </c:pt>
                      <c:pt idx="3125">
                        <c:v>45422.25</c:v>
                      </c:pt>
                      <c:pt idx="3126">
                        <c:v>45422.291666666672</c:v>
                      </c:pt>
                      <c:pt idx="3127">
                        <c:v>45422.333333333328</c:v>
                      </c:pt>
                      <c:pt idx="3128">
                        <c:v>45422.375</c:v>
                      </c:pt>
                      <c:pt idx="3129">
                        <c:v>45422.416666666672</c:v>
                      </c:pt>
                      <c:pt idx="3130">
                        <c:v>45422.458333333328</c:v>
                      </c:pt>
                      <c:pt idx="3131">
                        <c:v>45422.5</c:v>
                      </c:pt>
                      <c:pt idx="3132">
                        <c:v>45422.541666666672</c:v>
                      </c:pt>
                      <c:pt idx="3133">
                        <c:v>45422.583333333328</c:v>
                      </c:pt>
                      <c:pt idx="3134">
                        <c:v>45422.625</c:v>
                      </c:pt>
                      <c:pt idx="3135">
                        <c:v>45422.666666666672</c:v>
                      </c:pt>
                      <c:pt idx="3136">
                        <c:v>45422.708333333328</c:v>
                      </c:pt>
                      <c:pt idx="3137">
                        <c:v>45422.75</c:v>
                      </c:pt>
                      <c:pt idx="3138">
                        <c:v>45422.791666666672</c:v>
                      </c:pt>
                      <c:pt idx="3139">
                        <c:v>45422.833333333328</c:v>
                      </c:pt>
                      <c:pt idx="3140">
                        <c:v>45422.875</c:v>
                      </c:pt>
                      <c:pt idx="3141">
                        <c:v>45422.916666666672</c:v>
                      </c:pt>
                      <c:pt idx="3142">
                        <c:v>45422.958333333328</c:v>
                      </c:pt>
                      <c:pt idx="3143">
                        <c:v>45423</c:v>
                      </c:pt>
                      <c:pt idx="3144">
                        <c:v>45423.041666666672</c:v>
                      </c:pt>
                      <c:pt idx="3145">
                        <c:v>45423.083333333328</c:v>
                      </c:pt>
                      <c:pt idx="3146">
                        <c:v>45423.125</c:v>
                      </c:pt>
                      <c:pt idx="3147">
                        <c:v>45423.166666666672</c:v>
                      </c:pt>
                      <c:pt idx="3148">
                        <c:v>45423.208333333328</c:v>
                      </c:pt>
                      <c:pt idx="3149">
                        <c:v>45423.25</c:v>
                      </c:pt>
                      <c:pt idx="3150">
                        <c:v>45423.291666666672</c:v>
                      </c:pt>
                      <c:pt idx="3151">
                        <c:v>45423.333333333328</c:v>
                      </c:pt>
                      <c:pt idx="3152">
                        <c:v>45423.375</c:v>
                      </c:pt>
                      <c:pt idx="3153">
                        <c:v>45423.416666666672</c:v>
                      </c:pt>
                      <c:pt idx="3154">
                        <c:v>45423.458333333328</c:v>
                      </c:pt>
                      <c:pt idx="3155">
                        <c:v>45423.5</c:v>
                      </c:pt>
                      <c:pt idx="3156">
                        <c:v>45423.541666666672</c:v>
                      </c:pt>
                      <c:pt idx="3157">
                        <c:v>45423.583333333328</c:v>
                      </c:pt>
                      <c:pt idx="3158">
                        <c:v>45423.625</c:v>
                      </c:pt>
                      <c:pt idx="3159">
                        <c:v>45423.666666666672</c:v>
                      </c:pt>
                      <c:pt idx="3160">
                        <c:v>45423.708333333328</c:v>
                      </c:pt>
                      <c:pt idx="3161">
                        <c:v>45423.75</c:v>
                      </c:pt>
                      <c:pt idx="3162">
                        <c:v>45423.791666666672</c:v>
                      </c:pt>
                      <c:pt idx="3163">
                        <c:v>45423.833333333328</c:v>
                      </c:pt>
                      <c:pt idx="3164">
                        <c:v>45423.875</c:v>
                      </c:pt>
                      <c:pt idx="3165">
                        <c:v>45423.916666666672</c:v>
                      </c:pt>
                      <c:pt idx="3166">
                        <c:v>45423.958333333328</c:v>
                      </c:pt>
                      <c:pt idx="3167">
                        <c:v>45424</c:v>
                      </c:pt>
                      <c:pt idx="3168">
                        <c:v>45424.041666666672</c:v>
                      </c:pt>
                      <c:pt idx="3169">
                        <c:v>45424.083333333328</c:v>
                      </c:pt>
                      <c:pt idx="3170">
                        <c:v>45424.125</c:v>
                      </c:pt>
                      <c:pt idx="3171">
                        <c:v>45424.166666666672</c:v>
                      </c:pt>
                      <c:pt idx="3172">
                        <c:v>45424.208333333328</c:v>
                      </c:pt>
                      <c:pt idx="3173">
                        <c:v>45424.25</c:v>
                      </c:pt>
                      <c:pt idx="3174">
                        <c:v>45424.291666666672</c:v>
                      </c:pt>
                      <c:pt idx="3175">
                        <c:v>45424.333333333328</c:v>
                      </c:pt>
                      <c:pt idx="3176">
                        <c:v>45424.375</c:v>
                      </c:pt>
                      <c:pt idx="3177">
                        <c:v>45424.416666666672</c:v>
                      </c:pt>
                      <c:pt idx="3178">
                        <c:v>45424.458333333328</c:v>
                      </c:pt>
                      <c:pt idx="3179">
                        <c:v>45424.5</c:v>
                      </c:pt>
                      <c:pt idx="3180">
                        <c:v>45424.541666666672</c:v>
                      </c:pt>
                      <c:pt idx="3181">
                        <c:v>45424.583333333328</c:v>
                      </c:pt>
                      <c:pt idx="3182">
                        <c:v>45424.625</c:v>
                      </c:pt>
                      <c:pt idx="3183">
                        <c:v>45424.666666666672</c:v>
                      </c:pt>
                      <c:pt idx="3184">
                        <c:v>45424.708333333328</c:v>
                      </c:pt>
                      <c:pt idx="3185">
                        <c:v>45424.75</c:v>
                      </c:pt>
                      <c:pt idx="3186">
                        <c:v>45424.791666666672</c:v>
                      </c:pt>
                      <c:pt idx="3187">
                        <c:v>45424.833333333328</c:v>
                      </c:pt>
                      <c:pt idx="3188">
                        <c:v>45424.875</c:v>
                      </c:pt>
                      <c:pt idx="3189">
                        <c:v>45424.916666666672</c:v>
                      </c:pt>
                      <c:pt idx="3190">
                        <c:v>45424.958333333328</c:v>
                      </c:pt>
                      <c:pt idx="3191">
                        <c:v>45425</c:v>
                      </c:pt>
                      <c:pt idx="3192">
                        <c:v>45425.041666666672</c:v>
                      </c:pt>
                      <c:pt idx="3193">
                        <c:v>45425.083333333328</c:v>
                      </c:pt>
                      <c:pt idx="3194">
                        <c:v>45425.125</c:v>
                      </c:pt>
                      <c:pt idx="3195">
                        <c:v>45425.166666666672</c:v>
                      </c:pt>
                      <c:pt idx="3196">
                        <c:v>45425.208333333328</c:v>
                      </c:pt>
                      <c:pt idx="3197">
                        <c:v>45425.25</c:v>
                      </c:pt>
                      <c:pt idx="3198">
                        <c:v>45425.291666666672</c:v>
                      </c:pt>
                      <c:pt idx="3199">
                        <c:v>45425.333333333328</c:v>
                      </c:pt>
                      <c:pt idx="3200">
                        <c:v>45425.375</c:v>
                      </c:pt>
                      <c:pt idx="3201">
                        <c:v>45425.416666666672</c:v>
                      </c:pt>
                      <c:pt idx="3202">
                        <c:v>45425.458333333328</c:v>
                      </c:pt>
                      <c:pt idx="3203">
                        <c:v>45425.5</c:v>
                      </c:pt>
                      <c:pt idx="3204">
                        <c:v>45425.541666666672</c:v>
                      </c:pt>
                      <c:pt idx="3205">
                        <c:v>45425.583333333328</c:v>
                      </c:pt>
                      <c:pt idx="3206">
                        <c:v>45425.625</c:v>
                      </c:pt>
                      <c:pt idx="3207">
                        <c:v>45425.666666666672</c:v>
                      </c:pt>
                      <c:pt idx="3208">
                        <c:v>45425.708333333328</c:v>
                      </c:pt>
                      <c:pt idx="3209">
                        <c:v>45425.75</c:v>
                      </c:pt>
                      <c:pt idx="3210">
                        <c:v>45425.791666666672</c:v>
                      </c:pt>
                      <c:pt idx="3211">
                        <c:v>45425.833333333328</c:v>
                      </c:pt>
                      <c:pt idx="3212">
                        <c:v>45425.875</c:v>
                      </c:pt>
                      <c:pt idx="3213">
                        <c:v>45425.916666666672</c:v>
                      </c:pt>
                      <c:pt idx="3214">
                        <c:v>45425.958333333328</c:v>
                      </c:pt>
                      <c:pt idx="3215">
                        <c:v>45426</c:v>
                      </c:pt>
                      <c:pt idx="3216">
                        <c:v>45426.041666666672</c:v>
                      </c:pt>
                      <c:pt idx="3217">
                        <c:v>45426.083333333328</c:v>
                      </c:pt>
                      <c:pt idx="3218">
                        <c:v>45426.125</c:v>
                      </c:pt>
                      <c:pt idx="3219">
                        <c:v>45426.166666666672</c:v>
                      </c:pt>
                      <c:pt idx="3220">
                        <c:v>45426.208333333328</c:v>
                      </c:pt>
                      <c:pt idx="3221">
                        <c:v>45426.25</c:v>
                      </c:pt>
                      <c:pt idx="3222">
                        <c:v>45426.291666666672</c:v>
                      </c:pt>
                      <c:pt idx="3223">
                        <c:v>45426.333333333328</c:v>
                      </c:pt>
                      <c:pt idx="3224">
                        <c:v>45426.375</c:v>
                      </c:pt>
                      <c:pt idx="3225">
                        <c:v>45426.416666666672</c:v>
                      </c:pt>
                      <c:pt idx="3226">
                        <c:v>45426.458333333328</c:v>
                      </c:pt>
                      <c:pt idx="3227">
                        <c:v>45426.5</c:v>
                      </c:pt>
                      <c:pt idx="3228">
                        <c:v>45426.541666666672</c:v>
                      </c:pt>
                      <c:pt idx="3229">
                        <c:v>45426.583333333328</c:v>
                      </c:pt>
                      <c:pt idx="3230">
                        <c:v>45426.625</c:v>
                      </c:pt>
                      <c:pt idx="3231">
                        <c:v>45426.666666666672</c:v>
                      </c:pt>
                      <c:pt idx="3232">
                        <c:v>45426.708333333328</c:v>
                      </c:pt>
                      <c:pt idx="3233">
                        <c:v>45426.75</c:v>
                      </c:pt>
                      <c:pt idx="3234">
                        <c:v>45426.791666666672</c:v>
                      </c:pt>
                      <c:pt idx="3235">
                        <c:v>45426.833333333328</c:v>
                      </c:pt>
                      <c:pt idx="3236">
                        <c:v>45426.875</c:v>
                      </c:pt>
                      <c:pt idx="3237">
                        <c:v>45426.916666666672</c:v>
                      </c:pt>
                      <c:pt idx="3238">
                        <c:v>45426.958333333328</c:v>
                      </c:pt>
                      <c:pt idx="3239">
                        <c:v>45427</c:v>
                      </c:pt>
                      <c:pt idx="3240">
                        <c:v>45427.041666666672</c:v>
                      </c:pt>
                      <c:pt idx="3241">
                        <c:v>45427.083333333328</c:v>
                      </c:pt>
                      <c:pt idx="3242">
                        <c:v>45427.125</c:v>
                      </c:pt>
                      <c:pt idx="3243">
                        <c:v>45427.166666666672</c:v>
                      </c:pt>
                      <c:pt idx="3244">
                        <c:v>45427.208333333328</c:v>
                      </c:pt>
                      <c:pt idx="3245">
                        <c:v>45427.25</c:v>
                      </c:pt>
                      <c:pt idx="3246">
                        <c:v>45427.291666666672</c:v>
                      </c:pt>
                      <c:pt idx="3247">
                        <c:v>45427.333333333328</c:v>
                      </c:pt>
                      <c:pt idx="3248">
                        <c:v>45427.375</c:v>
                      </c:pt>
                      <c:pt idx="3249">
                        <c:v>45427.416666666672</c:v>
                      </c:pt>
                      <c:pt idx="3250">
                        <c:v>45427.458333333328</c:v>
                      </c:pt>
                      <c:pt idx="3251">
                        <c:v>45427.5</c:v>
                      </c:pt>
                      <c:pt idx="3252">
                        <c:v>45427.541666666672</c:v>
                      </c:pt>
                      <c:pt idx="3253">
                        <c:v>45427.583333333328</c:v>
                      </c:pt>
                      <c:pt idx="3254">
                        <c:v>45427.625</c:v>
                      </c:pt>
                      <c:pt idx="3255">
                        <c:v>45427.666666666672</c:v>
                      </c:pt>
                      <c:pt idx="3256">
                        <c:v>45427.708333333328</c:v>
                      </c:pt>
                      <c:pt idx="3257">
                        <c:v>45427.75</c:v>
                      </c:pt>
                      <c:pt idx="3258">
                        <c:v>45427.791666666672</c:v>
                      </c:pt>
                      <c:pt idx="3259">
                        <c:v>45427.833333333328</c:v>
                      </c:pt>
                      <c:pt idx="3260">
                        <c:v>45427.875</c:v>
                      </c:pt>
                      <c:pt idx="3261">
                        <c:v>45427.916666666672</c:v>
                      </c:pt>
                      <c:pt idx="3262">
                        <c:v>45427.958333333328</c:v>
                      </c:pt>
                      <c:pt idx="3263">
                        <c:v>45428</c:v>
                      </c:pt>
                      <c:pt idx="3264">
                        <c:v>45428.041666666672</c:v>
                      </c:pt>
                      <c:pt idx="3265">
                        <c:v>45428.083333333328</c:v>
                      </c:pt>
                      <c:pt idx="3266">
                        <c:v>45428.125</c:v>
                      </c:pt>
                      <c:pt idx="3267">
                        <c:v>45428.166666666672</c:v>
                      </c:pt>
                      <c:pt idx="3268">
                        <c:v>45428.208333333328</c:v>
                      </c:pt>
                      <c:pt idx="3269">
                        <c:v>45428.25</c:v>
                      </c:pt>
                      <c:pt idx="3270">
                        <c:v>45428.291666666672</c:v>
                      </c:pt>
                      <c:pt idx="3271">
                        <c:v>45428.333333333328</c:v>
                      </c:pt>
                      <c:pt idx="3272">
                        <c:v>45428.375</c:v>
                      </c:pt>
                      <c:pt idx="3273">
                        <c:v>45428.416666666672</c:v>
                      </c:pt>
                      <c:pt idx="3274">
                        <c:v>45428.458333333328</c:v>
                      </c:pt>
                      <c:pt idx="3275">
                        <c:v>45428.5</c:v>
                      </c:pt>
                      <c:pt idx="3276">
                        <c:v>45428.541666666672</c:v>
                      </c:pt>
                      <c:pt idx="3277">
                        <c:v>45428.583333333328</c:v>
                      </c:pt>
                      <c:pt idx="3278">
                        <c:v>45428.625</c:v>
                      </c:pt>
                      <c:pt idx="3279">
                        <c:v>45428.666666666672</c:v>
                      </c:pt>
                      <c:pt idx="3280">
                        <c:v>45428.708333333328</c:v>
                      </c:pt>
                      <c:pt idx="3281">
                        <c:v>45428.75</c:v>
                      </c:pt>
                      <c:pt idx="3282">
                        <c:v>45428.791666666672</c:v>
                      </c:pt>
                      <c:pt idx="3283">
                        <c:v>45428.833333333328</c:v>
                      </c:pt>
                      <c:pt idx="3284">
                        <c:v>45428.875</c:v>
                      </c:pt>
                      <c:pt idx="3285">
                        <c:v>45428.916666666672</c:v>
                      </c:pt>
                      <c:pt idx="3286">
                        <c:v>45428.958333333328</c:v>
                      </c:pt>
                      <c:pt idx="3287">
                        <c:v>45429</c:v>
                      </c:pt>
                      <c:pt idx="3288">
                        <c:v>45429.041666666672</c:v>
                      </c:pt>
                      <c:pt idx="3289">
                        <c:v>45429.083333333328</c:v>
                      </c:pt>
                      <c:pt idx="3290">
                        <c:v>45429.125</c:v>
                      </c:pt>
                      <c:pt idx="3291">
                        <c:v>45429.166666666672</c:v>
                      </c:pt>
                      <c:pt idx="3292">
                        <c:v>45429.208333333328</c:v>
                      </c:pt>
                      <c:pt idx="3293">
                        <c:v>45429.25</c:v>
                      </c:pt>
                      <c:pt idx="3294">
                        <c:v>45429.291666666672</c:v>
                      </c:pt>
                      <c:pt idx="3295">
                        <c:v>45429.333333333328</c:v>
                      </c:pt>
                      <c:pt idx="3296">
                        <c:v>45429.375</c:v>
                      </c:pt>
                      <c:pt idx="3297">
                        <c:v>45429.416666666672</c:v>
                      </c:pt>
                      <c:pt idx="3298">
                        <c:v>45429.458333333328</c:v>
                      </c:pt>
                      <c:pt idx="3299">
                        <c:v>45429.5</c:v>
                      </c:pt>
                      <c:pt idx="3300">
                        <c:v>45429.541666666672</c:v>
                      </c:pt>
                      <c:pt idx="3301">
                        <c:v>45429.583333333328</c:v>
                      </c:pt>
                      <c:pt idx="3302">
                        <c:v>45429.625</c:v>
                      </c:pt>
                      <c:pt idx="3303">
                        <c:v>45429.666666666672</c:v>
                      </c:pt>
                      <c:pt idx="3304">
                        <c:v>45429.708333333328</c:v>
                      </c:pt>
                      <c:pt idx="3305">
                        <c:v>45429.75</c:v>
                      </c:pt>
                      <c:pt idx="3306">
                        <c:v>45429.791666666672</c:v>
                      </c:pt>
                      <c:pt idx="3307">
                        <c:v>45429.833333333328</c:v>
                      </c:pt>
                      <c:pt idx="3308">
                        <c:v>45429.875</c:v>
                      </c:pt>
                      <c:pt idx="3309">
                        <c:v>45429.916666666672</c:v>
                      </c:pt>
                      <c:pt idx="3310">
                        <c:v>45429.958333333328</c:v>
                      </c:pt>
                      <c:pt idx="3311">
                        <c:v>45430</c:v>
                      </c:pt>
                      <c:pt idx="3312">
                        <c:v>45430.041666666672</c:v>
                      </c:pt>
                      <c:pt idx="3313">
                        <c:v>45430.083333333328</c:v>
                      </c:pt>
                      <c:pt idx="3314">
                        <c:v>45430.125</c:v>
                      </c:pt>
                      <c:pt idx="3315">
                        <c:v>45430.166666666672</c:v>
                      </c:pt>
                      <c:pt idx="3316">
                        <c:v>45430.208333333328</c:v>
                      </c:pt>
                      <c:pt idx="3317">
                        <c:v>45430.25</c:v>
                      </c:pt>
                      <c:pt idx="3318">
                        <c:v>45430.291666666672</c:v>
                      </c:pt>
                      <c:pt idx="3319">
                        <c:v>45430.333333333328</c:v>
                      </c:pt>
                      <c:pt idx="3320">
                        <c:v>45430.375</c:v>
                      </c:pt>
                      <c:pt idx="3321">
                        <c:v>45430.416666666672</c:v>
                      </c:pt>
                      <c:pt idx="3322">
                        <c:v>45430.458333333328</c:v>
                      </c:pt>
                      <c:pt idx="3323">
                        <c:v>45430.5</c:v>
                      </c:pt>
                      <c:pt idx="3324">
                        <c:v>45430.541666666672</c:v>
                      </c:pt>
                      <c:pt idx="3325">
                        <c:v>45430.583333333328</c:v>
                      </c:pt>
                      <c:pt idx="3326">
                        <c:v>45430.625</c:v>
                      </c:pt>
                      <c:pt idx="3327">
                        <c:v>45430.666666666672</c:v>
                      </c:pt>
                      <c:pt idx="3328">
                        <c:v>45430.708333333328</c:v>
                      </c:pt>
                      <c:pt idx="3329">
                        <c:v>45430.75</c:v>
                      </c:pt>
                      <c:pt idx="3330">
                        <c:v>45430.791666666672</c:v>
                      </c:pt>
                      <c:pt idx="3331">
                        <c:v>45430.833333333328</c:v>
                      </c:pt>
                      <c:pt idx="3332">
                        <c:v>45430.875</c:v>
                      </c:pt>
                      <c:pt idx="3333">
                        <c:v>45430.916666666672</c:v>
                      </c:pt>
                      <c:pt idx="3334">
                        <c:v>45430.958333333328</c:v>
                      </c:pt>
                      <c:pt idx="3335">
                        <c:v>45431</c:v>
                      </c:pt>
                      <c:pt idx="3336">
                        <c:v>45431.041666666672</c:v>
                      </c:pt>
                      <c:pt idx="3337">
                        <c:v>45431.083333333328</c:v>
                      </c:pt>
                      <c:pt idx="3338">
                        <c:v>45431.125</c:v>
                      </c:pt>
                      <c:pt idx="3339">
                        <c:v>45431.166666666672</c:v>
                      </c:pt>
                      <c:pt idx="3340">
                        <c:v>45431.208333333328</c:v>
                      </c:pt>
                      <c:pt idx="3341">
                        <c:v>45431.25</c:v>
                      </c:pt>
                      <c:pt idx="3342">
                        <c:v>45431.291666666672</c:v>
                      </c:pt>
                      <c:pt idx="3343">
                        <c:v>45431.333333333328</c:v>
                      </c:pt>
                      <c:pt idx="3344">
                        <c:v>45431.375</c:v>
                      </c:pt>
                      <c:pt idx="3345">
                        <c:v>45431.416666666672</c:v>
                      </c:pt>
                      <c:pt idx="3346">
                        <c:v>45431.458333333328</c:v>
                      </c:pt>
                      <c:pt idx="3347">
                        <c:v>45431.5</c:v>
                      </c:pt>
                      <c:pt idx="3348">
                        <c:v>45431.541666666672</c:v>
                      </c:pt>
                      <c:pt idx="3349">
                        <c:v>45431.583333333328</c:v>
                      </c:pt>
                      <c:pt idx="3350">
                        <c:v>45431.625</c:v>
                      </c:pt>
                      <c:pt idx="3351">
                        <c:v>45431.666666666672</c:v>
                      </c:pt>
                      <c:pt idx="3352">
                        <c:v>45431.708333333328</c:v>
                      </c:pt>
                      <c:pt idx="3353">
                        <c:v>45431.75</c:v>
                      </c:pt>
                      <c:pt idx="3354">
                        <c:v>45431.791666666672</c:v>
                      </c:pt>
                      <c:pt idx="3355">
                        <c:v>45431.833333333328</c:v>
                      </c:pt>
                      <c:pt idx="3356">
                        <c:v>45431.875</c:v>
                      </c:pt>
                      <c:pt idx="3357">
                        <c:v>45431.916666666672</c:v>
                      </c:pt>
                      <c:pt idx="3358">
                        <c:v>45431.958333333328</c:v>
                      </c:pt>
                      <c:pt idx="3359">
                        <c:v>45432</c:v>
                      </c:pt>
                      <c:pt idx="3360">
                        <c:v>45432.041666666672</c:v>
                      </c:pt>
                      <c:pt idx="3361">
                        <c:v>45432.083333333328</c:v>
                      </c:pt>
                      <c:pt idx="3362">
                        <c:v>45432.125</c:v>
                      </c:pt>
                      <c:pt idx="3363">
                        <c:v>45432.166666666672</c:v>
                      </c:pt>
                      <c:pt idx="3364">
                        <c:v>45432.208333333328</c:v>
                      </c:pt>
                      <c:pt idx="3365">
                        <c:v>45432.25</c:v>
                      </c:pt>
                      <c:pt idx="3366">
                        <c:v>45432.291666666672</c:v>
                      </c:pt>
                      <c:pt idx="3367">
                        <c:v>45432.333333333328</c:v>
                      </c:pt>
                      <c:pt idx="3368">
                        <c:v>45432.375</c:v>
                      </c:pt>
                      <c:pt idx="3369">
                        <c:v>45432.416666666672</c:v>
                      </c:pt>
                      <c:pt idx="3370">
                        <c:v>45432.458333333328</c:v>
                      </c:pt>
                      <c:pt idx="3371">
                        <c:v>45432.5</c:v>
                      </c:pt>
                      <c:pt idx="3372">
                        <c:v>45432.541666666672</c:v>
                      </c:pt>
                      <c:pt idx="3373">
                        <c:v>45432.583333333328</c:v>
                      </c:pt>
                      <c:pt idx="3374">
                        <c:v>45432.625</c:v>
                      </c:pt>
                      <c:pt idx="3375">
                        <c:v>45432.666666666672</c:v>
                      </c:pt>
                      <c:pt idx="3376">
                        <c:v>45432.708333333328</c:v>
                      </c:pt>
                      <c:pt idx="3377">
                        <c:v>45432.75</c:v>
                      </c:pt>
                      <c:pt idx="3378">
                        <c:v>45432.791666666672</c:v>
                      </c:pt>
                      <c:pt idx="3379">
                        <c:v>45432.833333333328</c:v>
                      </c:pt>
                      <c:pt idx="3380">
                        <c:v>45432.875</c:v>
                      </c:pt>
                      <c:pt idx="3381">
                        <c:v>45432.916666666672</c:v>
                      </c:pt>
                      <c:pt idx="3382">
                        <c:v>45432.958333333328</c:v>
                      </c:pt>
                      <c:pt idx="3383">
                        <c:v>45433</c:v>
                      </c:pt>
                      <c:pt idx="3384">
                        <c:v>45433.041666666672</c:v>
                      </c:pt>
                      <c:pt idx="3385">
                        <c:v>45433.083333333328</c:v>
                      </c:pt>
                      <c:pt idx="3386">
                        <c:v>45433.125</c:v>
                      </c:pt>
                      <c:pt idx="3387">
                        <c:v>45433.166666666672</c:v>
                      </c:pt>
                      <c:pt idx="3388">
                        <c:v>45433.208333333328</c:v>
                      </c:pt>
                      <c:pt idx="3389">
                        <c:v>45433.25</c:v>
                      </c:pt>
                      <c:pt idx="3390">
                        <c:v>45433.291666666672</c:v>
                      </c:pt>
                      <c:pt idx="3391">
                        <c:v>45433.333333333328</c:v>
                      </c:pt>
                      <c:pt idx="3392">
                        <c:v>45433.375</c:v>
                      </c:pt>
                      <c:pt idx="3393">
                        <c:v>45433.416666666672</c:v>
                      </c:pt>
                      <c:pt idx="3394">
                        <c:v>45433.458333333328</c:v>
                      </c:pt>
                      <c:pt idx="3395">
                        <c:v>45433.5</c:v>
                      </c:pt>
                      <c:pt idx="3396">
                        <c:v>45433.541666666672</c:v>
                      </c:pt>
                      <c:pt idx="3397">
                        <c:v>45433.583333333328</c:v>
                      </c:pt>
                      <c:pt idx="3398">
                        <c:v>45433.625</c:v>
                      </c:pt>
                      <c:pt idx="3399">
                        <c:v>45433.666666666672</c:v>
                      </c:pt>
                      <c:pt idx="3400">
                        <c:v>45433.708333333328</c:v>
                      </c:pt>
                      <c:pt idx="3401">
                        <c:v>45433.75</c:v>
                      </c:pt>
                      <c:pt idx="3402">
                        <c:v>45433.791666666672</c:v>
                      </c:pt>
                      <c:pt idx="3403">
                        <c:v>45433.833333333328</c:v>
                      </c:pt>
                      <c:pt idx="3404">
                        <c:v>45433.875</c:v>
                      </c:pt>
                      <c:pt idx="3405">
                        <c:v>45433.916666666672</c:v>
                      </c:pt>
                      <c:pt idx="3406">
                        <c:v>45433.958333333328</c:v>
                      </c:pt>
                      <c:pt idx="3407">
                        <c:v>45434</c:v>
                      </c:pt>
                      <c:pt idx="3408">
                        <c:v>45434.041666666672</c:v>
                      </c:pt>
                      <c:pt idx="3409">
                        <c:v>45434.083333333328</c:v>
                      </c:pt>
                      <c:pt idx="3410">
                        <c:v>45434.125</c:v>
                      </c:pt>
                      <c:pt idx="3411">
                        <c:v>45434.166666666672</c:v>
                      </c:pt>
                      <c:pt idx="3412">
                        <c:v>45434.208333333328</c:v>
                      </c:pt>
                      <c:pt idx="3413">
                        <c:v>45434.25</c:v>
                      </c:pt>
                      <c:pt idx="3414">
                        <c:v>45434.291666666672</c:v>
                      </c:pt>
                      <c:pt idx="3415">
                        <c:v>45434.333333333328</c:v>
                      </c:pt>
                      <c:pt idx="3416">
                        <c:v>45434.375</c:v>
                      </c:pt>
                      <c:pt idx="3417">
                        <c:v>45434.416666666672</c:v>
                      </c:pt>
                      <c:pt idx="3418">
                        <c:v>45434.458333333328</c:v>
                      </c:pt>
                      <c:pt idx="3419">
                        <c:v>45434.5</c:v>
                      </c:pt>
                      <c:pt idx="3420">
                        <c:v>45434.541666666672</c:v>
                      </c:pt>
                      <c:pt idx="3421">
                        <c:v>45434.583333333328</c:v>
                      </c:pt>
                      <c:pt idx="3422">
                        <c:v>45434.625</c:v>
                      </c:pt>
                      <c:pt idx="3423">
                        <c:v>45434.666666666672</c:v>
                      </c:pt>
                      <c:pt idx="3424">
                        <c:v>45434.708333333328</c:v>
                      </c:pt>
                      <c:pt idx="3425">
                        <c:v>45434.75</c:v>
                      </c:pt>
                      <c:pt idx="3426">
                        <c:v>45434.791666666672</c:v>
                      </c:pt>
                      <c:pt idx="3427">
                        <c:v>45434.833333333328</c:v>
                      </c:pt>
                      <c:pt idx="3428">
                        <c:v>45434.875</c:v>
                      </c:pt>
                      <c:pt idx="3429">
                        <c:v>45434.916666666672</c:v>
                      </c:pt>
                      <c:pt idx="3430">
                        <c:v>45434.958333333328</c:v>
                      </c:pt>
                      <c:pt idx="3431">
                        <c:v>45435</c:v>
                      </c:pt>
                      <c:pt idx="3432">
                        <c:v>45435.041666666672</c:v>
                      </c:pt>
                      <c:pt idx="3433">
                        <c:v>45435.083333333328</c:v>
                      </c:pt>
                      <c:pt idx="3434">
                        <c:v>45435.125</c:v>
                      </c:pt>
                      <c:pt idx="3435">
                        <c:v>45435.166666666672</c:v>
                      </c:pt>
                      <c:pt idx="3436">
                        <c:v>45435.208333333328</c:v>
                      </c:pt>
                      <c:pt idx="3437">
                        <c:v>45435.25</c:v>
                      </c:pt>
                      <c:pt idx="3438">
                        <c:v>45435.291666666672</c:v>
                      </c:pt>
                      <c:pt idx="3439">
                        <c:v>45435.333333333328</c:v>
                      </c:pt>
                      <c:pt idx="3440">
                        <c:v>45435.375</c:v>
                      </c:pt>
                      <c:pt idx="3441">
                        <c:v>45435.416666666672</c:v>
                      </c:pt>
                      <c:pt idx="3442">
                        <c:v>45435.458333333328</c:v>
                      </c:pt>
                      <c:pt idx="3443">
                        <c:v>45435.5</c:v>
                      </c:pt>
                      <c:pt idx="3444">
                        <c:v>45435.541666666672</c:v>
                      </c:pt>
                      <c:pt idx="3445">
                        <c:v>45435.583333333328</c:v>
                      </c:pt>
                      <c:pt idx="3446">
                        <c:v>45435.625</c:v>
                      </c:pt>
                      <c:pt idx="3447">
                        <c:v>45435.666666666672</c:v>
                      </c:pt>
                      <c:pt idx="3448">
                        <c:v>45435.708333333328</c:v>
                      </c:pt>
                      <c:pt idx="3449">
                        <c:v>45435.75</c:v>
                      </c:pt>
                      <c:pt idx="3450">
                        <c:v>45435.791666666672</c:v>
                      </c:pt>
                      <c:pt idx="3451">
                        <c:v>45435.833333333328</c:v>
                      </c:pt>
                      <c:pt idx="3452">
                        <c:v>45435.875</c:v>
                      </c:pt>
                      <c:pt idx="3453">
                        <c:v>45435.916666666672</c:v>
                      </c:pt>
                      <c:pt idx="3454">
                        <c:v>45435.958333333328</c:v>
                      </c:pt>
                      <c:pt idx="3455">
                        <c:v>45436</c:v>
                      </c:pt>
                      <c:pt idx="3456">
                        <c:v>45436.041666666672</c:v>
                      </c:pt>
                      <c:pt idx="3457">
                        <c:v>45436.083333333328</c:v>
                      </c:pt>
                      <c:pt idx="3458">
                        <c:v>45436.125</c:v>
                      </c:pt>
                      <c:pt idx="3459">
                        <c:v>45436.166666666672</c:v>
                      </c:pt>
                      <c:pt idx="3460">
                        <c:v>45436.208333333328</c:v>
                      </c:pt>
                      <c:pt idx="3461">
                        <c:v>45436.25</c:v>
                      </c:pt>
                      <c:pt idx="3462">
                        <c:v>45436.291666666672</c:v>
                      </c:pt>
                      <c:pt idx="3463">
                        <c:v>45436.333333333328</c:v>
                      </c:pt>
                      <c:pt idx="3464">
                        <c:v>45436.375</c:v>
                      </c:pt>
                      <c:pt idx="3465">
                        <c:v>45436.416666666672</c:v>
                      </c:pt>
                      <c:pt idx="3466">
                        <c:v>45436.458333333328</c:v>
                      </c:pt>
                      <c:pt idx="3467">
                        <c:v>45436.5</c:v>
                      </c:pt>
                      <c:pt idx="3468">
                        <c:v>45436.541666666672</c:v>
                      </c:pt>
                      <c:pt idx="3469">
                        <c:v>45436.583333333328</c:v>
                      </c:pt>
                      <c:pt idx="3470">
                        <c:v>45436.625</c:v>
                      </c:pt>
                      <c:pt idx="3471">
                        <c:v>45436.666666666672</c:v>
                      </c:pt>
                      <c:pt idx="3472">
                        <c:v>45436.708333333328</c:v>
                      </c:pt>
                      <c:pt idx="3473">
                        <c:v>45436.75</c:v>
                      </c:pt>
                      <c:pt idx="3474">
                        <c:v>45436.791666666672</c:v>
                      </c:pt>
                      <c:pt idx="3475">
                        <c:v>45436.833333333328</c:v>
                      </c:pt>
                      <c:pt idx="3476">
                        <c:v>45436.875</c:v>
                      </c:pt>
                      <c:pt idx="3477">
                        <c:v>45436.916666666672</c:v>
                      </c:pt>
                      <c:pt idx="3478">
                        <c:v>45436.958333333328</c:v>
                      </c:pt>
                      <c:pt idx="3479">
                        <c:v>45437</c:v>
                      </c:pt>
                      <c:pt idx="3480">
                        <c:v>45437.041666666672</c:v>
                      </c:pt>
                      <c:pt idx="3481">
                        <c:v>45437.083333333328</c:v>
                      </c:pt>
                      <c:pt idx="3482">
                        <c:v>45437.125</c:v>
                      </c:pt>
                      <c:pt idx="3483">
                        <c:v>45437.166666666672</c:v>
                      </c:pt>
                      <c:pt idx="3484">
                        <c:v>45437.208333333328</c:v>
                      </c:pt>
                      <c:pt idx="3485">
                        <c:v>45437.25</c:v>
                      </c:pt>
                      <c:pt idx="3486">
                        <c:v>45437.291666666672</c:v>
                      </c:pt>
                      <c:pt idx="3487">
                        <c:v>45437.333333333328</c:v>
                      </c:pt>
                      <c:pt idx="3488">
                        <c:v>45437.375</c:v>
                      </c:pt>
                      <c:pt idx="3489">
                        <c:v>45437.416666666672</c:v>
                      </c:pt>
                      <c:pt idx="3490">
                        <c:v>45437.458333333328</c:v>
                      </c:pt>
                      <c:pt idx="3491">
                        <c:v>45437.5</c:v>
                      </c:pt>
                      <c:pt idx="3492">
                        <c:v>45437.541666666672</c:v>
                      </c:pt>
                      <c:pt idx="3493">
                        <c:v>45437.583333333328</c:v>
                      </c:pt>
                      <c:pt idx="3494">
                        <c:v>45437.625</c:v>
                      </c:pt>
                      <c:pt idx="3495">
                        <c:v>45437.666666666672</c:v>
                      </c:pt>
                      <c:pt idx="3496">
                        <c:v>45437.708333333328</c:v>
                      </c:pt>
                      <c:pt idx="3497">
                        <c:v>45437.75</c:v>
                      </c:pt>
                      <c:pt idx="3498">
                        <c:v>45437.791666666672</c:v>
                      </c:pt>
                      <c:pt idx="3499">
                        <c:v>45437.833333333328</c:v>
                      </c:pt>
                      <c:pt idx="3500">
                        <c:v>45437.875</c:v>
                      </c:pt>
                      <c:pt idx="3501">
                        <c:v>45437.916666666672</c:v>
                      </c:pt>
                      <c:pt idx="3502">
                        <c:v>45437.958333333328</c:v>
                      </c:pt>
                      <c:pt idx="3503">
                        <c:v>45438</c:v>
                      </c:pt>
                      <c:pt idx="3504">
                        <c:v>45438.041666666672</c:v>
                      </c:pt>
                      <c:pt idx="3505">
                        <c:v>45438.083333333328</c:v>
                      </c:pt>
                      <c:pt idx="3506">
                        <c:v>45438.125</c:v>
                      </c:pt>
                      <c:pt idx="3507">
                        <c:v>45438.166666666672</c:v>
                      </c:pt>
                      <c:pt idx="3508">
                        <c:v>45438.208333333328</c:v>
                      </c:pt>
                      <c:pt idx="3509">
                        <c:v>45438.25</c:v>
                      </c:pt>
                      <c:pt idx="3510">
                        <c:v>45438.291666666672</c:v>
                      </c:pt>
                      <c:pt idx="3511">
                        <c:v>45438.333333333328</c:v>
                      </c:pt>
                      <c:pt idx="3512">
                        <c:v>45438.375</c:v>
                      </c:pt>
                      <c:pt idx="3513">
                        <c:v>45438.416666666672</c:v>
                      </c:pt>
                      <c:pt idx="3514">
                        <c:v>45438.458333333328</c:v>
                      </c:pt>
                      <c:pt idx="3515">
                        <c:v>45438.5</c:v>
                      </c:pt>
                      <c:pt idx="3516">
                        <c:v>45438.541666666672</c:v>
                      </c:pt>
                      <c:pt idx="3517">
                        <c:v>45438.583333333328</c:v>
                      </c:pt>
                      <c:pt idx="3518">
                        <c:v>45438.625</c:v>
                      </c:pt>
                      <c:pt idx="3519">
                        <c:v>45438.666666666672</c:v>
                      </c:pt>
                      <c:pt idx="3520">
                        <c:v>45438.708333333328</c:v>
                      </c:pt>
                      <c:pt idx="3521">
                        <c:v>45438.75</c:v>
                      </c:pt>
                      <c:pt idx="3522">
                        <c:v>45438.791666666672</c:v>
                      </c:pt>
                      <c:pt idx="3523">
                        <c:v>45438.833333333328</c:v>
                      </c:pt>
                      <c:pt idx="3524">
                        <c:v>45438.875</c:v>
                      </c:pt>
                      <c:pt idx="3525">
                        <c:v>45438.916666666672</c:v>
                      </c:pt>
                      <c:pt idx="3526">
                        <c:v>45438.958333333328</c:v>
                      </c:pt>
                      <c:pt idx="3527">
                        <c:v>45439</c:v>
                      </c:pt>
                      <c:pt idx="3528">
                        <c:v>45439.041666666672</c:v>
                      </c:pt>
                      <c:pt idx="3529">
                        <c:v>45439.083333333328</c:v>
                      </c:pt>
                      <c:pt idx="3530">
                        <c:v>45439.125</c:v>
                      </c:pt>
                      <c:pt idx="3531">
                        <c:v>45439.166666666672</c:v>
                      </c:pt>
                      <c:pt idx="3532">
                        <c:v>45439.208333333328</c:v>
                      </c:pt>
                      <c:pt idx="3533">
                        <c:v>45439.25</c:v>
                      </c:pt>
                      <c:pt idx="3534">
                        <c:v>45439.291666666672</c:v>
                      </c:pt>
                      <c:pt idx="3535">
                        <c:v>45439.333333333328</c:v>
                      </c:pt>
                      <c:pt idx="3536">
                        <c:v>45439.375</c:v>
                      </c:pt>
                      <c:pt idx="3537">
                        <c:v>45439.416666666672</c:v>
                      </c:pt>
                      <c:pt idx="3538">
                        <c:v>45439.458333333328</c:v>
                      </c:pt>
                      <c:pt idx="3539">
                        <c:v>45439.5</c:v>
                      </c:pt>
                      <c:pt idx="3540">
                        <c:v>45439.541666666672</c:v>
                      </c:pt>
                      <c:pt idx="3541">
                        <c:v>45439.583333333328</c:v>
                      </c:pt>
                      <c:pt idx="3542">
                        <c:v>45439.625</c:v>
                      </c:pt>
                      <c:pt idx="3543">
                        <c:v>45439.666666666672</c:v>
                      </c:pt>
                      <c:pt idx="3544">
                        <c:v>45439.708333333328</c:v>
                      </c:pt>
                      <c:pt idx="3545">
                        <c:v>45439.75</c:v>
                      </c:pt>
                      <c:pt idx="3546">
                        <c:v>45439.791666666672</c:v>
                      </c:pt>
                      <c:pt idx="3547">
                        <c:v>45439.833333333328</c:v>
                      </c:pt>
                      <c:pt idx="3548">
                        <c:v>45439.875</c:v>
                      </c:pt>
                      <c:pt idx="3549">
                        <c:v>45439.916666666672</c:v>
                      </c:pt>
                      <c:pt idx="3550">
                        <c:v>45439.958333333328</c:v>
                      </c:pt>
                      <c:pt idx="3551">
                        <c:v>45440</c:v>
                      </c:pt>
                      <c:pt idx="3552">
                        <c:v>45440.041666666672</c:v>
                      </c:pt>
                      <c:pt idx="3553">
                        <c:v>45440.083333333328</c:v>
                      </c:pt>
                      <c:pt idx="3554">
                        <c:v>45440.125</c:v>
                      </c:pt>
                      <c:pt idx="3555">
                        <c:v>45440.166666666672</c:v>
                      </c:pt>
                      <c:pt idx="3556">
                        <c:v>45440.208333333328</c:v>
                      </c:pt>
                      <c:pt idx="3557">
                        <c:v>45440.25</c:v>
                      </c:pt>
                      <c:pt idx="3558">
                        <c:v>45440.291666666672</c:v>
                      </c:pt>
                      <c:pt idx="3559">
                        <c:v>45440.333333333328</c:v>
                      </c:pt>
                      <c:pt idx="3560">
                        <c:v>45440.375</c:v>
                      </c:pt>
                      <c:pt idx="3561">
                        <c:v>45440.416666666672</c:v>
                      </c:pt>
                      <c:pt idx="3562">
                        <c:v>45440.458333333328</c:v>
                      </c:pt>
                      <c:pt idx="3563">
                        <c:v>45440.5</c:v>
                      </c:pt>
                      <c:pt idx="3564">
                        <c:v>45440.541666666672</c:v>
                      </c:pt>
                      <c:pt idx="3565">
                        <c:v>45440.583333333328</c:v>
                      </c:pt>
                      <c:pt idx="3566">
                        <c:v>45440.625</c:v>
                      </c:pt>
                      <c:pt idx="3567">
                        <c:v>45440.666666666672</c:v>
                      </c:pt>
                      <c:pt idx="3568">
                        <c:v>45440.708333333328</c:v>
                      </c:pt>
                      <c:pt idx="3569">
                        <c:v>45440.75</c:v>
                      </c:pt>
                      <c:pt idx="3570">
                        <c:v>45440.791666666672</c:v>
                      </c:pt>
                      <c:pt idx="3571">
                        <c:v>45440.833333333328</c:v>
                      </c:pt>
                      <c:pt idx="3572">
                        <c:v>45440.875</c:v>
                      </c:pt>
                      <c:pt idx="3573">
                        <c:v>45440.916666666672</c:v>
                      </c:pt>
                      <c:pt idx="3574">
                        <c:v>45440.958333333328</c:v>
                      </c:pt>
                      <c:pt idx="3575">
                        <c:v>45441</c:v>
                      </c:pt>
                      <c:pt idx="3576">
                        <c:v>45441.041666666672</c:v>
                      </c:pt>
                      <c:pt idx="3577">
                        <c:v>45441.083333333328</c:v>
                      </c:pt>
                      <c:pt idx="3578">
                        <c:v>45441.125</c:v>
                      </c:pt>
                      <c:pt idx="3579">
                        <c:v>45441.166666666672</c:v>
                      </c:pt>
                      <c:pt idx="3580">
                        <c:v>45441.208333333328</c:v>
                      </c:pt>
                      <c:pt idx="3581">
                        <c:v>45441.25</c:v>
                      </c:pt>
                      <c:pt idx="3582">
                        <c:v>45441.291666666672</c:v>
                      </c:pt>
                      <c:pt idx="3583">
                        <c:v>45441.333333333328</c:v>
                      </c:pt>
                      <c:pt idx="3584">
                        <c:v>45441.375</c:v>
                      </c:pt>
                      <c:pt idx="3585">
                        <c:v>45441.416666666672</c:v>
                      </c:pt>
                      <c:pt idx="3586">
                        <c:v>45441.458333333328</c:v>
                      </c:pt>
                      <c:pt idx="3587">
                        <c:v>45441.5</c:v>
                      </c:pt>
                      <c:pt idx="3588">
                        <c:v>45441.541666666672</c:v>
                      </c:pt>
                      <c:pt idx="3589">
                        <c:v>45441.583333333328</c:v>
                      </c:pt>
                      <c:pt idx="3590">
                        <c:v>45441.625</c:v>
                      </c:pt>
                      <c:pt idx="3591">
                        <c:v>45441.666666666672</c:v>
                      </c:pt>
                      <c:pt idx="3592">
                        <c:v>45441.708333333328</c:v>
                      </c:pt>
                      <c:pt idx="3593">
                        <c:v>45441.75</c:v>
                      </c:pt>
                      <c:pt idx="3594">
                        <c:v>45441.791666666672</c:v>
                      </c:pt>
                      <c:pt idx="3595">
                        <c:v>45441.833333333328</c:v>
                      </c:pt>
                      <c:pt idx="3596">
                        <c:v>45441.875</c:v>
                      </c:pt>
                      <c:pt idx="3597">
                        <c:v>45441.916666666672</c:v>
                      </c:pt>
                      <c:pt idx="3598">
                        <c:v>45441.958333333328</c:v>
                      </c:pt>
                      <c:pt idx="3599">
                        <c:v>45442</c:v>
                      </c:pt>
                      <c:pt idx="3600">
                        <c:v>45442.041666666672</c:v>
                      </c:pt>
                      <c:pt idx="3601">
                        <c:v>45442.083333333328</c:v>
                      </c:pt>
                      <c:pt idx="3602">
                        <c:v>45442.125</c:v>
                      </c:pt>
                      <c:pt idx="3603">
                        <c:v>45442.166666666672</c:v>
                      </c:pt>
                      <c:pt idx="3604">
                        <c:v>45442.208333333328</c:v>
                      </c:pt>
                      <c:pt idx="3605">
                        <c:v>45442.25</c:v>
                      </c:pt>
                      <c:pt idx="3606">
                        <c:v>45442.291666666672</c:v>
                      </c:pt>
                      <c:pt idx="3607">
                        <c:v>45442.333333333328</c:v>
                      </c:pt>
                      <c:pt idx="3608">
                        <c:v>45442.375</c:v>
                      </c:pt>
                      <c:pt idx="3609">
                        <c:v>45442.416666666672</c:v>
                      </c:pt>
                      <c:pt idx="3610">
                        <c:v>45442.458333333328</c:v>
                      </c:pt>
                      <c:pt idx="3611">
                        <c:v>45442.5</c:v>
                      </c:pt>
                      <c:pt idx="3612">
                        <c:v>45442.541666666672</c:v>
                      </c:pt>
                      <c:pt idx="3613">
                        <c:v>45442.583333333328</c:v>
                      </c:pt>
                      <c:pt idx="3614">
                        <c:v>45442.625</c:v>
                      </c:pt>
                      <c:pt idx="3615">
                        <c:v>45442.666666666672</c:v>
                      </c:pt>
                      <c:pt idx="3616">
                        <c:v>45442.708333333328</c:v>
                      </c:pt>
                      <c:pt idx="3617">
                        <c:v>45442.75</c:v>
                      </c:pt>
                      <c:pt idx="3618">
                        <c:v>45442.791666666672</c:v>
                      </c:pt>
                      <c:pt idx="3619">
                        <c:v>45442.833333333328</c:v>
                      </c:pt>
                      <c:pt idx="3620">
                        <c:v>45442.875</c:v>
                      </c:pt>
                      <c:pt idx="3621">
                        <c:v>45442.916666666672</c:v>
                      </c:pt>
                      <c:pt idx="3622">
                        <c:v>45442.958333333328</c:v>
                      </c:pt>
                      <c:pt idx="3623">
                        <c:v>45443</c:v>
                      </c:pt>
                      <c:pt idx="3624">
                        <c:v>45443.041666666672</c:v>
                      </c:pt>
                      <c:pt idx="3625">
                        <c:v>45443.083333333328</c:v>
                      </c:pt>
                      <c:pt idx="3626">
                        <c:v>45443.125</c:v>
                      </c:pt>
                      <c:pt idx="3627">
                        <c:v>45443.166666666672</c:v>
                      </c:pt>
                      <c:pt idx="3628">
                        <c:v>45443.208333333328</c:v>
                      </c:pt>
                      <c:pt idx="3629">
                        <c:v>45443.25</c:v>
                      </c:pt>
                      <c:pt idx="3630">
                        <c:v>45443.291666666672</c:v>
                      </c:pt>
                      <c:pt idx="3631">
                        <c:v>45443.333333333328</c:v>
                      </c:pt>
                      <c:pt idx="3632">
                        <c:v>45443.375</c:v>
                      </c:pt>
                      <c:pt idx="3633">
                        <c:v>45443.416666666672</c:v>
                      </c:pt>
                      <c:pt idx="3634">
                        <c:v>45443.458333333328</c:v>
                      </c:pt>
                      <c:pt idx="3635">
                        <c:v>45443.5</c:v>
                      </c:pt>
                      <c:pt idx="3636">
                        <c:v>45443.541666666672</c:v>
                      </c:pt>
                      <c:pt idx="3637">
                        <c:v>45443.583333333328</c:v>
                      </c:pt>
                      <c:pt idx="3638">
                        <c:v>45443.625</c:v>
                      </c:pt>
                      <c:pt idx="3639">
                        <c:v>45443.666666666672</c:v>
                      </c:pt>
                      <c:pt idx="3640">
                        <c:v>45443.708333333328</c:v>
                      </c:pt>
                      <c:pt idx="3641">
                        <c:v>45443.75</c:v>
                      </c:pt>
                      <c:pt idx="3642">
                        <c:v>45443.791666666672</c:v>
                      </c:pt>
                      <c:pt idx="3643">
                        <c:v>45443.833333333328</c:v>
                      </c:pt>
                      <c:pt idx="3644">
                        <c:v>45443.875</c:v>
                      </c:pt>
                      <c:pt idx="3645">
                        <c:v>45443.916666666672</c:v>
                      </c:pt>
                      <c:pt idx="3646">
                        <c:v>45443.958333333328</c:v>
                      </c:pt>
                      <c:pt idx="3647">
                        <c:v>45444</c:v>
                      </c:pt>
                      <c:pt idx="3648">
                        <c:v>45444.041666666672</c:v>
                      </c:pt>
                      <c:pt idx="3649">
                        <c:v>45444.083333333328</c:v>
                      </c:pt>
                      <c:pt idx="3650">
                        <c:v>45444.125</c:v>
                      </c:pt>
                      <c:pt idx="3651">
                        <c:v>45444.166666666672</c:v>
                      </c:pt>
                      <c:pt idx="3652">
                        <c:v>45444.208333333328</c:v>
                      </c:pt>
                      <c:pt idx="3653">
                        <c:v>45444.25</c:v>
                      </c:pt>
                      <c:pt idx="3654">
                        <c:v>45444.291666666672</c:v>
                      </c:pt>
                      <c:pt idx="3655">
                        <c:v>45444.333333333328</c:v>
                      </c:pt>
                      <c:pt idx="3656">
                        <c:v>45444.375</c:v>
                      </c:pt>
                      <c:pt idx="3657">
                        <c:v>45444.416666666672</c:v>
                      </c:pt>
                      <c:pt idx="3658">
                        <c:v>45444.458333333328</c:v>
                      </c:pt>
                      <c:pt idx="3659">
                        <c:v>45444.5</c:v>
                      </c:pt>
                      <c:pt idx="3660">
                        <c:v>45444.541666666672</c:v>
                      </c:pt>
                      <c:pt idx="3661">
                        <c:v>45444.583333333328</c:v>
                      </c:pt>
                      <c:pt idx="3662">
                        <c:v>45444.625</c:v>
                      </c:pt>
                      <c:pt idx="3663">
                        <c:v>45444.666666666672</c:v>
                      </c:pt>
                      <c:pt idx="3664">
                        <c:v>45444.708333333328</c:v>
                      </c:pt>
                      <c:pt idx="3665">
                        <c:v>45444.75</c:v>
                      </c:pt>
                      <c:pt idx="3666">
                        <c:v>45444.791666666672</c:v>
                      </c:pt>
                      <c:pt idx="3667">
                        <c:v>45444.833333333328</c:v>
                      </c:pt>
                      <c:pt idx="3668">
                        <c:v>45444.875</c:v>
                      </c:pt>
                      <c:pt idx="3669">
                        <c:v>45444.916666666672</c:v>
                      </c:pt>
                      <c:pt idx="3670">
                        <c:v>45444.958333333328</c:v>
                      </c:pt>
                      <c:pt idx="3671">
                        <c:v>45445</c:v>
                      </c:pt>
                      <c:pt idx="3672">
                        <c:v>45445.041666666672</c:v>
                      </c:pt>
                      <c:pt idx="3673">
                        <c:v>45445.083333333328</c:v>
                      </c:pt>
                      <c:pt idx="3674">
                        <c:v>45445.125</c:v>
                      </c:pt>
                      <c:pt idx="3675">
                        <c:v>45445.166666666672</c:v>
                      </c:pt>
                      <c:pt idx="3676">
                        <c:v>45445.208333333328</c:v>
                      </c:pt>
                      <c:pt idx="3677">
                        <c:v>45445.25</c:v>
                      </c:pt>
                      <c:pt idx="3678">
                        <c:v>45445.291666666672</c:v>
                      </c:pt>
                      <c:pt idx="3679">
                        <c:v>45445.333333333328</c:v>
                      </c:pt>
                      <c:pt idx="3680">
                        <c:v>45445.375</c:v>
                      </c:pt>
                      <c:pt idx="3681">
                        <c:v>45445.416666666672</c:v>
                      </c:pt>
                      <c:pt idx="3682">
                        <c:v>45445.458333333328</c:v>
                      </c:pt>
                      <c:pt idx="3683">
                        <c:v>45445.5</c:v>
                      </c:pt>
                      <c:pt idx="3684">
                        <c:v>45445.541666666672</c:v>
                      </c:pt>
                      <c:pt idx="3685">
                        <c:v>45445.583333333328</c:v>
                      </c:pt>
                      <c:pt idx="3686">
                        <c:v>45445.625</c:v>
                      </c:pt>
                      <c:pt idx="3687">
                        <c:v>45445.666666666672</c:v>
                      </c:pt>
                      <c:pt idx="3688">
                        <c:v>45445.708333333328</c:v>
                      </c:pt>
                      <c:pt idx="3689">
                        <c:v>45445.75</c:v>
                      </c:pt>
                      <c:pt idx="3690">
                        <c:v>45445.791666666672</c:v>
                      </c:pt>
                      <c:pt idx="3691">
                        <c:v>45445.833333333328</c:v>
                      </c:pt>
                      <c:pt idx="3692">
                        <c:v>45445.875</c:v>
                      </c:pt>
                      <c:pt idx="3693">
                        <c:v>45445.916666666672</c:v>
                      </c:pt>
                      <c:pt idx="3694">
                        <c:v>45445.958333333328</c:v>
                      </c:pt>
                      <c:pt idx="3695">
                        <c:v>45446</c:v>
                      </c:pt>
                      <c:pt idx="3696">
                        <c:v>45446.041666666672</c:v>
                      </c:pt>
                      <c:pt idx="3697">
                        <c:v>45446.083333333328</c:v>
                      </c:pt>
                      <c:pt idx="3698">
                        <c:v>45446.125</c:v>
                      </c:pt>
                      <c:pt idx="3699">
                        <c:v>45446.166666666672</c:v>
                      </c:pt>
                      <c:pt idx="3700">
                        <c:v>45446.208333333328</c:v>
                      </c:pt>
                      <c:pt idx="3701">
                        <c:v>45446.25</c:v>
                      </c:pt>
                      <c:pt idx="3702">
                        <c:v>45446.291666666672</c:v>
                      </c:pt>
                      <c:pt idx="3703">
                        <c:v>45446.333333333328</c:v>
                      </c:pt>
                      <c:pt idx="3704">
                        <c:v>45446.375</c:v>
                      </c:pt>
                      <c:pt idx="3705">
                        <c:v>45446.416666666672</c:v>
                      </c:pt>
                      <c:pt idx="3706">
                        <c:v>45446.458333333328</c:v>
                      </c:pt>
                      <c:pt idx="3707">
                        <c:v>45446.5</c:v>
                      </c:pt>
                      <c:pt idx="3708">
                        <c:v>45446.541666666672</c:v>
                      </c:pt>
                      <c:pt idx="3709">
                        <c:v>45446.583333333328</c:v>
                      </c:pt>
                      <c:pt idx="3710">
                        <c:v>45446.625</c:v>
                      </c:pt>
                      <c:pt idx="3711">
                        <c:v>45446.666666666672</c:v>
                      </c:pt>
                      <c:pt idx="3712">
                        <c:v>45446.708333333328</c:v>
                      </c:pt>
                      <c:pt idx="3713">
                        <c:v>45446.75</c:v>
                      </c:pt>
                      <c:pt idx="3714">
                        <c:v>45446.791666666672</c:v>
                      </c:pt>
                      <c:pt idx="3715">
                        <c:v>45446.833333333328</c:v>
                      </c:pt>
                      <c:pt idx="3716">
                        <c:v>45446.875</c:v>
                      </c:pt>
                      <c:pt idx="3717">
                        <c:v>45446.916666666672</c:v>
                      </c:pt>
                      <c:pt idx="3718">
                        <c:v>45446.958333333328</c:v>
                      </c:pt>
                      <c:pt idx="3719">
                        <c:v>45447</c:v>
                      </c:pt>
                      <c:pt idx="3720">
                        <c:v>45447.041666666672</c:v>
                      </c:pt>
                      <c:pt idx="3721">
                        <c:v>45447.083333333328</c:v>
                      </c:pt>
                      <c:pt idx="3722">
                        <c:v>45447.125</c:v>
                      </c:pt>
                      <c:pt idx="3723">
                        <c:v>45447.166666666672</c:v>
                      </c:pt>
                      <c:pt idx="3724">
                        <c:v>45447.208333333328</c:v>
                      </c:pt>
                      <c:pt idx="3725">
                        <c:v>45447.25</c:v>
                      </c:pt>
                      <c:pt idx="3726">
                        <c:v>45447.291666666672</c:v>
                      </c:pt>
                      <c:pt idx="3727">
                        <c:v>45447.333333333328</c:v>
                      </c:pt>
                      <c:pt idx="3728">
                        <c:v>45447.375</c:v>
                      </c:pt>
                      <c:pt idx="3729">
                        <c:v>45447.416666666672</c:v>
                      </c:pt>
                      <c:pt idx="3730">
                        <c:v>45447.458333333328</c:v>
                      </c:pt>
                      <c:pt idx="3731">
                        <c:v>45447.5</c:v>
                      </c:pt>
                      <c:pt idx="3732">
                        <c:v>45447.541666666672</c:v>
                      </c:pt>
                      <c:pt idx="3733">
                        <c:v>45447.583333333328</c:v>
                      </c:pt>
                      <c:pt idx="3734">
                        <c:v>45447.625</c:v>
                      </c:pt>
                      <c:pt idx="3735">
                        <c:v>45447.666666666672</c:v>
                      </c:pt>
                      <c:pt idx="3736">
                        <c:v>45447.708333333328</c:v>
                      </c:pt>
                      <c:pt idx="3737">
                        <c:v>45447.75</c:v>
                      </c:pt>
                      <c:pt idx="3738">
                        <c:v>45447.791666666672</c:v>
                      </c:pt>
                      <c:pt idx="3739">
                        <c:v>45447.833333333328</c:v>
                      </c:pt>
                      <c:pt idx="3740">
                        <c:v>45447.875</c:v>
                      </c:pt>
                      <c:pt idx="3741">
                        <c:v>45447.916666666672</c:v>
                      </c:pt>
                      <c:pt idx="3742">
                        <c:v>45447.958333333328</c:v>
                      </c:pt>
                      <c:pt idx="3743">
                        <c:v>45448</c:v>
                      </c:pt>
                      <c:pt idx="3744">
                        <c:v>45448.041666666672</c:v>
                      </c:pt>
                      <c:pt idx="3745">
                        <c:v>45448.083333333328</c:v>
                      </c:pt>
                      <c:pt idx="3746">
                        <c:v>45448.125</c:v>
                      </c:pt>
                      <c:pt idx="3747">
                        <c:v>45448.166666666672</c:v>
                      </c:pt>
                      <c:pt idx="3748">
                        <c:v>45448.208333333328</c:v>
                      </c:pt>
                      <c:pt idx="3749">
                        <c:v>45448.25</c:v>
                      </c:pt>
                      <c:pt idx="3750">
                        <c:v>45448.291666666672</c:v>
                      </c:pt>
                      <c:pt idx="3751">
                        <c:v>45448.333333333328</c:v>
                      </c:pt>
                      <c:pt idx="3752">
                        <c:v>45448.375</c:v>
                      </c:pt>
                      <c:pt idx="3753">
                        <c:v>45448.416666666672</c:v>
                      </c:pt>
                      <c:pt idx="3754">
                        <c:v>45448.458333333328</c:v>
                      </c:pt>
                      <c:pt idx="3755">
                        <c:v>45448.5</c:v>
                      </c:pt>
                      <c:pt idx="3756">
                        <c:v>45448.541666666672</c:v>
                      </c:pt>
                      <c:pt idx="3757">
                        <c:v>45448.583333333328</c:v>
                      </c:pt>
                      <c:pt idx="3758">
                        <c:v>45448.625</c:v>
                      </c:pt>
                      <c:pt idx="3759">
                        <c:v>45448.666666666672</c:v>
                      </c:pt>
                      <c:pt idx="3760">
                        <c:v>45448.708333333328</c:v>
                      </c:pt>
                      <c:pt idx="3761">
                        <c:v>45448.75</c:v>
                      </c:pt>
                      <c:pt idx="3762">
                        <c:v>45448.791666666672</c:v>
                      </c:pt>
                      <c:pt idx="3763">
                        <c:v>45448.833333333328</c:v>
                      </c:pt>
                      <c:pt idx="3764">
                        <c:v>45448.875</c:v>
                      </c:pt>
                      <c:pt idx="3765">
                        <c:v>45448.916666666672</c:v>
                      </c:pt>
                      <c:pt idx="3766">
                        <c:v>45448.958333333328</c:v>
                      </c:pt>
                      <c:pt idx="3767">
                        <c:v>45449</c:v>
                      </c:pt>
                      <c:pt idx="3768">
                        <c:v>45449.041666666672</c:v>
                      </c:pt>
                      <c:pt idx="3769">
                        <c:v>45449.083333333328</c:v>
                      </c:pt>
                      <c:pt idx="3770">
                        <c:v>45449.125</c:v>
                      </c:pt>
                      <c:pt idx="3771">
                        <c:v>45449.166666666672</c:v>
                      </c:pt>
                      <c:pt idx="3772">
                        <c:v>45449.208333333328</c:v>
                      </c:pt>
                      <c:pt idx="3773">
                        <c:v>45449.25</c:v>
                      </c:pt>
                      <c:pt idx="3774">
                        <c:v>45449.291666666672</c:v>
                      </c:pt>
                      <c:pt idx="3775">
                        <c:v>45449.333333333328</c:v>
                      </c:pt>
                      <c:pt idx="3776">
                        <c:v>45449.375</c:v>
                      </c:pt>
                      <c:pt idx="3777">
                        <c:v>45449.416666666672</c:v>
                      </c:pt>
                      <c:pt idx="3778">
                        <c:v>45449.458333333328</c:v>
                      </c:pt>
                      <c:pt idx="3779">
                        <c:v>45449.5</c:v>
                      </c:pt>
                      <c:pt idx="3780">
                        <c:v>45449.541666666672</c:v>
                      </c:pt>
                      <c:pt idx="3781">
                        <c:v>45449.583333333328</c:v>
                      </c:pt>
                      <c:pt idx="3782">
                        <c:v>45449.625</c:v>
                      </c:pt>
                      <c:pt idx="3783">
                        <c:v>45449.666666666672</c:v>
                      </c:pt>
                      <c:pt idx="3784">
                        <c:v>45449.708333333328</c:v>
                      </c:pt>
                      <c:pt idx="3785">
                        <c:v>45449.75</c:v>
                      </c:pt>
                      <c:pt idx="3786">
                        <c:v>45449.791666666672</c:v>
                      </c:pt>
                      <c:pt idx="3787">
                        <c:v>45449.833333333328</c:v>
                      </c:pt>
                      <c:pt idx="3788">
                        <c:v>45449.875</c:v>
                      </c:pt>
                      <c:pt idx="3789">
                        <c:v>45449.916666666672</c:v>
                      </c:pt>
                      <c:pt idx="3790">
                        <c:v>45449.958333333328</c:v>
                      </c:pt>
                      <c:pt idx="3791">
                        <c:v>45450</c:v>
                      </c:pt>
                      <c:pt idx="3792">
                        <c:v>45450.041666666672</c:v>
                      </c:pt>
                      <c:pt idx="3793">
                        <c:v>45450.083333333328</c:v>
                      </c:pt>
                      <c:pt idx="3794">
                        <c:v>45450.125</c:v>
                      </c:pt>
                      <c:pt idx="3795">
                        <c:v>45450.166666666672</c:v>
                      </c:pt>
                      <c:pt idx="3796">
                        <c:v>45450.208333333328</c:v>
                      </c:pt>
                      <c:pt idx="3797">
                        <c:v>45450.25</c:v>
                      </c:pt>
                      <c:pt idx="3798">
                        <c:v>45450.291666666672</c:v>
                      </c:pt>
                      <c:pt idx="3799">
                        <c:v>45450.333333333328</c:v>
                      </c:pt>
                      <c:pt idx="3800">
                        <c:v>45450.375</c:v>
                      </c:pt>
                      <c:pt idx="3801">
                        <c:v>45450.416666666672</c:v>
                      </c:pt>
                      <c:pt idx="3802">
                        <c:v>45450.458333333328</c:v>
                      </c:pt>
                      <c:pt idx="3803">
                        <c:v>45450.5</c:v>
                      </c:pt>
                      <c:pt idx="3804">
                        <c:v>45450.541666666672</c:v>
                      </c:pt>
                      <c:pt idx="3805">
                        <c:v>45450.583333333328</c:v>
                      </c:pt>
                      <c:pt idx="3806">
                        <c:v>45450.625</c:v>
                      </c:pt>
                      <c:pt idx="3807">
                        <c:v>45450.666666666672</c:v>
                      </c:pt>
                      <c:pt idx="3808">
                        <c:v>45450.708333333328</c:v>
                      </c:pt>
                      <c:pt idx="3809">
                        <c:v>45450.75</c:v>
                      </c:pt>
                      <c:pt idx="3810">
                        <c:v>45450.791666666672</c:v>
                      </c:pt>
                      <c:pt idx="3811">
                        <c:v>45450.833333333328</c:v>
                      </c:pt>
                      <c:pt idx="3812">
                        <c:v>45450.875</c:v>
                      </c:pt>
                      <c:pt idx="3813">
                        <c:v>45450.916666666672</c:v>
                      </c:pt>
                      <c:pt idx="3814">
                        <c:v>45450.958333333328</c:v>
                      </c:pt>
                      <c:pt idx="3815">
                        <c:v>45451</c:v>
                      </c:pt>
                      <c:pt idx="3816">
                        <c:v>45451.041666666672</c:v>
                      </c:pt>
                      <c:pt idx="3817">
                        <c:v>45451.083333333328</c:v>
                      </c:pt>
                      <c:pt idx="3818">
                        <c:v>45451.125</c:v>
                      </c:pt>
                      <c:pt idx="3819">
                        <c:v>45451.166666666672</c:v>
                      </c:pt>
                      <c:pt idx="3820">
                        <c:v>45451.208333333328</c:v>
                      </c:pt>
                      <c:pt idx="3821">
                        <c:v>45451.25</c:v>
                      </c:pt>
                      <c:pt idx="3822">
                        <c:v>45451.291666666672</c:v>
                      </c:pt>
                      <c:pt idx="3823">
                        <c:v>45451.333333333328</c:v>
                      </c:pt>
                      <c:pt idx="3824">
                        <c:v>45451.375</c:v>
                      </c:pt>
                      <c:pt idx="3825">
                        <c:v>45451.416666666672</c:v>
                      </c:pt>
                      <c:pt idx="3826">
                        <c:v>45451.458333333328</c:v>
                      </c:pt>
                      <c:pt idx="3827">
                        <c:v>45451.5</c:v>
                      </c:pt>
                      <c:pt idx="3828">
                        <c:v>45451.541666666672</c:v>
                      </c:pt>
                      <c:pt idx="3829">
                        <c:v>45451.583333333328</c:v>
                      </c:pt>
                      <c:pt idx="3830">
                        <c:v>45451.625</c:v>
                      </c:pt>
                      <c:pt idx="3831">
                        <c:v>45451.666666666672</c:v>
                      </c:pt>
                      <c:pt idx="3832">
                        <c:v>45451.708333333328</c:v>
                      </c:pt>
                      <c:pt idx="3833">
                        <c:v>45451.75</c:v>
                      </c:pt>
                      <c:pt idx="3834">
                        <c:v>45451.791666666672</c:v>
                      </c:pt>
                      <c:pt idx="3835">
                        <c:v>45451.833333333328</c:v>
                      </c:pt>
                      <c:pt idx="3836">
                        <c:v>45451.875</c:v>
                      </c:pt>
                      <c:pt idx="3837">
                        <c:v>45451.916666666672</c:v>
                      </c:pt>
                      <c:pt idx="3838">
                        <c:v>45451.958333333328</c:v>
                      </c:pt>
                      <c:pt idx="3839">
                        <c:v>45452</c:v>
                      </c:pt>
                      <c:pt idx="3840">
                        <c:v>45452.041666666672</c:v>
                      </c:pt>
                      <c:pt idx="3841">
                        <c:v>45452.083333333328</c:v>
                      </c:pt>
                      <c:pt idx="3842">
                        <c:v>45452.125</c:v>
                      </c:pt>
                      <c:pt idx="3843">
                        <c:v>45452.166666666672</c:v>
                      </c:pt>
                      <c:pt idx="3844">
                        <c:v>45452.208333333328</c:v>
                      </c:pt>
                      <c:pt idx="3845">
                        <c:v>45452.25</c:v>
                      </c:pt>
                      <c:pt idx="3846">
                        <c:v>45452.291666666672</c:v>
                      </c:pt>
                      <c:pt idx="3847">
                        <c:v>45452.333333333328</c:v>
                      </c:pt>
                      <c:pt idx="3848">
                        <c:v>45452.375</c:v>
                      </c:pt>
                      <c:pt idx="3849">
                        <c:v>45452.416666666672</c:v>
                      </c:pt>
                      <c:pt idx="3850">
                        <c:v>45452.458333333328</c:v>
                      </c:pt>
                      <c:pt idx="3851">
                        <c:v>45452.5</c:v>
                      </c:pt>
                      <c:pt idx="3852">
                        <c:v>45452.541666666672</c:v>
                      </c:pt>
                      <c:pt idx="3853">
                        <c:v>45452.583333333328</c:v>
                      </c:pt>
                      <c:pt idx="3854">
                        <c:v>45452.625</c:v>
                      </c:pt>
                      <c:pt idx="3855">
                        <c:v>45452.666666666672</c:v>
                      </c:pt>
                      <c:pt idx="3856">
                        <c:v>45452.708333333328</c:v>
                      </c:pt>
                      <c:pt idx="3857">
                        <c:v>45452.75</c:v>
                      </c:pt>
                      <c:pt idx="3858">
                        <c:v>45452.791666666672</c:v>
                      </c:pt>
                      <c:pt idx="3859">
                        <c:v>45452.833333333328</c:v>
                      </c:pt>
                      <c:pt idx="3860">
                        <c:v>45452.875</c:v>
                      </c:pt>
                      <c:pt idx="3861">
                        <c:v>45452.916666666672</c:v>
                      </c:pt>
                      <c:pt idx="3862">
                        <c:v>45452.958333333328</c:v>
                      </c:pt>
                      <c:pt idx="3863">
                        <c:v>45453</c:v>
                      </c:pt>
                      <c:pt idx="3864">
                        <c:v>45453.041666666672</c:v>
                      </c:pt>
                      <c:pt idx="3865">
                        <c:v>45453.083333333328</c:v>
                      </c:pt>
                      <c:pt idx="3866">
                        <c:v>45453.125</c:v>
                      </c:pt>
                      <c:pt idx="3867">
                        <c:v>45453.166666666672</c:v>
                      </c:pt>
                      <c:pt idx="3868">
                        <c:v>45453.208333333328</c:v>
                      </c:pt>
                      <c:pt idx="3869">
                        <c:v>45453.25</c:v>
                      </c:pt>
                      <c:pt idx="3870">
                        <c:v>45453.291666666672</c:v>
                      </c:pt>
                      <c:pt idx="3871">
                        <c:v>45453.333333333328</c:v>
                      </c:pt>
                      <c:pt idx="3872">
                        <c:v>45453.375</c:v>
                      </c:pt>
                      <c:pt idx="3873">
                        <c:v>45453.416666666672</c:v>
                      </c:pt>
                      <c:pt idx="3874">
                        <c:v>45453.458333333328</c:v>
                      </c:pt>
                      <c:pt idx="3875">
                        <c:v>45453.5</c:v>
                      </c:pt>
                      <c:pt idx="3876">
                        <c:v>45453.541666666672</c:v>
                      </c:pt>
                      <c:pt idx="3877">
                        <c:v>45453.583333333328</c:v>
                      </c:pt>
                      <c:pt idx="3878">
                        <c:v>45453.625</c:v>
                      </c:pt>
                      <c:pt idx="3879">
                        <c:v>45453.666666666672</c:v>
                      </c:pt>
                      <c:pt idx="3880">
                        <c:v>45453.708333333328</c:v>
                      </c:pt>
                      <c:pt idx="3881">
                        <c:v>45453.75</c:v>
                      </c:pt>
                      <c:pt idx="3882">
                        <c:v>45453.791666666672</c:v>
                      </c:pt>
                      <c:pt idx="3883">
                        <c:v>45453.833333333328</c:v>
                      </c:pt>
                      <c:pt idx="3884">
                        <c:v>45453.875</c:v>
                      </c:pt>
                      <c:pt idx="3885">
                        <c:v>45453.916666666672</c:v>
                      </c:pt>
                      <c:pt idx="3886">
                        <c:v>45453.958333333328</c:v>
                      </c:pt>
                      <c:pt idx="3887">
                        <c:v>45454</c:v>
                      </c:pt>
                      <c:pt idx="3888">
                        <c:v>45454.041666666672</c:v>
                      </c:pt>
                      <c:pt idx="3889">
                        <c:v>45454.083333333328</c:v>
                      </c:pt>
                      <c:pt idx="3890">
                        <c:v>45454.125</c:v>
                      </c:pt>
                      <c:pt idx="3891">
                        <c:v>45454.166666666672</c:v>
                      </c:pt>
                      <c:pt idx="3892">
                        <c:v>45454.208333333328</c:v>
                      </c:pt>
                      <c:pt idx="3893">
                        <c:v>45454.25</c:v>
                      </c:pt>
                      <c:pt idx="3894">
                        <c:v>45454.291666666672</c:v>
                      </c:pt>
                      <c:pt idx="3895">
                        <c:v>45454.333333333328</c:v>
                      </c:pt>
                      <c:pt idx="3896">
                        <c:v>45454.375</c:v>
                      </c:pt>
                      <c:pt idx="3897">
                        <c:v>45454.416666666672</c:v>
                      </c:pt>
                      <c:pt idx="3898">
                        <c:v>45454.458333333328</c:v>
                      </c:pt>
                      <c:pt idx="3899">
                        <c:v>45454.5</c:v>
                      </c:pt>
                      <c:pt idx="3900">
                        <c:v>45454.541666666672</c:v>
                      </c:pt>
                      <c:pt idx="3901">
                        <c:v>45454.583333333328</c:v>
                      </c:pt>
                      <c:pt idx="3902">
                        <c:v>45454.625</c:v>
                      </c:pt>
                      <c:pt idx="3903">
                        <c:v>45454.666666666672</c:v>
                      </c:pt>
                      <c:pt idx="3904">
                        <c:v>45454.708333333328</c:v>
                      </c:pt>
                      <c:pt idx="3905">
                        <c:v>45454.75</c:v>
                      </c:pt>
                      <c:pt idx="3906">
                        <c:v>45454.791666666672</c:v>
                      </c:pt>
                      <c:pt idx="3907">
                        <c:v>45454.833333333328</c:v>
                      </c:pt>
                      <c:pt idx="3908">
                        <c:v>45454.875</c:v>
                      </c:pt>
                      <c:pt idx="3909">
                        <c:v>45454.916666666672</c:v>
                      </c:pt>
                      <c:pt idx="3910">
                        <c:v>45454.958333333328</c:v>
                      </c:pt>
                      <c:pt idx="3911">
                        <c:v>45455</c:v>
                      </c:pt>
                      <c:pt idx="3912">
                        <c:v>45455.041666666672</c:v>
                      </c:pt>
                      <c:pt idx="3913">
                        <c:v>45455.083333333328</c:v>
                      </c:pt>
                      <c:pt idx="3914">
                        <c:v>45455.125</c:v>
                      </c:pt>
                      <c:pt idx="3915">
                        <c:v>45455.166666666672</c:v>
                      </c:pt>
                      <c:pt idx="3916">
                        <c:v>45455.208333333328</c:v>
                      </c:pt>
                      <c:pt idx="3917">
                        <c:v>45455.25</c:v>
                      </c:pt>
                      <c:pt idx="3918">
                        <c:v>45455.291666666672</c:v>
                      </c:pt>
                      <c:pt idx="3919">
                        <c:v>45455.333333333328</c:v>
                      </c:pt>
                      <c:pt idx="3920">
                        <c:v>45455.375</c:v>
                      </c:pt>
                      <c:pt idx="3921">
                        <c:v>45455.416666666672</c:v>
                      </c:pt>
                      <c:pt idx="3922">
                        <c:v>45455.458333333328</c:v>
                      </c:pt>
                      <c:pt idx="3923">
                        <c:v>45455.5</c:v>
                      </c:pt>
                      <c:pt idx="3924">
                        <c:v>45455.541666666672</c:v>
                      </c:pt>
                      <c:pt idx="3925">
                        <c:v>45455.583333333328</c:v>
                      </c:pt>
                      <c:pt idx="3926">
                        <c:v>45455.625</c:v>
                      </c:pt>
                      <c:pt idx="3927">
                        <c:v>45455.666666666672</c:v>
                      </c:pt>
                      <c:pt idx="3928">
                        <c:v>45455.708333333328</c:v>
                      </c:pt>
                      <c:pt idx="3929">
                        <c:v>45455.75</c:v>
                      </c:pt>
                      <c:pt idx="3930">
                        <c:v>45455.791666666672</c:v>
                      </c:pt>
                      <c:pt idx="3931">
                        <c:v>45455.833333333328</c:v>
                      </c:pt>
                      <c:pt idx="3932">
                        <c:v>45455.875</c:v>
                      </c:pt>
                      <c:pt idx="3933">
                        <c:v>45455.916666666672</c:v>
                      </c:pt>
                      <c:pt idx="3934">
                        <c:v>45455.958333333328</c:v>
                      </c:pt>
                      <c:pt idx="3935">
                        <c:v>45456</c:v>
                      </c:pt>
                      <c:pt idx="3936">
                        <c:v>45456.041666666672</c:v>
                      </c:pt>
                      <c:pt idx="3937">
                        <c:v>45456.083333333328</c:v>
                      </c:pt>
                      <c:pt idx="3938">
                        <c:v>45456.125</c:v>
                      </c:pt>
                      <c:pt idx="3939">
                        <c:v>45456.166666666672</c:v>
                      </c:pt>
                      <c:pt idx="3940">
                        <c:v>45456.208333333328</c:v>
                      </c:pt>
                      <c:pt idx="3941">
                        <c:v>45456.25</c:v>
                      </c:pt>
                      <c:pt idx="3942">
                        <c:v>45456.291666666672</c:v>
                      </c:pt>
                      <c:pt idx="3943">
                        <c:v>45456.333333333328</c:v>
                      </c:pt>
                      <c:pt idx="3944">
                        <c:v>45456.375</c:v>
                      </c:pt>
                      <c:pt idx="3945">
                        <c:v>45456.416666666672</c:v>
                      </c:pt>
                      <c:pt idx="3946">
                        <c:v>45456.458333333328</c:v>
                      </c:pt>
                      <c:pt idx="3947">
                        <c:v>45456.5</c:v>
                      </c:pt>
                      <c:pt idx="3948">
                        <c:v>45456.541666666672</c:v>
                      </c:pt>
                      <c:pt idx="3949">
                        <c:v>45456.583333333328</c:v>
                      </c:pt>
                      <c:pt idx="3950">
                        <c:v>45456.625</c:v>
                      </c:pt>
                      <c:pt idx="3951">
                        <c:v>45456.666666666672</c:v>
                      </c:pt>
                      <c:pt idx="3952">
                        <c:v>45456.708333333328</c:v>
                      </c:pt>
                      <c:pt idx="3953">
                        <c:v>45456.75</c:v>
                      </c:pt>
                      <c:pt idx="3954">
                        <c:v>45456.791666666672</c:v>
                      </c:pt>
                      <c:pt idx="3955">
                        <c:v>45456.833333333328</c:v>
                      </c:pt>
                      <c:pt idx="3956">
                        <c:v>45456.875</c:v>
                      </c:pt>
                      <c:pt idx="3957">
                        <c:v>45456.916666666672</c:v>
                      </c:pt>
                      <c:pt idx="3958">
                        <c:v>45456.958333333328</c:v>
                      </c:pt>
                      <c:pt idx="3959">
                        <c:v>45457</c:v>
                      </c:pt>
                      <c:pt idx="3960">
                        <c:v>45457.041666666672</c:v>
                      </c:pt>
                      <c:pt idx="3961">
                        <c:v>45457.083333333328</c:v>
                      </c:pt>
                      <c:pt idx="3962">
                        <c:v>45457.125</c:v>
                      </c:pt>
                      <c:pt idx="3963">
                        <c:v>45457.166666666672</c:v>
                      </c:pt>
                      <c:pt idx="3964">
                        <c:v>45457.208333333328</c:v>
                      </c:pt>
                      <c:pt idx="3965">
                        <c:v>45457.25</c:v>
                      </c:pt>
                      <c:pt idx="3966">
                        <c:v>45457.291666666672</c:v>
                      </c:pt>
                      <c:pt idx="3967">
                        <c:v>45457.333333333328</c:v>
                      </c:pt>
                      <c:pt idx="3968">
                        <c:v>45457.375</c:v>
                      </c:pt>
                      <c:pt idx="3969">
                        <c:v>45457.416666666672</c:v>
                      </c:pt>
                      <c:pt idx="3970">
                        <c:v>45457.458333333328</c:v>
                      </c:pt>
                      <c:pt idx="3971">
                        <c:v>45457.5</c:v>
                      </c:pt>
                      <c:pt idx="3972">
                        <c:v>45457.541666666672</c:v>
                      </c:pt>
                      <c:pt idx="3973">
                        <c:v>45457.583333333328</c:v>
                      </c:pt>
                      <c:pt idx="3974">
                        <c:v>45457.625</c:v>
                      </c:pt>
                      <c:pt idx="3975">
                        <c:v>45457.666666666672</c:v>
                      </c:pt>
                      <c:pt idx="3976">
                        <c:v>45457.708333333328</c:v>
                      </c:pt>
                      <c:pt idx="3977">
                        <c:v>45457.75</c:v>
                      </c:pt>
                      <c:pt idx="3978">
                        <c:v>45457.791666666672</c:v>
                      </c:pt>
                      <c:pt idx="3979">
                        <c:v>45457.833333333328</c:v>
                      </c:pt>
                      <c:pt idx="3980">
                        <c:v>45457.875</c:v>
                      </c:pt>
                      <c:pt idx="3981">
                        <c:v>45457.916666666672</c:v>
                      </c:pt>
                      <c:pt idx="3982">
                        <c:v>45457.958333333328</c:v>
                      </c:pt>
                      <c:pt idx="3983">
                        <c:v>45458</c:v>
                      </c:pt>
                      <c:pt idx="3984">
                        <c:v>45458.041666666672</c:v>
                      </c:pt>
                      <c:pt idx="3985">
                        <c:v>45458.083333333328</c:v>
                      </c:pt>
                      <c:pt idx="3986">
                        <c:v>45458.125</c:v>
                      </c:pt>
                      <c:pt idx="3987">
                        <c:v>45458.166666666672</c:v>
                      </c:pt>
                      <c:pt idx="3988">
                        <c:v>45458.208333333328</c:v>
                      </c:pt>
                      <c:pt idx="3989">
                        <c:v>45458.25</c:v>
                      </c:pt>
                      <c:pt idx="3990">
                        <c:v>45458.291666666672</c:v>
                      </c:pt>
                      <c:pt idx="3991">
                        <c:v>45458.333333333328</c:v>
                      </c:pt>
                      <c:pt idx="3992">
                        <c:v>45458.375</c:v>
                      </c:pt>
                      <c:pt idx="3993">
                        <c:v>45458.416666666672</c:v>
                      </c:pt>
                      <c:pt idx="3994">
                        <c:v>45458.458333333328</c:v>
                      </c:pt>
                      <c:pt idx="3995">
                        <c:v>45458.5</c:v>
                      </c:pt>
                      <c:pt idx="3996">
                        <c:v>45458.541666666672</c:v>
                      </c:pt>
                      <c:pt idx="3997">
                        <c:v>45458.583333333328</c:v>
                      </c:pt>
                      <c:pt idx="3998">
                        <c:v>45458.625</c:v>
                      </c:pt>
                      <c:pt idx="3999">
                        <c:v>45458.666666666672</c:v>
                      </c:pt>
                      <c:pt idx="4000">
                        <c:v>45458.708333333328</c:v>
                      </c:pt>
                      <c:pt idx="4001">
                        <c:v>45458.75</c:v>
                      </c:pt>
                      <c:pt idx="4002">
                        <c:v>45458.791666666672</c:v>
                      </c:pt>
                      <c:pt idx="4003">
                        <c:v>45458.833333333328</c:v>
                      </c:pt>
                      <c:pt idx="4004">
                        <c:v>45458.875</c:v>
                      </c:pt>
                      <c:pt idx="4005">
                        <c:v>45458.916666666672</c:v>
                      </c:pt>
                      <c:pt idx="4006">
                        <c:v>45458.958333333328</c:v>
                      </c:pt>
                      <c:pt idx="4007">
                        <c:v>45459</c:v>
                      </c:pt>
                      <c:pt idx="4008">
                        <c:v>45459.041666666672</c:v>
                      </c:pt>
                      <c:pt idx="4009">
                        <c:v>45459.083333333328</c:v>
                      </c:pt>
                      <c:pt idx="4010">
                        <c:v>45459.125</c:v>
                      </c:pt>
                      <c:pt idx="4011">
                        <c:v>45459.166666666672</c:v>
                      </c:pt>
                      <c:pt idx="4012">
                        <c:v>45459.208333333328</c:v>
                      </c:pt>
                      <c:pt idx="4013">
                        <c:v>45459.25</c:v>
                      </c:pt>
                      <c:pt idx="4014">
                        <c:v>45459.291666666672</c:v>
                      </c:pt>
                      <c:pt idx="4015">
                        <c:v>45459.333333333328</c:v>
                      </c:pt>
                      <c:pt idx="4016">
                        <c:v>45459.375</c:v>
                      </c:pt>
                      <c:pt idx="4017">
                        <c:v>45459.416666666672</c:v>
                      </c:pt>
                      <c:pt idx="4018">
                        <c:v>45459.458333333328</c:v>
                      </c:pt>
                      <c:pt idx="4019">
                        <c:v>45459.5</c:v>
                      </c:pt>
                      <c:pt idx="4020">
                        <c:v>45459.541666666672</c:v>
                      </c:pt>
                      <c:pt idx="4021">
                        <c:v>45459.583333333328</c:v>
                      </c:pt>
                      <c:pt idx="4022">
                        <c:v>45459.625</c:v>
                      </c:pt>
                      <c:pt idx="4023">
                        <c:v>45459.666666666672</c:v>
                      </c:pt>
                      <c:pt idx="4024">
                        <c:v>45459.708333333328</c:v>
                      </c:pt>
                      <c:pt idx="4025">
                        <c:v>45459.75</c:v>
                      </c:pt>
                      <c:pt idx="4026">
                        <c:v>45459.791666666672</c:v>
                      </c:pt>
                      <c:pt idx="4027">
                        <c:v>45459.833333333328</c:v>
                      </c:pt>
                      <c:pt idx="4028">
                        <c:v>45459.875</c:v>
                      </c:pt>
                      <c:pt idx="4029">
                        <c:v>45459.916666666672</c:v>
                      </c:pt>
                      <c:pt idx="4030">
                        <c:v>45459.958333333328</c:v>
                      </c:pt>
                      <c:pt idx="4031">
                        <c:v>45460</c:v>
                      </c:pt>
                      <c:pt idx="4032">
                        <c:v>45460.041666666672</c:v>
                      </c:pt>
                      <c:pt idx="4033">
                        <c:v>45460.083333333328</c:v>
                      </c:pt>
                      <c:pt idx="4034">
                        <c:v>45460.125</c:v>
                      </c:pt>
                      <c:pt idx="4035">
                        <c:v>45460.166666666672</c:v>
                      </c:pt>
                      <c:pt idx="4036">
                        <c:v>45460.208333333328</c:v>
                      </c:pt>
                      <c:pt idx="4037">
                        <c:v>45460.25</c:v>
                      </c:pt>
                      <c:pt idx="4038">
                        <c:v>45460.291666666672</c:v>
                      </c:pt>
                      <c:pt idx="4039">
                        <c:v>45460.333333333328</c:v>
                      </c:pt>
                      <c:pt idx="4040">
                        <c:v>45460.375</c:v>
                      </c:pt>
                      <c:pt idx="4041">
                        <c:v>45460.416666666672</c:v>
                      </c:pt>
                      <c:pt idx="4042">
                        <c:v>45460.458333333328</c:v>
                      </c:pt>
                      <c:pt idx="4043">
                        <c:v>45460.5</c:v>
                      </c:pt>
                      <c:pt idx="4044">
                        <c:v>45460.541666666672</c:v>
                      </c:pt>
                      <c:pt idx="4045">
                        <c:v>45460.583333333328</c:v>
                      </c:pt>
                      <c:pt idx="4046">
                        <c:v>45460.625</c:v>
                      </c:pt>
                      <c:pt idx="4047">
                        <c:v>45460.666666666672</c:v>
                      </c:pt>
                      <c:pt idx="4048">
                        <c:v>45460.708333333328</c:v>
                      </c:pt>
                      <c:pt idx="4049">
                        <c:v>45460.75</c:v>
                      </c:pt>
                      <c:pt idx="4050">
                        <c:v>45460.791666666672</c:v>
                      </c:pt>
                      <c:pt idx="4051">
                        <c:v>45460.833333333328</c:v>
                      </c:pt>
                      <c:pt idx="4052">
                        <c:v>45460.875</c:v>
                      </c:pt>
                      <c:pt idx="4053">
                        <c:v>45460.916666666672</c:v>
                      </c:pt>
                      <c:pt idx="4054">
                        <c:v>45460.958333333328</c:v>
                      </c:pt>
                      <c:pt idx="4055">
                        <c:v>45461</c:v>
                      </c:pt>
                      <c:pt idx="4056">
                        <c:v>45461.041666666672</c:v>
                      </c:pt>
                      <c:pt idx="4057">
                        <c:v>45461.083333333328</c:v>
                      </c:pt>
                      <c:pt idx="4058">
                        <c:v>45461.125</c:v>
                      </c:pt>
                      <c:pt idx="4059">
                        <c:v>45461.166666666672</c:v>
                      </c:pt>
                      <c:pt idx="4060">
                        <c:v>45461.208333333328</c:v>
                      </c:pt>
                      <c:pt idx="4061">
                        <c:v>45461.25</c:v>
                      </c:pt>
                      <c:pt idx="4062">
                        <c:v>45461.291666666672</c:v>
                      </c:pt>
                      <c:pt idx="4063">
                        <c:v>45461.333333333328</c:v>
                      </c:pt>
                      <c:pt idx="4064">
                        <c:v>45461.375</c:v>
                      </c:pt>
                      <c:pt idx="4065">
                        <c:v>45461.416666666672</c:v>
                      </c:pt>
                      <c:pt idx="4066">
                        <c:v>45461.458333333328</c:v>
                      </c:pt>
                      <c:pt idx="4067">
                        <c:v>45461.5</c:v>
                      </c:pt>
                      <c:pt idx="4068">
                        <c:v>45461.541666666672</c:v>
                      </c:pt>
                      <c:pt idx="4069">
                        <c:v>45461.583333333328</c:v>
                      </c:pt>
                      <c:pt idx="4070">
                        <c:v>45461.625</c:v>
                      </c:pt>
                      <c:pt idx="4071">
                        <c:v>45461.666666666672</c:v>
                      </c:pt>
                      <c:pt idx="4072">
                        <c:v>45461.708333333328</c:v>
                      </c:pt>
                      <c:pt idx="4073">
                        <c:v>45461.75</c:v>
                      </c:pt>
                      <c:pt idx="4074">
                        <c:v>45461.791666666672</c:v>
                      </c:pt>
                      <c:pt idx="4075">
                        <c:v>45461.833333333328</c:v>
                      </c:pt>
                      <c:pt idx="4076">
                        <c:v>45461.875</c:v>
                      </c:pt>
                      <c:pt idx="4077">
                        <c:v>45461.916666666672</c:v>
                      </c:pt>
                      <c:pt idx="4078">
                        <c:v>45461.958333333328</c:v>
                      </c:pt>
                      <c:pt idx="4079">
                        <c:v>45462</c:v>
                      </c:pt>
                      <c:pt idx="4080">
                        <c:v>45462.041666666672</c:v>
                      </c:pt>
                      <c:pt idx="4081">
                        <c:v>45462.083333333328</c:v>
                      </c:pt>
                      <c:pt idx="4082">
                        <c:v>45462.125</c:v>
                      </c:pt>
                      <c:pt idx="4083">
                        <c:v>45462.166666666672</c:v>
                      </c:pt>
                      <c:pt idx="4084">
                        <c:v>45462.208333333328</c:v>
                      </c:pt>
                      <c:pt idx="4085">
                        <c:v>45462.25</c:v>
                      </c:pt>
                      <c:pt idx="4086">
                        <c:v>45462.291666666672</c:v>
                      </c:pt>
                      <c:pt idx="4087">
                        <c:v>45462.333333333328</c:v>
                      </c:pt>
                      <c:pt idx="4088">
                        <c:v>45462.375</c:v>
                      </c:pt>
                      <c:pt idx="4089">
                        <c:v>45462.416666666672</c:v>
                      </c:pt>
                      <c:pt idx="4090">
                        <c:v>45462.458333333328</c:v>
                      </c:pt>
                      <c:pt idx="4091">
                        <c:v>45462.5</c:v>
                      </c:pt>
                      <c:pt idx="4092">
                        <c:v>45462.541666666672</c:v>
                      </c:pt>
                      <c:pt idx="4093">
                        <c:v>45462.583333333328</c:v>
                      </c:pt>
                      <c:pt idx="4094">
                        <c:v>45462.625</c:v>
                      </c:pt>
                      <c:pt idx="4095">
                        <c:v>45462.666666666672</c:v>
                      </c:pt>
                      <c:pt idx="4096">
                        <c:v>45462.708333333328</c:v>
                      </c:pt>
                      <c:pt idx="4097">
                        <c:v>45462.75</c:v>
                      </c:pt>
                      <c:pt idx="4098">
                        <c:v>45462.791666666672</c:v>
                      </c:pt>
                      <c:pt idx="4099">
                        <c:v>45462.833333333328</c:v>
                      </c:pt>
                      <c:pt idx="4100">
                        <c:v>45462.875</c:v>
                      </c:pt>
                      <c:pt idx="4101">
                        <c:v>45462.916666666672</c:v>
                      </c:pt>
                      <c:pt idx="4102">
                        <c:v>45462.958333333328</c:v>
                      </c:pt>
                      <c:pt idx="4103">
                        <c:v>45463</c:v>
                      </c:pt>
                      <c:pt idx="4104">
                        <c:v>45463.041666666672</c:v>
                      </c:pt>
                      <c:pt idx="4105">
                        <c:v>45463.083333333328</c:v>
                      </c:pt>
                      <c:pt idx="4106">
                        <c:v>45463.125</c:v>
                      </c:pt>
                      <c:pt idx="4107">
                        <c:v>45463.166666666672</c:v>
                      </c:pt>
                      <c:pt idx="4108">
                        <c:v>45463.208333333328</c:v>
                      </c:pt>
                      <c:pt idx="4109">
                        <c:v>45463.25</c:v>
                      </c:pt>
                      <c:pt idx="4110">
                        <c:v>45463.291666666672</c:v>
                      </c:pt>
                      <c:pt idx="4111">
                        <c:v>45463.333333333328</c:v>
                      </c:pt>
                      <c:pt idx="4112">
                        <c:v>45463.375</c:v>
                      </c:pt>
                      <c:pt idx="4113">
                        <c:v>45463.416666666672</c:v>
                      </c:pt>
                      <c:pt idx="4114">
                        <c:v>45463.458333333328</c:v>
                      </c:pt>
                      <c:pt idx="4115">
                        <c:v>45463.5</c:v>
                      </c:pt>
                      <c:pt idx="4116">
                        <c:v>45463.541666666672</c:v>
                      </c:pt>
                      <c:pt idx="4117">
                        <c:v>45463.583333333328</c:v>
                      </c:pt>
                      <c:pt idx="4118">
                        <c:v>45463.625</c:v>
                      </c:pt>
                      <c:pt idx="4119">
                        <c:v>45463.666666666672</c:v>
                      </c:pt>
                      <c:pt idx="4120">
                        <c:v>45463.708333333328</c:v>
                      </c:pt>
                      <c:pt idx="4121">
                        <c:v>45463.75</c:v>
                      </c:pt>
                      <c:pt idx="4122">
                        <c:v>45463.791666666672</c:v>
                      </c:pt>
                      <c:pt idx="4123">
                        <c:v>45463.833333333328</c:v>
                      </c:pt>
                      <c:pt idx="4124">
                        <c:v>45463.875</c:v>
                      </c:pt>
                      <c:pt idx="4125">
                        <c:v>45463.916666666672</c:v>
                      </c:pt>
                      <c:pt idx="4126">
                        <c:v>45463.958333333328</c:v>
                      </c:pt>
                      <c:pt idx="4127">
                        <c:v>45464</c:v>
                      </c:pt>
                      <c:pt idx="4128">
                        <c:v>45464.041666666672</c:v>
                      </c:pt>
                      <c:pt idx="4129">
                        <c:v>45464.083333333328</c:v>
                      </c:pt>
                      <c:pt idx="4130">
                        <c:v>45464.125</c:v>
                      </c:pt>
                      <c:pt idx="4131">
                        <c:v>45464.166666666672</c:v>
                      </c:pt>
                      <c:pt idx="4132">
                        <c:v>45464.208333333328</c:v>
                      </c:pt>
                      <c:pt idx="4133">
                        <c:v>45464.25</c:v>
                      </c:pt>
                      <c:pt idx="4134">
                        <c:v>45464.291666666672</c:v>
                      </c:pt>
                      <c:pt idx="4135">
                        <c:v>45464.333333333328</c:v>
                      </c:pt>
                      <c:pt idx="4136">
                        <c:v>45464.375</c:v>
                      </c:pt>
                      <c:pt idx="4137">
                        <c:v>45464.416666666672</c:v>
                      </c:pt>
                      <c:pt idx="4138">
                        <c:v>45464.458333333328</c:v>
                      </c:pt>
                      <c:pt idx="4139">
                        <c:v>45464.5</c:v>
                      </c:pt>
                      <c:pt idx="4140">
                        <c:v>45464.541666666672</c:v>
                      </c:pt>
                      <c:pt idx="4141">
                        <c:v>45464.583333333328</c:v>
                      </c:pt>
                      <c:pt idx="4142">
                        <c:v>45464.625</c:v>
                      </c:pt>
                      <c:pt idx="4143">
                        <c:v>45464.666666666672</c:v>
                      </c:pt>
                      <c:pt idx="4144">
                        <c:v>45464.708333333328</c:v>
                      </c:pt>
                      <c:pt idx="4145">
                        <c:v>45464.75</c:v>
                      </c:pt>
                      <c:pt idx="4146">
                        <c:v>45464.791666666672</c:v>
                      </c:pt>
                      <c:pt idx="4147">
                        <c:v>45464.833333333328</c:v>
                      </c:pt>
                      <c:pt idx="4148">
                        <c:v>45464.875</c:v>
                      </c:pt>
                      <c:pt idx="4149">
                        <c:v>45464.916666666672</c:v>
                      </c:pt>
                      <c:pt idx="4150">
                        <c:v>45464.958333333328</c:v>
                      </c:pt>
                      <c:pt idx="4151">
                        <c:v>45465</c:v>
                      </c:pt>
                      <c:pt idx="4152">
                        <c:v>45465.041666666672</c:v>
                      </c:pt>
                      <c:pt idx="4153">
                        <c:v>45465.083333333328</c:v>
                      </c:pt>
                      <c:pt idx="4154">
                        <c:v>45465.125</c:v>
                      </c:pt>
                      <c:pt idx="4155">
                        <c:v>45465.166666666672</c:v>
                      </c:pt>
                      <c:pt idx="4156">
                        <c:v>45465.208333333328</c:v>
                      </c:pt>
                      <c:pt idx="4157">
                        <c:v>45465.25</c:v>
                      </c:pt>
                      <c:pt idx="4158">
                        <c:v>45465.291666666672</c:v>
                      </c:pt>
                      <c:pt idx="4159">
                        <c:v>45465.333333333328</c:v>
                      </c:pt>
                      <c:pt idx="4160">
                        <c:v>45465.375</c:v>
                      </c:pt>
                      <c:pt idx="4161">
                        <c:v>45465.416666666672</c:v>
                      </c:pt>
                      <c:pt idx="4162">
                        <c:v>45465.458333333328</c:v>
                      </c:pt>
                      <c:pt idx="4163">
                        <c:v>45465.5</c:v>
                      </c:pt>
                      <c:pt idx="4164">
                        <c:v>45465.541666666672</c:v>
                      </c:pt>
                      <c:pt idx="4165">
                        <c:v>45465.583333333328</c:v>
                      </c:pt>
                      <c:pt idx="4166">
                        <c:v>45465.625</c:v>
                      </c:pt>
                      <c:pt idx="4167">
                        <c:v>45465.666666666672</c:v>
                      </c:pt>
                      <c:pt idx="4168">
                        <c:v>45465.708333333328</c:v>
                      </c:pt>
                      <c:pt idx="4169">
                        <c:v>45465.75</c:v>
                      </c:pt>
                      <c:pt idx="4170">
                        <c:v>45465.791666666672</c:v>
                      </c:pt>
                      <c:pt idx="4171">
                        <c:v>45465.833333333328</c:v>
                      </c:pt>
                      <c:pt idx="4172">
                        <c:v>45465.875</c:v>
                      </c:pt>
                      <c:pt idx="4173">
                        <c:v>45465.916666666672</c:v>
                      </c:pt>
                      <c:pt idx="4174">
                        <c:v>45465.958333333328</c:v>
                      </c:pt>
                      <c:pt idx="4175">
                        <c:v>45466</c:v>
                      </c:pt>
                      <c:pt idx="4176">
                        <c:v>45466.041666666672</c:v>
                      </c:pt>
                      <c:pt idx="4177">
                        <c:v>45466.083333333328</c:v>
                      </c:pt>
                      <c:pt idx="4178">
                        <c:v>45466.125</c:v>
                      </c:pt>
                      <c:pt idx="4179">
                        <c:v>45466.166666666672</c:v>
                      </c:pt>
                      <c:pt idx="4180">
                        <c:v>45466.208333333328</c:v>
                      </c:pt>
                      <c:pt idx="4181">
                        <c:v>45466.25</c:v>
                      </c:pt>
                      <c:pt idx="4182">
                        <c:v>45466.291666666672</c:v>
                      </c:pt>
                      <c:pt idx="4183">
                        <c:v>45466.333333333328</c:v>
                      </c:pt>
                      <c:pt idx="4184">
                        <c:v>45466.375</c:v>
                      </c:pt>
                      <c:pt idx="4185">
                        <c:v>45466.416666666672</c:v>
                      </c:pt>
                      <c:pt idx="4186">
                        <c:v>45466.458333333328</c:v>
                      </c:pt>
                      <c:pt idx="4187">
                        <c:v>45466.5</c:v>
                      </c:pt>
                      <c:pt idx="4188">
                        <c:v>45466.541666666672</c:v>
                      </c:pt>
                      <c:pt idx="4189">
                        <c:v>45466.583333333328</c:v>
                      </c:pt>
                      <c:pt idx="4190">
                        <c:v>45466.625</c:v>
                      </c:pt>
                      <c:pt idx="4191">
                        <c:v>45466.666666666672</c:v>
                      </c:pt>
                      <c:pt idx="4192">
                        <c:v>45466.708333333328</c:v>
                      </c:pt>
                      <c:pt idx="4193">
                        <c:v>45466.75</c:v>
                      </c:pt>
                      <c:pt idx="4194">
                        <c:v>45466.791666666672</c:v>
                      </c:pt>
                      <c:pt idx="4195">
                        <c:v>45466.833333333328</c:v>
                      </c:pt>
                      <c:pt idx="4196">
                        <c:v>45466.875</c:v>
                      </c:pt>
                      <c:pt idx="4197">
                        <c:v>45466.916666666672</c:v>
                      </c:pt>
                      <c:pt idx="4198">
                        <c:v>45466.958333333328</c:v>
                      </c:pt>
                      <c:pt idx="4199">
                        <c:v>45467</c:v>
                      </c:pt>
                      <c:pt idx="4200">
                        <c:v>45467.041666666672</c:v>
                      </c:pt>
                      <c:pt idx="4201">
                        <c:v>45467.083333333328</c:v>
                      </c:pt>
                      <c:pt idx="4202">
                        <c:v>45467.125</c:v>
                      </c:pt>
                      <c:pt idx="4203">
                        <c:v>45467.166666666672</c:v>
                      </c:pt>
                      <c:pt idx="4204">
                        <c:v>45467.208333333328</c:v>
                      </c:pt>
                      <c:pt idx="4205">
                        <c:v>45467.25</c:v>
                      </c:pt>
                      <c:pt idx="4206">
                        <c:v>45467.291666666672</c:v>
                      </c:pt>
                      <c:pt idx="4207">
                        <c:v>45467.333333333328</c:v>
                      </c:pt>
                      <c:pt idx="4208">
                        <c:v>45467.375</c:v>
                      </c:pt>
                      <c:pt idx="4209">
                        <c:v>45467.416666666672</c:v>
                      </c:pt>
                      <c:pt idx="4210">
                        <c:v>45467.458333333328</c:v>
                      </c:pt>
                      <c:pt idx="4211">
                        <c:v>45467.5</c:v>
                      </c:pt>
                      <c:pt idx="4212">
                        <c:v>45467.541666666672</c:v>
                      </c:pt>
                      <c:pt idx="4213">
                        <c:v>45467.583333333328</c:v>
                      </c:pt>
                      <c:pt idx="4214">
                        <c:v>45467.625</c:v>
                      </c:pt>
                      <c:pt idx="4215">
                        <c:v>45467.666666666672</c:v>
                      </c:pt>
                      <c:pt idx="4216">
                        <c:v>45467.708333333328</c:v>
                      </c:pt>
                      <c:pt idx="4217">
                        <c:v>45467.75</c:v>
                      </c:pt>
                      <c:pt idx="4218">
                        <c:v>45467.791666666672</c:v>
                      </c:pt>
                      <c:pt idx="4219">
                        <c:v>45467.833333333328</c:v>
                      </c:pt>
                      <c:pt idx="4220">
                        <c:v>45467.875</c:v>
                      </c:pt>
                      <c:pt idx="4221">
                        <c:v>45467.916666666672</c:v>
                      </c:pt>
                      <c:pt idx="4222">
                        <c:v>45467.958333333328</c:v>
                      </c:pt>
                      <c:pt idx="4223">
                        <c:v>45468</c:v>
                      </c:pt>
                      <c:pt idx="4224">
                        <c:v>45468.041666666672</c:v>
                      </c:pt>
                      <c:pt idx="4225">
                        <c:v>45468.083333333328</c:v>
                      </c:pt>
                      <c:pt idx="4226">
                        <c:v>45468.125</c:v>
                      </c:pt>
                      <c:pt idx="4227">
                        <c:v>45468.166666666672</c:v>
                      </c:pt>
                      <c:pt idx="4228">
                        <c:v>45468.208333333328</c:v>
                      </c:pt>
                      <c:pt idx="4229">
                        <c:v>45468.25</c:v>
                      </c:pt>
                      <c:pt idx="4230">
                        <c:v>45468.291666666672</c:v>
                      </c:pt>
                      <c:pt idx="4231">
                        <c:v>45468.333333333328</c:v>
                      </c:pt>
                      <c:pt idx="4232">
                        <c:v>45468.375</c:v>
                      </c:pt>
                      <c:pt idx="4233">
                        <c:v>45468.416666666672</c:v>
                      </c:pt>
                      <c:pt idx="4234">
                        <c:v>45468.458333333328</c:v>
                      </c:pt>
                      <c:pt idx="4235">
                        <c:v>45468.5</c:v>
                      </c:pt>
                      <c:pt idx="4236">
                        <c:v>45468.541666666672</c:v>
                      </c:pt>
                      <c:pt idx="4237">
                        <c:v>45468.583333333328</c:v>
                      </c:pt>
                      <c:pt idx="4238">
                        <c:v>45468.625</c:v>
                      </c:pt>
                      <c:pt idx="4239">
                        <c:v>45468.666666666672</c:v>
                      </c:pt>
                      <c:pt idx="4240">
                        <c:v>45468.708333333328</c:v>
                      </c:pt>
                      <c:pt idx="4241">
                        <c:v>45468.75</c:v>
                      </c:pt>
                      <c:pt idx="4242">
                        <c:v>45468.791666666672</c:v>
                      </c:pt>
                      <c:pt idx="4243">
                        <c:v>45468.833333333328</c:v>
                      </c:pt>
                      <c:pt idx="4244">
                        <c:v>45468.875</c:v>
                      </c:pt>
                      <c:pt idx="4245">
                        <c:v>45468.916666666672</c:v>
                      </c:pt>
                      <c:pt idx="4246">
                        <c:v>45468.958333333328</c:v>
                      </c:pt>
                      <c:pt idx="4247">
                        <c:v>45469</c:v>
                      </c:pt>
                      <c:pt idx="4248">
                        <c:v>45469.041666666672</c:v>
                      </c:pt>
                      <c:pt idx="4249">
                        <c:v>45469.083333333328</c:v>
                      </c:pt>
                      <c:pt idx="4250">
                        <c:v>45469.125</c:v>
                      </c:pt>
                      <c:pt idx="4251">
                        <c:v>45469.166666666672</c:v>
                      </c:pt>
                      <c:pt idx="4252">
                        <c:v>45469.208333333328</c:v>
                      </c:pt>
                      <c:pt idx="4253">
                        <c:v>45469.25</c:v>
                      </c:pt>
                      <c:pt idx="4254">
                        <c:v>45469.291666666672</c:v>
                      </c:pt>
                      <c:pt idx="4255">
                        <c:v>45469.333333333328</c:v>
                      </c:pt>
                      <c:pt idx="4256">
                        <c:v>45469.375</c:v>
                      </c:pt>
                      <c:pt idx="4257">
                        <c:v>45469.416666666672</c:v>
                      </c:pt>
                      <c:pt idx="4258">
                        <c:v>45469.458333333328</c:v>
                      </c:pt>
                      <c:pt idx="4259">
                        <c:v>45469.5</c:v>
                      </c:pt>
                      <c:pt idx="4260">
                        <c:v>45469.541666666672</c:v>
                      </c:pt>
                      <c:pt idx="4261">
                        <c:v>45469.583333333328</c:v>
                      </c:pt>
                      <c:pt idx="4262">
                        <c:v>45469.625</c:v>
                      </c:pt>
                      <c:pt idx="4263">
                        <c:v>45469.666666666672</c:v>
                      </c:pt>
                      <c:pt idx="4264">
                        <c:v>45469.708333333328</c:v>
                      </c:pt>
                      <c:pt idx="4265">
                        <c:v>45469.75</c:v>
                      </c:pt>
                      <c:pt idx="4266">
                        <c:v>45469.791666666672</c:v>
                      </c:pt>
                      <c:pt idx="4267">
                        <c:v>45469.833333333328</c:v>
                      </c:pt>
                      <c:pt idx="4268">
                        <c:v>45469.875</c:v>
                      </c:pt>
                      <c:pt idx="4269">
                        <c:v>45469.916666666672</c:v>
                      </c:pt>
                      <c:pt idx="4270">
                        <c:v>45469.958333333328</c:v>
                      </c:pt>
                      <c:pt idx="4271">
                        <c:v>45470</c:v>
                      </c:pt>
                      <c:pt idx="4272">
                        <c:v>45470.041666666672</c:v>
                      </c:pt>
                      <c:pt idx="4273">
                        <c:v>45470.083333333328</c:v>
                      </c:pt>
                      <c:pt idx="4274">
                        <c:v>45470.125</c:v>
                      </c:pt>
                      <c:pt idx="4275">
                        <c:v>45470.166666666672</c:v>
                      </c:pt>
                      <c:pt idx="4276">
                        <c:v>45470.208333333328</c:v>
                      </c:pt>
                      <c:pt idx="4277">
                        <c:v>45470.25</c:v>
                      </c:pt>
                      <c:pt idx="4278">
                        <c:v>45470.291666666672</c:v>
                      </c:pt>
                      <c:pt idx="4279">
                        <c:v>45470.333333333328</c:v>
                      </c:pt>
                      <c:pt idx="4280">
                        <c:v>45470.375</c:v>
                      </c:pt>
                      <c:pt idx="4281">
                        <c:v>45470.416666666672</c:v>
                      </c:pt>
                      <c:pt idx="4282">
                        <c:v>45470.458333333328</c:v>
                      </c:pt>
                      <c:pt idx="4283">
                        <c:v>45470.5</c:v>
                      </c:pt>
                      <c:pt idx="4284">
                        <c:v>45470.541666666672</c:v>
                      </c:pt>
                      <c:pt idx="4285">
                        <c:v>45470.583333333328</c:v>
                      </c:pt>
                      <c:pt idx="4286">
                        <c:v>45470.625</c:v>
                      </c:pt>
                      <c:pt idx="4287">
                        <c:v>45470.666666666672</c:v>
                      </c:pt>
                      <c:pt idx="4288">
                        <c:v>45470.708333333328</c:v>
                      </c:pt>
                      <c:pt idx="4289">
                        <c:v>45470.75</c:v>
                      </c:pt>
                      <c:pt idx="4290">
                        <c:v>45470.791666666672</c:v>
                      </c:pt>
                      <c:pt idx="4291">
                        <c:v>45470.833333333328</c:v>
                      </c:pt>
                      <c:pt idx="4292">
                        <c:v>45470.875</c:v>
                      </c:pt>
                      <c:pt idx="4293">
                        <c:v>45470.916666666672</c:v>
                      </c:pt>
                      <c:pt idx="4294">
                        <c:v>45470.958333333328</c:v>
                      </c:pt>
                      <c:pt idx="4295">
                        <c:v>45471</c:v>
                      </c:pt>
                      <c:pt idx="4296">
                        <c:v>45471.041666666672</c:v>
                      </c:pt>
                      <c:pt idx="4297">
                        <c:v>45471.083333333328</c:v>
                      </c:pt>
                      <c:pt idx="4298">
                        <c:v>45471.125</c:v>
                      </c:pt>
                      <c:pt idx="4299">
                        <c:v>45471.166666666672</c:v>
                      </c:pt>
                      <c:pt idx="4300">
                        <c:v>45471.208333333328</c:v>
                      </c:pt>
                      <c:pt idx="4301">
                        <c:v>45471.25</c:v>
                      </c:pt>
                      <c:pt idx="4302">
                        <c:v>45471.291666666672</c:v>
                      </c:pt>
                      <c:pt idx="4303">
                        <c:v>45471.333333333328</c:v>
                      </c:pt>
                      <c:pt idx="4304">
                        <c:v>45471.375</c:v>
                      </c:pt>
                      <c:pt idx="4305">
                        <c:v>45471.416666666672</c:v>
                      </c:pt>
                      <c:pt idx="4306">
                        <c:v>45471.458333333328</c:v>
                      </c:pt>
                      <c:pt idx="4307">
                        <c:v>45471.5</c:v>
                      </c:pt>
                      <c:pt idx="4308">
                        <c:v>45471.541666666672</c:v>
                      </c:pt>
                      <c:pt idx="4309">
                        <c:v>45471.583333333328</c:v>
                      </c:pt>
                      <c:pt idx="4310">
                        <c:v>45471.625</c:v>
                      </c:pt>
                      <c:pt idx="4311">
                        <c:v>45471.666666666672</c:v>
                      </c:pt>
                      <c:pt idx="4312">
                        <c:v>45471.708333333328</c:v>
                      </c:pt>
                      <c:pt idx="4313">
                        <c:v>45471.75</c:v>
                      </c:pt>
                      <c:pt idx="4314">
                        <c:v>45471.791666666672</c:v>
                      </c:pt>
                      <c:pt idx="4315">
                        <c:v>45471.833333333328</c:v>
                      </c:pt>
                      <c:pt idx="4316">
                        <c:v>45471.875</c:v>
                      </c:pt>
                      <c:pt idx="4317">
                        <c:v>45471.916666666672</c:v>
                      </c:pt>
                      <c:pt idx="4318">
                        <c:v>45471.958333333328</c:v>
                      </c:pt>
                      <c:pt idx="4319">
                        <c:v>45472</c:v>
                      </c:pt>
                      <c:pt idx="4320">
                        <c:v>45472.041666666672</c:v>
                      </c:pt>
                      <c:pt idx="4321">
                        <c:v>45472.083333333328</c:v>
                      </c:pt>
                      <c:pt idx="4322">
                        <c:v>45472.125</c:v>
                      </c:pt>
                      <c:pt idx="4323">
                        <c:v>45472.166666666672</c:v>
                      </c:pt>
                      <c:pt idx="4324">
                        <c:v>45472.208333333328</c:v>
                      </c:pt>
                      <c:pt idx="4325">
                        <c:v>45472.25</c:v>
                      </c:pt>
                      <c:pt idx="4326">
                        <c:v>45472.291666666672</c:v>
                      </c:pt>
                      <c:pt idx="4327">
                        <c:v>45472.333333333328</c:v>
                      </c:pt>
                      <c:pt idx="4328">
                        <c:v>45472.375</c:v>
                      </c:pt>
                      <c:pt idx="4329">
                        <c:v>45472.416666666672</c:v>
                      </c:pt>
                      <c:pt idx="4330">
                        <c:v>45472.458333333328</c:v>
                      </c:pt>
                      <c:pt idx="4331">
                        <c:v>45472.5</c:v>
                      </c:pt>
                      <c:pt idx="4332">
                        <c:v>45472.541666666672</c:v>
                      </c:pt>
                      <c:pt idx="4333">
                        <c:v>45472.583333333328</c:v>
                      </c:pt>
                      <c:pt idx="4334">
                        <c:v>45472.625</c:v>
                      </c:pt>
                      <c:pt idx="4335">
                        <c:v>45472.666666666672</c:v>
                      </c:pt>
                      <c:pt idx="4336">
                        <c:v>45472.708333333328</c:v>
                      </c:pt>
                      <c:pt idx="4337">
                        <c:v>45472.75</c:v>
                      </c:pt>
                      <c:pt idx="4338">
                        <c:v>45472.791666666672</c:v>
                      </c:pt>
                      <c:pt idx="4339">
                        <c:v>45472.833333333328</c:v>
                      </c:pt>
                      <c:pt idx="4340">
                        <c:v>45472.875</c:v>
                      </c:pt>
                      <c:pt idx="4341">
                        <c:v>45472.916666666672</c:v>
                      </c:pt>
                      <c:pt idx="4342">
                        <c:v>45472.958333333328</c:v>
                      </c:pt>
                      <c:pt idx="4343">
                        <c:v>45473</c:v>
                      </c:pt>
                      <c:pt idx="4344">
                        <c:v>45473.041666666672</c:v>
                      </c:pt>
                      <c:pt idx="4345">
                        <c:v>45473.083333333328</c:v>
                      </c:pt>
                      <c:pt idx="4346">
                        <c:v>45473.125</c:v>
                      </c:pt>
                      <c:pt idx="4347">
                        <c:v>45473.166666666672</c:v>
                      </c:pt>
                      <c:pt idx="4348">
                        <c:v>45473.208333333328</c:v>
                      </c:pt>
                      <c:pt idx="4349">
                        <c:v>45473.25</c:v>
                      </c:pt>
                      <c:pt idx="4350">
                        <c:v>45473.291666666672</c:v>
                      </c:pt>
                      <c:pt idx="4351">
                        <c:v>45473.333333333328</c:v>
                      </c:pt>
                      <c:pt idx="4352">
                        <c:v>45473.375</c:v>
                      </c:pt>
                      <c:pt idx="4353">
                        <c:v>45473.416666666672</c:v>
                      </c:pt>
                      <c:pt idx="4354">
                        <c:v>45473.458333333328</c:v>
                      </c:pt>
                      <c:pt idx="4355">
                        <c:v>45473.5</c:v>
                      </c:pt>
                      <c:pt idx="4356">
                        <c:v>45473.541666666672</c:v>
                      </c:pt>
                      <c:pt idx="4357">
                        <c:v>45473.583333333328</c:v>
                      </c:pt>
                      <c:pt idx="4358">
                        <c:v>45473.625</c:v>
                      </c:pt>
                      <c:pt idx="4359">
                        <c:v>45473.666666666672</c:v>
                      </c:pt>
                      <c:pt idx="4360">
                        <c:v>45473.708333333328</c:v>
                      </c:pt>
                      <c:pt idx="4361">
                        <c:v>45473.75</c:v>
                      </c:pt>
                      <c:pt idx="4362">
                        <c:v>45473.791666666672</c:v>
                      </c:pt>
                      <c:pt idx="4363">
                        <c:v>45473.833333333328</c:v>
                      </c:pt>
                      <c:pt idx="4364">
                        <c:v>45473.875</c:v>
                      </c:pt>
                      <c:pt idx="4365">
                        <c:v>45473.916666666672</c:v>
                      </c:pt>
                      <c:pt idx="4366">
                        <c:v>45473.958333333328</c:v>
                      </c:pt>
                      <c:pt idx="4367">
                        <c:v>45474</c:v>
                      </c:pt>
                      <c:pt idx="4368">
                        <c:v>45474.041666666672</c:v>
                      </c:pt>
                      <c:pt idx="4369">
                        <c:v>45474.083333333328</c:v>
                      </c:pt>
                      <c:pt idx="4370">
                        <c:v>45474.125</c:v>
                      </c:pt>
                      <c:pt idx="4371">
                        <c:v>45474.166666666672</c:v>
                      </c:pt>
                      <c:pt idx="4372">
                        <c:v>45474.208333333328</c:v>
                      </c:pt>
                      <c:pt idx="4373">
                        <c:v>45474.25</c:v>
                      </c:pt>
                      <c:pt idx="4374">
                        <c:v>45474.291666666672</c:v>
                      </c:pt>
                      <c:pt idx="4375">
                        <c:v>45474.333333333328</c:v>
                      </c:pt>
                      <c:pt idx="4376">
                        <c:v>45474.375</c:v>
                      </c:pt>
                      <c:pt idx="4377">
                        <c:v>45474.416666666672</c:v>
                      </c:pt>
                      <c:pt idx="4378">
                        <c:v>45474.458333333328</c:v>
                      </c:pt>
                      <c:pt idx="4379">
                        <c:v>45474.5</c:v>
                      </c:pt>
                      <c:pt idx="4380">
                        <c:v>45474.541666666672</c:v>
                      </c:pt>
                      <c:pt idx="4381">
                        <c:v>45474.583333333328</c:v>
                      </c:pt>
                      <c:pt idx="4382">
                        <c:v>45474.625</c:v>
                      </c:pt>
                      <c:pt idx="4383">
                        <c:v>45474.666666666672</c:v>
                      </c:pt>
                      <c:pt idx="4384">
                        <c:v>45474.708333333328</c:v>
                      </c:pt>
                      <c:pt idx="4385">
                        <c:v>45474.75</c:v>
                      </c:pt>
                      <c:pt idx="4386">
                        <c:v>45474.791666666672</c:v>
                      </c:pt>
                      <c:pt idx="4387">
                        <c:v>45474.833333333328</c:v>
                      </c:pt>
                      <c:pt idx="4388">
                        <c:v>45474.875</c:v>
                      </c:pt>
                      <c:pt idx="4389">
                        <c:v>45474.916666666672</c:v>
                      </c:pt>
                      <c:pt idx="4390">
                        <c:v>45474.958333333328</c:v>
                      </c:pt>
                      <c:pt idx="4391">
                        <c:v>45475</c:v>
                      </c:pt>
                      <c:pt idx="4392">
                        <c:v>45475.041666666672</c:v>
                      </c:pt>
                      <c:pt idx="4393">
                        <c:v>45475.083333333328</c:v>
                      </c:pt>
                      <c:pt idx="4394">
                        <c:v>45475.125</c:v>
                      </c:pt>
                      <c:pt idx="4395">
                        <c:v>45475.166666666672</c:v>
                      </c:pt>
                      <c:pt idx="4396">
                        <c:v>45475.208333333328</c:v>
                      </c:pt>
                      <c:pt idx="4397">
                        <c:v>45475.25</c:v>
                      </c:pt>
                      <c:pt idx="4398">
                        <c:v>45475.291666666672</c:v>
                      </c:pt>
                      <c:pt idx="4399">
                        <c:v>45475.333333333328</c:v>
                      </c:pt>
                      <c:pt idx="4400">
                        <c:v>45475.375</c:v>
                      </c:pt>
                      <c:pt idx="4401">
                        <c:v>45475.416666666672</c:v>
                      </c:pt>
                      <c:pt idx="4402">
                        <c:v>45475.458333333328</c:v>
                      </c:pt>
                      <c:pt idx="4403">
                        <c:v>45475.5</c:v>
                      </c:pt>
                      <c:pt idx="4404">
                        <c:v>45475.541666666672</c:v>
                      </c:pt>
                      <c:pt idx="4405">
                        <c:v>45475.583333333328</c:v>
                      </c:pt>
                      <c:pt idx="4406">
                        <c:v>45475.625</c:v>
                      </c:pt>
                      <c:pt idx="4407">
                        <c:v>45475.666666666672</c:v>
                      </c:pt>
                      <c:pt idx="4408">
                        <c:v>45475.708333333328</c:v>
                      </c:pt>
                      <c:pt idx="4409">
                        <c:v>45475.75</c:v>
                      </c:pt>
                      <c:pt idx="4410">
                        <c:v>45475.791666666672</c:v>
                      </c:pt>
                      <c:pt idx="4411">
                        <c:v>45475.833333333328</c:v>
                      </c:pt>
                      <c:pt idx="4412">
                        <c:v>45475.875</c:v>
                      </c:pt>
                      <c:pt idx="4413">
                        <c:v>45475.916666666672</c:v>
                      </c:pt>
                      <c:pt idx="4414">
                        <c:v>45475.958333333328</c:v>
                      </c:pt>
                      <c:pt idx="4415">
                        <c:v>45476</c:v>
                      </c:pt>
                      <c:pt idx="4416">
                        <c:v>45476.041666666672</c:v>
                      </c:pt>
                      <c:pt idx="4417">
                        <c:v>45476.083333333328</c:v>
                      </c:pt>
                      <c:pt idx="4418">
                        <c:v>45476.125</c:v>
                      </c:pt>
                      <c:pt idx="4419">
                        <c:v>45476.166666666672</c:v>
                      </c:pt>
                      <c:pt idx="4420">
                        <c:v>45476.208333333328</c:v>
                      </c:pt>
                      <c:pt idx="4421">
                        <c:v>45476.25</c:v>
                      </c:pt>
                      <c:pt idx="4422">
                        <c:v>45476.291666666672</c:v>
                      </c:pt>
                      <c:pt idx="4423">
                        <c:v>45476.333333333328</c:v>
                      </c:pt>
                      <c:pt idx="4424">
                        <c:v>45476.375</c:v>
                      </c:pt>
                      <c:pt idx="4425">
                        <c:v>45476.416666666672</c:v>
                      </c:pt>
                      <c:pt idx="4426">
                        <c:v>45476.458333333328</c:v>
                      </c:pt>
                      <c:pt idx="4427">
                        <c:v>45476.5</c:v>
                      </c:pt>
                      <c:pt idx="4428">
                        <c:v>45476.541666666672</c:v>
                      </c:pt>
                      <c:pt idx="4429">
                        <c:v>45476.583333333328</c:v>
                      </c:pt>
                      <c:pt idx="4430">
                        <c:v>45476.625</c:v>
                      </c:pt>
                      <c:pt idx="4431">
                        <c:v>45476.666666666672</c:v>
                      </c:pt>
                      <c:pt idx="4432">
                        <c:v>45476.708333333328</c:v>
                      </c:pt>
                      <c:pt idx="4433">
                        <c:v>45476.75</c:v>
                      </c:pt>
                      <c:pt idx="4434">
                        <c:v>45476.791666666672</c:v>
                      </c:pt>
                      <c:pt idx="4435">
                        <c:v>45476.833333333328</c:v>
                      </c:pt>
                      <c:pt idx="4436">
                        <c:v>45476.875</c:v>
                      </c:pt>
                      <c:pt idx="4437">
                        <c:v>45476.916666666672</c:v>
                      </c:pt>
                      <c:pt idx="4438">
                        <c:v>45476.958333333328</c:v>
                      </c:pt>
                      <c:pt idx="4439">
                        <c:v>45477</c:v>
                      </c:pt>
                      <c:pt idx="4440">
                        <c:v>45477.041666666672</c:v>
                      </c:pt>
                      <c:pt idx="4441">
                        <c:v>45477.083333333328</c:v>
                      </c:pt>
                      <c:pt idx="4442">
                        <c:v>45477.125</c:v>
                      </c:pt>
                      <c:pt idx="4443">
                        <c:v>45477.166666666672</c:v>
                      </c:pt>
                      <c:pt idx="4444">
                        <c:v>45477.208333333328</c:v>
                      </c:pt>
                      <c:pt idx="4445">
                        <c:v>45477.25</c:v>
                      </c:pt>
                      <c:pt idx="4446">
                        <c:v>45477.291666666672</c:v>
                      </c:pt>
                      <c:pt idx="4447">
                        <c:v>45477.333333333328</c:v>
                      </c:pt>
                      <c:pt idx="4448">
                        <c:v>45477.375</c:v>
                      </c:pt>
                      <c:pt idx="4449">
                        <c:v>45477.416666666672</c:v>
                      </c:pt>
                      <c:pt idx="4450">
                        <c:v>45477.458333333328</c:v>
                      </c:pt>
                      <c:pt idx="4451">
                        <c:v>45477.5</c:v>
                      </c:pt>
                      <c:pt idx="4452">
                        <c:v>45477.541666666672</c:v>
                      </c:pt>
                      <c:pt idx="4453">
                        <c:v>45477.583333333328</c:v>
                      </c:pt>
                      <c:pt idx="4454">
                        <c:v>45477.625</c:v>
                      </c:pt>
                      <c:pt idx="4455">
                        <c:v>45477.666666666672</c:v>
                      </c:pt>
                      <c:pt idx="4456">
                        <c:v>45477.708333333328</c:v>
                      </c:pt>
                      <c:pt idx="4457">
                        <c:v>45477.75</c:v>
                      </c:pt>
                      <c:pt idx="4458">
                        <c:v>45477.791666666672</c:v>
                      </c:pt>
                      <c:pt idx="4459">
                        <c:v>45477.833333333328</c:v>
                      </c:pt>
                      <c:pt idx="4460">
                        <c:v>45477.875</c:v>
                      </c:pt>
                      <c:pt idx="4461">
                        <c:v>45477.916666666672</c:v>
                      </c:pt>
                      <c:pt idx="4462">
                        <c:v>45477.958333333328</c:v>
                      </c:pt>
                      <c:pt idx="4463">
                        <c:v>45478</c:v>
                      </c:pt>
                      <c:pt idx="4464">
                        <c:v>45478.041666666672</c:v>
                      </c:pt>
                      <c:pt idx="4465">
                        <c:v>45478.083333333328</c:v>
                      </c:pt>
                      <c:pt idx="4466">
                        <c:v>45478.125</c:v>
                      </c:pt>
                      <c:pt idx="4467">
                        <c:v>45478.166666666672</c:v>
                      </c:pt>
                      <c:pt idx="4468">
                        <c:v>45478.208333333328</c:v>
                      </c:pt>
                      <c:pt idx="4469">
                        <c:v>45478.25</c:v>
                      </c:pt>
                      <c:pt idx="4470">
                        <c:v>45478.291666666672</c:v>
                      </c:pt>
                      <c:pt idx="4471">
                        <c:v>45478.333333333328</c:v>
                      </c:pt>
                      <c:pt idx="4472">
                        <c:v>45478.375</c:v>
                      </c:pt>
                      <c:pt idx="4473">
                        <c:v>45478.416666666672</c:v>
                      </c:pt>
                      <c:pt idx="4474">
                        <c:v>45478.458333333328</c:v>
                      </c:pt>
                      <c:pt idx="4475">
                        <c:v>45478.5</c:v>
                      </c:pt>
                      <c:pt idx="4476">
                        <c:v>45478.541666666672</c:v>
                      </c:pt>
                      <c:pt idx="4477">
                        <c:v>45478.583333333328</c:v>
                      </c:pt>
                      <c:pt idx="4478">
                        <c:v>45478.625</c:v>
                      </c:pt>
                      <c:pt idx="4479">
                        <c:v>45478.666666666672</c:v>
                      </c:pt>
                      <c:pt idx="4480">
                        <c:v>45478.708333333328</c:v>
                      </c:pt>
                      <c:pt idx="4481">
                        <c:v>45478.75</c:v>
                      </c:pt>
                      <c:pt idx="4482">
                        <c:v>45478.791666666672</c:v>
                      </c:pt>
                      <c:pt idx="4483">
                        <c:v>45478.833333333328</c:v>
                      </c:pt>
                      <c:pt idx="4484">
                        <c:v>45478.875</c:v>
                      </c:pt>
                      <c:pt idx="4485">
                        <c:v>45478.916666666672</c:v>
                      </c:pt>
                      <c:pt idx="4486">
                        <c:v>45478.958333333328</c:v>
                      </c:pt>
                      <c:pt idx="4487">
                        <c:v>45479</c:v>
                      </c:pt>
                      <c:pt idx="4488">
                        <c:v>45479.041666666672</c:v>
                      </c:pt>
                      <c:pt idx="4489">
                        <c:v>45479.083333333328</c:v>
                      </c:pt>
                      <c:pt idx="4490">
                        <c:v>45479.125</c:v>
                      </c:pt>
                      <c:pt idx="4491">
                        <c:v>45479.166666666672</c:v>
                      </c:pt>
                      <c:pt idx="4492">
                        <c:v>45479.208333333328</c:v>
                      </c:pt>
                      <c:pt idx="4493">
                        <c:v>45479.25</c:v>
                      </c:pt>
                      <c:pt idx="4494">
                        <c:v>45479.291666666672</c:v>
                      </c:pt>
                      <c:pt idx="4495">
                        <c:v>45479.333333333328</c:v>
                      </c:pt>
                      <c:pt idx="4496">
                        <c:v>45479.375</c:v>
                      </c:pt>
                      <c:pt idx="4497">
                        <c:v>45479.416666666672</c:v>
                      </c:pt>
                      <c:pt idx="4498">
                        <c:v>45479.458333333328</c:v>
                      </c:pt>
                      <c:pt idx="4499">
                        <c:v>45479.5</c:v>
                      </c:pt>
                      <c:pt idx="4500">
                        <c:v>45479.541666666672</c:v>
                      </c:pt>
                      <c:pt idx="4501">
                        <c:v>45479.583333333328</c:v>
                      </c:pt>
                      <c:pt idx="4502">
                        <c:v>45479.625</c:v>
                      </c:pt>
                      <c:pt idx="4503">
                        <c:v>45479.666666666672</c:v>
                      </c:pt>
                      <c:pt idx="4504">
                        <c:v>45479.708333333328</c:v>
                      </c:pt>
                      <c:pt idx="4505">
                        <c:v>45479.75</c:v>
                      </c:pt>
                      <c:pt idx="4506">
                        <c:v>45479.791666666672</c:v>
                      </c:pt>
                      <c:pt idx="4507">
                        <c:v>45479.833333333328</c:v>
                      </c:pt>
                      <c:pt idx="4508">
                        <c:v>45479.875</c:v>
                      </c:pt>
                      <c:pt idx="4509">
                        <c:v>45479.916666666672</c:v>
                      </c:pt>
                      <c:pt idx="4510">
                        <c:v>45479.958333333328</c:v>
                      </c:pt>
                      <c:pt idx="4511">
                        <c:v>45480</c:v>
                      </c:pt>
                      <c:pt idx="4512">
                        <c:v>45480.041666666672</c:v>
                      </c:pt>
                      <c:pt idx="4513">
                        <c:v>45480.083333333328</c:v>
                      </c:pt>
                      <c:pt idx="4514">
                        <c:v>45480.125</c:v>
                      </c:pt>
                      <c:pt idx="4515">
                        <c:v>45480.166666666672</c:v>
                      </c:pt>
                      <c:pt idx="4516">
                        <c:v>45480.208333333328</c:v>
                      </c:pt>
                      <c:pt idx="4517">
                        <c:v>45480.25</c:v>
                      </c:pt>
                      <c:pt idx="4518">
                        <c:v>45480.291666666672</c:v>
                      </c:pt>
                      <c:pt idx="4519">
                        <c:v>45480.333333333328</c:v>
                      </c:pt>
                      <c:pt idx="4520">
                        <c:v>45480.375</c:v>
                      </c:pt>
                      <c:pt idx="4521">
                        <c:v>45480.416666666672</c:v>
                      </c:pt>
                      <c:pt idx="4522">
                        <c:v>45480.458333333328</c:v>
                      </c:pt>
                      <c:pt idx="4523">
                        <c:v>45480.5</c:v>
                      </c:pt>
                      <c:pt idx="4524">
                        <c:v>45480.541666666672</c:v>
                      </c:pt>
                      <c:pt idx="4525">
                        <c:v>45480.583333333328</c:v>
                      </c:pt>
                      <c:pt idx="4526">
                        <c:v>45480.625</c:v>
                      </c:pt>
                      <c:pt idx="4527">
                        <c:v>45480.666666666672</c:v>
                      </c:pt>
                      <c:pt idx="4528">
                        <c:v>45480.708333333328</c:v>
                      </c:pt>
                      <c:pt idx="4529">
                        <c:v>45480.75</c:v>
                      </c:pt>
                      <c:pt idx="4530">
                        <c:v>45480.791666666672</c:v>
                      </c:pt>
                      <c:pt idx="4531">
                        <c:v>45480.833333333328</c:v>
                      </c:pt>
                      <c:pt idx="4532">
                        <c:v>45480.875</c:v>
                      </c:pt>
                      <c:pt idx="4533">
                        <c:v>45480.916666666672</c:v>
                      </c:pt>
                      <c:pt idx="4534">
                        <c:v>45480.958333333328</c:v>
                      </c:pt>
                      <c:pt idx="4535">
                        <c:v>45481</c:v>
                      </c:pt>
                      <c:pt idx="4536">
                        <c:v>45481.041666666672</c:v>
                      </c:pt>
                      <c:pt idx="4537">
                        <c:v>45481.083333333328</c:v>
                      </c:pt>
                      <c:pt idx="4538">
                        <c:v>45481.125</c:v>
                      </c:pt>
                      <c:pt idx="4539">
                        <c:v>45481.166666666672</c:v>
                      </c:pt>
                      <c:pt idx="4540">
                        <c:v>45481.208333333328</c:v>
                      </c:pt>
                      <c:pt idx="4541">
                        <c:v>45481.25</c:v>
                      </c:pt>
                      <c:pt idx="4542">
                        <c:v>45481.291666666672</c:v>
                      </c:pt>
                      <c:pt idx="4543">
                        <c:v>45481.333333333328</c:v>
                      </c:pt>
                      <c:pt idx="4544">
                        <c:v>45481.375</c:v>
                      </c:pt>
                      <c:pt idx="4545">
                        <c:v>45481.416666666672</c:v>
                      </c:pt>
                      <c:pt idx="4546">
                        <c:v>45481.458333333328</c:v>
                      </c:pt>
                      <c:pt idx="4547">
                        <c:v>45481.5</c:v>
                      </c:pt>
                      <c:pt idx="4548">
                        <c:v>45481.541666666672</c:v>
                      </c:pt>
                      <c:pt idx="4549">
                        <c:v>45481.583333333328</c:v>
                      </c:pt>
                      <c:pt idx="4550">
                        <c:v>45481.625</c:v>
                      </c:pt>
                      <c:pt idx="4551">
                        <c:v>45481.666666666672</c:v>
                      </c:pt>
                      <c:pt idx="4552">
                        <c:v>45481.708333333328</c:v>
                      </c:pt>
                      <c:pt idx="4553">
                        <c:v>45481.75</c:v>
                      </c:pt>
                      <c:pt idx="4554">
                        <c:v>45481.791666666672</c:v>
                      </c:pt>
                      <c:pt idx="4555">
                        <c:v>45481.833333333328</c:v>
                      </c:pt>
                      <c:pt idx="4556">
                        <c:v>45481.875</c:v>
                      </c:pt>
                      <c:pt idx="4557">
                        <c:v>45481.916666666672</c:v>
                      </c:pt>
                      <c:pt idx="4558">
                        <c:v>45481.958333333328</c:v>
                      </c:pt>
                      <c:pt idx="4559">
                        <c:v>45482</c:v>
                      </c:pt>
                      <c:pt idx="4560">
                        <c:v>45482.041666666672</c:v>
                      </c:pt>
                      <c:pt idx="4561">
                        <c:v>45482.083333333328</c:v>
                      </c:pt>
                      <c:pt idx="4562">
                        <c:v>45482.125</c:v>
                      </c:pt>
                      <c:pt idx="4563">
                        <c:v>45482.166666666672</c:v>
                      </c:pt>
                      <c:pt idx="4564">
                        <c:v>45482.208333333328</c:v>
                      </c:pt>
                      <c:pt idx="4565">
                        <c:v>45482.25</c:v>
                      </c:pt>
                      <c:pt idx="4566">
                        <c:v>45482.291666666672</c:v>
                      </c:pt>
                      <c:pt idx="4567">
                        <c:v>45482.333333333328</c:v>
                      </c:pt>
                      <c:pt idx="4568">
                        <c:v>45482.375</c:v>
                      </c:pt>
                      <c:pt idx="4569">
                        <c:v>45482.416666666672</c:v>
                      </c:pt>
                      <c:pt idx="4570">
                        <c:v>45482.458333333328</c:v>
                      </c:pt>
                      <c:pt idx="4571">
                        <c:v>45482.5</c:v>
                      </c:pt>
                      <c:pt idx="4572">
                        <c:v>45482.541666666672</c:v>
                      </c:pt>
                      <c:pt idx="4573">
                        <c:v>45482.583333333328</c:v>
                      </c:pt>
                      <c:pt idx="4574">
                        <c:v>45482.625</c:v>
                      </c:pt>
                      <c:pt idx="4575">
                        <c:v>45482.666666666672</c:v>
                      </c:pt>
                      <c:pt idx="4576">
                        <c:v>45482.708333333328</c:v>
                      </c:pt>
                      <c:pt idx="4577">
                        <c:v>45482.75</c:v>
                      </c:pt>
                      <c:pt idx="4578">
                        <c:v>45482.791666666672</c:v>
                      </c:pt>
                      <c:pt idx="4579">
                        <c:v>45482.833333333328</c:v>
                      </c:pt>
                      <c:pt idx="4580">
                        <c:v>45482.875</c:v>
                      </c:pt>
                      <c:pt idx="4581">
                        <c:v>45482.916666666672</c:v>
                      </c:pt>
                      <c:pt idx="4582">
                        <c:v>45482.958333333328</c:v>
                      </c:pt>
                      <c:pt idx="4583">
                        <c:v>45483</c:v>
                      </c:pt>
                      <c:pt idx="4584">
                        <c:v>45483.041666666672</c:v>
                      </c:pt>
                      <c:pt idx="4585">
                        <c:v>45483.083333333328</c:v>
                      </c:pt>
                      <c:pt idx="4586">
                        <c:v>45483.125</c:v>
                      </c:pt>
                      <c:pt idx="4587">
                        <c:v>45483.166666666672</c:v>
                      </c:pt>
                      <c:pt idx="4588">
                        <c:v>45483.208333333328</c:v>
                      </c:pt>
                      <c:pt idx="4589">
                        <c:v>45483.25</c:v>
                      </c:pt>
                      <c:pt idx="4590">
                        <c:v>45483.291666666672</c:v>
                      </c:pt>
                      <c:pt idx="4591">
                        <c:v>45483.333333333328</c:v>
                      </c:pt>
                      <c:pt idx="4592">
                        <c:v>45483.375</c:v>
                      </c:pt>
                      <c:pt idx="4593">
                        <c:v>45483.416666666672</c:v>
                      </c:pt>
                      <c:pt idx="4594">
                        <c:v>45483.458333333328</c:v>
                      </c:pt>
                      <c:pt idx="4595">
                        <c:v>45483.5</c:v>
                      </c:pt>
                      <c:pt idx="4596">
                        <c:v>45483.541666666672</c:v>
                      </c:pt>
                      <c:pt idx="4597">
                        <c:v>45483.583333333328</c:v>
                      </c:pt>
                      <c:pt idx="4598">
                        <c:v>45483.625</c:v>
                      </c:pt>
                      <c:pt idx="4599">
                        <c:v>45483.666666666672</c:v>
                      </c:pt>
                      <c:pt idx="4600">
                        <c:v>45483.708333333328</c:v>
                      </c:pt>
                      <c:pt idx="4601">
                        <c:v>45483.75</c:v>
                      </c:pt>
                      <c:pt idx="4602">
                        <c:v>45483.791666666672</c:v>
                      </c:pt>
                      <c:pt idx="4603">
                        <c:v>45483.833333333328</c:v>
                      </c:pt>
                      <c:pt idx="4604">
                        <c:v>45483.875</c:v>
                      </c:pt>
                      <c:pt idx="4605">
                        <c:v>45483.916666666672</c:v>
                      </c:pt>
                      <c:pt idx="4606">
                        <c:v>45483.958333333328</c:v>
                      </c:pt>
                      <c:pt idx="4607">
                        <c:v>45484</c:v>
                      </c:pt>
                      <c:pt idx="4608">
                        <c:v>45484.041666666672</c:v>
                      </c:pt>
                      <c:pt idx="4609">
                        <c:v>45484.083333333328</c:v>
                      </c:pt>
                      <c:pt idx="4610">
                        <c:v>45484.125</c:v>
                      </c:pt>
                      <c:pt idx="4611">
                        <c:v>45484.166666666672</c:v>
                      </c:pt>
                      <c:pt idx="4612">
                        <c:v>45484.208333333328</c:v>
                      </c:pt>
                      <c:pt idx="4613">
                        <c:v>45484.25</c:v>
                      </c:pt>
                      <c:pt idx="4614">
                        <c:v>45484.291666666672</c:v>
                      </c:pt>
                      <c:pt idx="4615">
                        <c:v>45484.333333333328</c:v>
                      </c:pt>
                      <c:pt idx="4616">
                        <c:v>45484.375</c:v>
                      </c:pt>
                      <c:pt idx="4617">
                        <c:v>45484.416666666672</c:v>
                      </c:pt>
                      <c:pt idx="4618">
                        <c:v>45484.458333333328</c:v>
                      </c:pt>
                      <c:pt idx="4619">
                        <c:v>45484.5</c:v>
                      </c:pt>
                      <c:pt idx="4620">
                        <c:v>45484.541666666672</c:v>
                      </c:pt>
                      <c:pt idx="4621">
                        <c:v>45484.583333333328</c:v>
                      </c:pt>
                      <c:pt idx="4622">
                        <c:v>45484.625</c:v>
                      </c:pt>
                      <c:pt idx="4623">
                        <c:v>45484.666666666672</c:v>
                      </c:pt>
                      <c:pt idx="4624">
                        <c:v>45484.708333333328</c:v>
                      </c:pt>
                      <c:pt idx="4625">
                        <c:v>45484.75</c:v>
                      </c:pt>
                      <c:pt idx="4626">
                        <c:v>45484.791666666672</c:v>
                      </c:pt>
                      <c:pt idx="4627">
                        <c:v>45484.833333333328</c:v>
                      </c:pt>
                      <c:pt idx="4628">
                        <c:v>45484.875</c:v>
                      </c:pt>
                      <c:pt idx="4629">
                        <c:v>45484.916666666672</c:v>
                      </c:pt>
                      <c:pt idx="4630">
                        <c:v>45484.958333333328</c:v>
                      </c:pt>
                      <c:pt idx="4631">
                        <c:v>45485</c:v>
                      </c:pt>
                      <c:pt idx="4632">
                        <c:v>45485.041666666672</c:v>
                      </c:pt>
                      <c:pt idx="4633">
                        <c:v>45485.083333333328</c:v>
                      </c:pt>
                      <c:pt idx="4634">
                        <c:v>45485.125</c:v>
                      </c:pt>
                      <c:pt idx="4635">
                        <c:v>45485.166666666672</c:v>
                      </c:pt>
                      <c:pt idx="4636">
                        <c:v>45485.208333333328</c:v>
                      </c:pt>
                      <c:pt idx="4637">
                        <c:v>45485.25</c:v>
                      </c:pt>
                      <c:pt idx="4638">
                        <c:v>45485.291666666672</c:v>
                      </c:pt>
                      <c:pt idx="4639">
                        <c:v>45485.333333333328</c:v>
                      </c:pt>
                      <c:pt idx="4640">
                        <c:v>45485.375</c:v>
                      </c:pt>
                      <c:pt idx="4641">
                        <c:v>45485.416666666672</c:v>
                      </c:pt>
                      <c:pt idx="4642">
                        <c:v>45485.458333333328</c:v>
                      </c:pt>
                      <c:pt idx="4643">
                        <c:v>45485.5</c:v>
                      </c:pt>
                      <c:pt idx="4644">
                        <c:v>45485.541666666672</c:v>
                      </c:pt>
                      <c:pt idx="4645">
                        <c:v>45485.583333333328</c:v>
                      </c:pt>
                      <c:pt idx="4646">
                        <c:v>45485.625</c:v>
                      </c:pt>
                      <c:pt idx="4647">
                        <c:v>45485.666666666672</c:v>
                      </c:pt>
                      <c:pt idx="4648">
                        <c:v>45485.708333333328</c:v>
                      </c:pt>
                      <c:pt idx="4649">
                        <c:v>45485.75</c:v>
                      </c:pt>
                      <c:pt idx="4650">
                        <c:v>45485.791666666672</c:v>
                      </c:pt>
                      <c:pt idx="4651">
                        <c:v>45485.833333333328</c:v>
                      </c:pt>
                      <c:pt idx="4652">
                        <c:v>45485.875</c:v>
                      </c:pt>
                      <c:pt idx="4653">
                        <c:v>45485.916666666672</c:v>
                      </c:pt>
                      <c:pt idx="4654">
                        <c:v>45485.958333333328</c:v>
                      </c:pt>
                      <c:pt idx="4655">
                        <c:v>45486</c:v>
                      </c:pt>
                      <c:pt idx="4656">
                        <c:v>45486.041666666672</c:v>
                      </c:pt>
                      <c:pt idx="4657">
                        <c:v>45486.083333333328</c:v>
                      </c:pt>
                      <c:pt idx="4658">
                        <c:v>45486.125</c:v>
                      </c:pt>
                      <c:pt idx="4659">
                        <c:v>45486.166666666672</c:v>
                      </c:pt>
                      <c:pt idx="4660">
                        <c:v>45486.208333333328</c:v>
                      </c:pt>
                      <c:pt idx="4661">
                        <c:v>45486.25</c:v>
                      </c:pt>
                      <c:pt idx="4662">
                        <c:v>45486.291666666672</c:v>
                      </c:pt>
                      <c:pt idx="4663">
                        <c:v>45486.333333333328</c:v>
                      </c:pt>
                      <c:pt idx="4664">
                        <c:v>45486.375</c:v>
                      </c:pt>
                      <c:pt idx="4665">
                        <c:v>45486.416666666672</c:v>
                      </c:pt>
                      <c:pt idx="4666">
                        <c:v>45486.458333333328</c:v>
                      </c:pt>
                      <c:pt idx="4667">
                        <c:v>45486.5</c:v>
                      </c:pt>
                      <c:pt idx="4668">
                        <c:v>45486.541666666672</c:v>
                      </c:pt>
                      <c:pt idx="4669">
                        <c:v>45486.583333333328</c:v>
                      </c:pt>
                      <c:pt idx="4670">
                        <c:v>45486.625</c:v>
                      </c:pt>
                      <c:pt idx="4671">
                        <c:v>45486.666666666672</c:v>
                      </c:pt>
                      <c:pt idx="4672">
                        <c:v>45486.708333333328</c:v>
                      </c:pt>
                      <c:pt idx="4673">
                        <c:v>45486.75</c:v>
                      </c:pt>
                      <c:pt idx="4674">
                        <c:v>45486.791666666672</c:v>
                      </c:pt>
                      <c:pt idx="4675">
                        <c:v>45486.833333333328</c:v>
                      </c:pt>
                      <c:pt idx="4676">
                        <c:v>45486.875</c:v>
                      </c:pt>
                      <c:pt idx="4677">
                        <c:v>45486.916666666672</c:v>
                      </c:pt>
                      <c:pt idx="4678">
                        <c:v>45486.958333333328</c:v>
                      </c:pt>
                      <c:pt idx="4679">
                        <c:v>45487</c:v>
                      </c:pt>
                      <c:pt idx="4680">
                        <c:v>45487.041666666672</c:v>
                      </c:pt>
                      <c:pt idx="4681">
                        <c:v>45487.083333333328</c:v>
                      </c:pt>
                      <c:pt idx="4682">
                        <c:v>45487.125</c:v>
                      </c:pt>
                      <c:pt idx="4683">
                        <c:v>45487.166666666672</c:v>
                      </c:pt>
                      <c:pt idx="4684">
                        <c:v>45487.208333333328</c:v>
                      </c:pt>
                      <c:pt idx="4685">
                        <c:v>45487.25</c:v>
                      </c:pt>
                      <c:pt idx="4686">
                        <c:v>45487.291666666672</c:v>
                      </c:pt>
                      <c:pt idx="4687">
                        <c:v>45487.333333333328</c:v>
                      </c:pt>
                      <c:pt idx="4688">
                        <c:v>45487.375</c:v>
                      </c:pt>
                      <c:pt idx="4689">
                        <c:v>45487.416666666672</c:v>
                      </c:pt>
                      <c:pt idx="4690">
                        <c:v>45487.458333333328</c:v>
                      </c:pt>
                      <c:pt idx="4691">
                        <c:v>45487.5</c:v>
                      </c:pt>
                      <c:pt idx="4692">
                        <c:v>45487.541666666672</c:v>
                      </c:pt>
                      <c:pt idx="4693">
                        <c:v>45487.583333333328</c:v>
                      </c:pt>
                      <c:pt idx="4694">
                        <c:v>45487.625</c:v>
                      </c:pt>
                      <c:pt idx="4695">
                        <c:v>45487.666666666672</c:v>
                      </c:pt>
                      <c:pt idx="4696">
                        <c:v>45487.708333333328</c:v>
                      </c:pt>
                      <c:pt idx="4697">
                        <c:v>45487.75</c:v>
                      </c:pt>
                      <c:pt idx="4698">
                        <c:v>45487.791666666672</c:v>
                      </c:pt>
                      <c:pt idx="4699">
                        <c:v>45487.833333333328</c:v>
                      </c:pt>
                      <c:pt idx="4700">
                        <c:v>45487.875</c:v>
                      </c:pt>
                      <c:pt idx="4701">
                        <c:v>45487.916666666672</c:v>
                      </c:pt>
                      <c:pt idx="4702">
                        <c:v>45487.958333333328</c:v>
                      </c:pt>
                      <c:pt idx="4703">
                        <c:v>45488</c:v>
                      </c:pt>
                      <c:pt idx="4704">
                        <c:v>45488.041666666672</c:v>
                      </c:pt>
                      <c:pt idx="4705">
                        <c:v>45488.083333333328</c:v>
                      </c:pt>
                      <c:pt idx="4706">
                        <c:v>45488.125</c:v>
                      </c:pt>
                      <c:pt idx="4707">
                        <c:v>45488.166666666672</c:v>
                      </c:pt>
                      <c:pt idx="4708">
                        <c:v>45488.208333333328</c:v>
                      </c:pt>
                      <c:pt idx="4709">
                        <c:v>45488.25</c:v>
                      </c:pt>
                      <c:pt idx="4710">
                        <c:v>45488.291666666672</c:v>
                      </c:pt>
                      <c:pt idx="4711">
                        <c:v>45488.333333333328</c:v>
                      </c:pt>
                      <c:pt idx="4712">
                        <c:v>45488.375</c:v>
                      </c:pt>
                      <c:pt idx="4713">
                        <c:v>45488.416666666672</c:v>
                      </c:pt>
                      <c:pt idx="4714">
                        <c:v>45488.458333333328</c:v>
                      </c:pt>
                      <c:pt idx="4715">
                        <c:v>45488.5</c:v>
                      </c:pt>
                      <c:pt idx="4716">
                        <c:v>45488.541666666672</c:v>
                      </c:pt>
                      <c:pt idx="4717">
                        <c:v>45488.583333333328</c:v>
                      </c:pt>
                      <c:pt idx="4718">
                        <c:v>45488.625</c:v>
                      </c:pt>
                      <c:pt idx="4719">
                        <c:v>45488.666666666672</c:v>
                      </c:pt>
                      <c:pt idx="4720">
                        <c:v>45488.708333333328</c:v>
                      </c:pt>
                      <c:pt idx="4721">
                        <c:v>45488.75</c:v>
                      </c:pt>
                      <c:pt idx="4722">
                        <c:v>45488.791666666672</c:v>
                      </c:pt>
                      <c:pt idx="4723">
                        <c:v>45488.833333333328</c:v>
                      </c:pt>
                      <c:pt idx="4724">
                        <c:v>45488.875</c:v>
                      </c:pt>
                      <c:pt idx="4725">
                        <c:v>45488.916666666672</c:v>
                      </c:pt>
                      <c:pt idx="4726">
                        <c:v>45488.958333333328</c:v>
                      </c:pt>
                      <c:pt idx="4727">
                        <c:v>45489</c:v>
                      </c:pt>
                      <c:pt idx="4728">
                        <c:v>45489.041666666672</c:v>
                      </c:pt>
                      <c:pt idx="4729">
                        <c:v>45489.083333333328</c:v>
                      </c:pt>
                      <c:pt idx="4730">
                        <c:v>45489.125</c:v>
                      </c:pt>
                      <c:pt idx="4731">
                        <c:v>45489.166666666672</c:v>
                      </c:pt>
                      <c:pt idx="4732">
                        <c:v>45489.208333333328</c:v>
                      </c:pt>
                      <c:pt idx="4733">
                        <c:v>45489.25</c:v>
                      </c:pt>
                      <c:pt idx="4734">
                        <c:v>45489.291666666672</c:v>
                      </c:pt>
                      <c:pt idx="4735">
                        <c:v>45489.333333333328</c:v>
                      </c:pt>
                      <c:pt idx="4736">
                        <c:v>45489.375</c:v>
                      </c:pt>
                      <c:pt idx="4737">
                        <c:v>45489.416666666672</c:v>
                      </c:pt>
                      <c:pt idx="4738">
                        <c:v>45489.458333333328</c:v>
                      </c:pt>
                      <c:pt idx="4739">
                        <c:v>45489.5</c:v>
                      </c:pt>
                      <c:pt idx="4740">
                        <c:v>45489.541666666672</c:v>
                      </c:pt>
                      <c:pt idx="4741">
                        <c:v>45489.583333333328</c:v>
                      </c:pt>
                      <c:pt idx="4742">
                        <c:v>45489.625</c:v>
                      </c:pt>
                      <c:pt idx="4743">
                        <c:v>45489.666666666672</c:v>
                      </c:pt>
                      <c:pt idx="4744">
                        <c:v>45489.708333333328</c:v>
                      </c:pt>
                      <c:pt idx="4745">
                        <c:v>45489.75</c:v>
                      </c:pt>
                      <c:pt idx="4746">
                        <c:v>45489.791666666672</c:v>
                      </c:pt>
                      <c:pt idx="4747">
                        <c:v>45489.833333333328</c:v>
                      </c:pt>
                      <c:pt idx="4748">
                        <c:v>45489.875</c:v>
                      </c:pt>
                      <c:pt idx="4749">
                        <c:v>45489.916666666672</c:v>
                      </c:pt>
                      <c:pt idx="4750">
                        <c:v>45489.958333333328</c:v>
                      </c:pt>
                      <c:pt idx="4751">
                        <c:v>45490</c:v>
                      </c:pt>
                      <c:pt idx="4752">
                        <c:v>45490.041666666672</c:v>
                      </c:pt>
                      <c:pt idx="4753">
                        <c:v>45490.083333333328</c:v>
                      </c:pt>
                      <c:pt idx="4754">
                        <c:v>45490.125</c:v>
                      </c:pt>
                      <c:pt idx="4755">
                        <c:v>45490.166666666672</c:v>
                      </c:pt>
                      <c:pt idx="4756">
                        <c:v>45490.208333333328</c:v>
                      </c:pt>
                      <c:pt idx="4757">
                        <c:v>45490.25</c:v>
                      </c:pt>
                      <c:pt idx="4758">
                        <c:v>45490.291666666672</c:v>
                      </c:pt>
                      <c:pt idx="4759">
                        <c:v>45490.333333333328</c:v>
                      </c:pt>
                      <c:pt idx="4760">
                        <c:v>45490.375</c:v>
                      </c:pt>
                      <c:pt idx="4761">
                        <c:v>45490.416666666672</c:v>
                      </c:pt>
                      <c:pt idx="4762">
                        <c:v>45490.458333333328</c:v>
                      </c:pt>
                      <c:pt idx="4763">
                        <c:v>45490.5</c:v>
                      </c:pt>
                      <c:pt idx="4764">
                        <c:v>45490.541666666672</c:v>
                      </c:pt>
                      <c:pt idx="4765">
                        <c:v>45490.583333333328</c:v>
                      </c:pt>
                      <c:pt idx="4766">
                        <c:v>45490.625</c:v>
                      </c:pt>
                      <c:pt idx="4767">
                        <c:v>45490.666666666672</c:v>
                      </c:pt>
                      <c:pt idx="4768">
                        <c:v>45490.708333333328</c:v>
                      </c:pt>
                      <c:pt idx="4769">
                        <c:v>45490.75</c:v>
                      </c:pt>
                      <c:pt idx="4770">
                        <c:v>45490.791666666672</c:v>
                      </c:pt>
                      <c:pt idx="4771">
                        <c:v>45490.833333333328</c:v>
                      </c:pt>
                      <c:pt idx="4772">
                        <c:v>45490.875</c:v>
                      </c:pt>
                      <c:pt idx="4773">
                        <c:v>45490.916666666672</c:v>
                      </c:pt>
                      <c:pt idx="4774">
                        <c:v>45490.958333333328</c:v>
                      </c:pt>
                      <c:pt idx="4775">
                        <c:v>45491</c:v>
                      </c:pt>
                      <c:pt idx="4776">
                        <c:v>45491.041666666672</c:v>
                      </c:pt>
                      <c:pt idx="4777">
                        <c:v>45491.083333333328</c:v>
                      </c:pt>
                      <c:pt idx="4778">
                        <c:v>45491.125</c:v>
                      </c:pt>
                      <c:pt idx="4779">
                        <c:v>45491.166666666672</c:v>
                      </c:pt>
                      <c:pt idx="4780">
                        <c:v>45491.208333333328</c:v>
                      </c:pt>
                      <c:pt idx="4781">
                        <c:v>45491.25</c:v>
                      </c:pt>
                      <c:pt idx="4782">
                        <c:v>45491.291666666672</c:v>
                      </c:pt>
                      <c:pt idx="4783">
                        <c:v>45491.333333333328</c:v>
                      </c:pt>
                      <c:pt idx="4784">
                        <c:v>45491.375</c:v>
                      </c:pt>
                      <c:pt idx="4785">
                        <c:v>45491.416666666672</c:v>
                      </c:pt>
                      <c:pt idx="4786">
                        <c:v>45491.458333333328</c:v>
                      </c:pt>
                      <c:pt idx="4787">
                        <c:v>45491.5</c:v>
                      </c:pt>
                      <c:pt idx="4788">
                        <c:v>45491.541666666672</c:v>
                      </c:pt>
                      <c:pt idx="4789">
                        <c:v>45491.583333333328</c:v>
                      </c:pt>
                      <c:pt idx="4790">
                        <c:v>45491.625</c:v>
                      </c:pt>
                      <c:pt idx="4791">
                        <c:v>45491.666666666672</c:v>
                      </c:pt>
                      <c:pt idx="4792">
                        <c:v>45491.708333333328</c:v>
                      </c:pt>
                      <c:pt idx="4793">
                        <c:v>45491.75</c:v>
                      </c:pt>
                      <c:pt idx="4794">
                        <c:v>45491.791666666672</c:v>
                      </c:pt>
                      <c:pt idx="4795">
                        <c:v>45491.833333333328</c:v>
                      </c:pt>
                      <c:pt idx="4796">
                        <c:v>45491.875</c:v>
                      </c:pt>
                      <c:pt idx="4797">
                        <c:v>45491.916666666672</c:v>
                      </c:pt>
                      <c:pt idx="4798">
                        <c:v>45491.958333333328</c:v>
                      </c:pt>
                      <c:pt idx="4799">
                        <c:v>45492</c:v>
                      </c:pt>
                      <c:pt idx="4800">
                        <c:v>45492.041666666672</c:v>
                      </c:pt>
                      <c:pt idx="4801">
                        <c:v>45492.083333333328</c:v>
                      </c:pt>
                      <c:pt idx="4802">
                        <c:v>45492.125</c:v>
                      </c:pt>
                      <c:pt idx="4803">
                        <c:v>45492.166666666672</c:v>
                      </c:pt>
                      <c:pt idx="4804">
                        <c:v>45492.208333333328</c:v>
                      </c:pt>
                      <c:pt idx="4805">
                        <c:v>45492.25</c:v>
                      </c:pt>
                      <c:pt idx="4806">
                        <c:v>45492.291666666672</c:v>
                      </c:pt>
                      <c:pt idx="4807">
                        <c:v>45492.333333333328</c:v>
                      </c:pt>
                      <c:pt idx="4808">
                        <c:v>45492.375</c:v>
                      </c:pt>
                      <c:pt idx="4809">
                        <c:v>45492.416666666672</c:v>
                      </c:pt>
                      <c:pt idx="4810">
                        <c:v>45492.458333333328</c:v>
                      </c:pt>
                      <c:pt idx="4811">
                        <c:v>45492.5</c:v>
                      </c:pt>
                      <c:pt idx="4812">
                        <c:v>45492.541666666672</c:v>
                      </c:pt>
                      <c:pt idx="4813">
                        <c:v>45492.583333333328</c:v>
                      </c:pt>
                      <c:pt idx="4814">
                        <c:v>45492.625</c:v>
                      </c:pt>
                      <c:pt idx="4815">
                        <c:v>45492.666666666672</c:v>
                      </c:pt>
                      <c:pt idx="4816">
                        <c:v>45492.708333333328</c:v>
                      </c:pt>
                      <c:pt idx="4817">
                        <c:v>45492.75</c:v>
                      </c:pt>
                      <c:pt idx="4818">
                        <c:v>45492.791666666672</c:v>
                      </c:pt>
                      <c:pt idx="4819">
                        <c:v>45492.833333333328</c:v>
                      </c:pt>
                      <c:pt idx="4820">
                        <c:v>45492.875</c:v>
                      </c:pt>
                      <c:pt idx="4821">
                        <c:v>45492.916666666672</c:v>
                      </c:pt>
                      <c:pt idx="4822">
                        <c:v>45492.958333333328</c:v>
                      </c:pt>
                      <c:pt idx="4823">
                        <c:v>45493</c:v>
                      </c:pt>
                      <c:pt idx="4824">
                        <c:v>45493.041666666672</c:v>
                      </c:pt>
                      <c:pt idx="4825">
                        <c:v>45493.083333333328</c:v>
                      </c:pt>
                      <c:pt idx="4826">
                        <c:v>45493.125</c:v>
                      </c:pt>
                      <c:pt idx="4827">
                        <c:v>45493.166666666672</c:v>
                      </c:pt>
                      <c:pt idx="4828">
                        <c:v>45493.208333333328</c:v>
                      </c:pt>
                      <c:pt idx="4829">
                        <c:v>45493.25</c:v>
                      </c:pt>
                      <c:pt idx="4830">
                        <c:v>45493.291666666672</c:v>
                      </c:pt>
                      <c:pt idx="4831">
                        <c:v>45493.333333333328</c:v>
                      </c:pt>
                      <c:pt idx="4832">
                        <c:v>45493.375</c:v>
                      </c:pt>
                      <c:pt idx="4833">
                        <c:v>45493.416666666672</c:v>
                      </c:pt>
                      <c:pt idx="4834">
                        <c:v>45493.458333333328</c:v>
                      </c:pt>
                      <c:pt idx="4835">
                        <c:v>45493.5</c:v>
                      </c:pt>
                      <c:pt idx="4836">
                        <c:v>45493.541666666672</c:v>
                      </c:pt>
                      <c:pt idx="4837">
                        <c:v>45493.583333333328</c:v>
                      </c:pt>
                      <c:pt idx="4838">
                        <c:v>45493.625</c:v>
                      </c:pt>
                      <c:pt idx="4839">
                        <c:v>45493.666666666672</c:v>
                      </c:pt>
                      <c:pt idx="4840">
                        <c:v>45493.708333333328</c:v>
                      </c:pt>
                      <c:pt idx="4841">
                        <c:v>45493.75</c:v>
                      </c:pt>
                      <c:pt idx="4842">
                        <c:v>45493.791666666672</c:v>
                      </c:pt>
                      <c:pt idx="4843">
                        <c:v>45493.833333333328</c:v>
                      </c:pt>
                      <c:pt idx="4844">
                        <c:v>45493.875</c:v>
                      </c:pt>
                      <c:pt idx="4845">
                        <c:v>45493.916666666672</c:v>
                      </c:pt>
                      <c:pt idx="4846">
                        <c:v>45493.958333333328</c:v>
                      </c:pt>
                      <c:pt idx="4847">
                        <c:v>45494</c:v>
                      </c:pt>
                      <c:pt idx="4848">
                        <c:v>45494.041666666672</c:v>
                      </c:pt>
                      <c:pt idx="4849">
                        <c:v>45494.083333333328</c:v>
                      </c:pt>
                      <c:pt idx="4850">
                        <c:v>45494.125</c:v>
                      </c:pt>
                      <c:pt idx="4851">
                        <c:v>45494.166666666672</c:v>
                      </c:pt>
                      <c:pt idx="4852">
                        <c:v>45494.208333333328</c:v>
                      </c:pt>
                      <c:pt idx="4853">
                        <c:v>45494.25</c:v>
                      </c:pt>
                      <c:pt idx="4854">
                        <c:v>45494.291666666672</c:v>
                      </c:pt>
                      <c:pt idx="4855">
                        <c:v>45494.333333333328</c:v>
                      </c:pt>
                      <c:pt idx="4856">
                        <c:v>45494.375</c:v>
                      </c:pt>
                      <c:pt idx="4857">
                        <c:v>45494.416666666672</c:v>
                      </c:pt>
                      <c:pt idx="4858">
                        <c:v>45494.458333333328</c:v>
                      </c:pt>
                      <c:pt idx="4859">
                        <c:v>45494.5</c:v>
                      </c:pt>
                      <c:pt idx="4860">
                        <c:v>45494.541666666672</c:v>
                      </c:pt>
                      <c:pt idx="4861">
                        <c:v>45494.583333333328</c:v>
                      </c:pt>
                      <c:pt idx="4862">
                        <c:v>45494.625</c:v>
                      </c:pt>
                      <c:pt idx="4863">
                        <c:v>45494.666666666672</c:v>
                      </c:pt>
                      <c:pt idx="4864">
                        <c:v>45494.708333333328</c:v>
                      </c:pt>
                      <c:pt idx="4865">
                        <c:v>45494.75</c:v>
                      </c:pt>
                      <c:pt idx="4866">
                        <c:v>45494.791666666672</c:v>
                      </c:pt>
                      <c:pt idx="4867">
                        <c:v>45494.833333333328</c:v>
                      </c:pt>
                      <c:pt idx="4868">
                        <c:v>45494.875</c:v>
                      </c:pt>
                      <c:pt idx="4869">
                        <c:v>45494.916666666672</c:v>
                      </c:pt>
                      <c:pt idx="4870">
                        <c:v>45494.958333333328</c:v>
                      </c:pt>
                      <c:pt idx="4871">
                        <c:v>45495</c:v>
                      </c:pt>
                      <c:pt idx="4872">
                        <c:v>45495.041666666672</c:v>
                      </c:pt>
                      <c:pt idx="4873">
                        <c:v>45495.083333333328</c:v>
                      </c:pt>
                      <c:pt idx="4874">
                        <c:v>45495.125</c:v>
                      </c:pt>
                      <c:pt idx="4875">
                        <c:v>45495.166666666672</c:v>
                      </c:pt>
                      <c:pt idx="4876">
                        <c:v>45495.208333333328</c:v>
                      </c:pt>
                      <c:pt idx="4877">
                        <c:v>45495.25</c:v>
                      </c:pt>
                      <c:pt idx="4878">
                        <c:v>45495.291666666672</c:v>
                      </c:pt>
                      <c:pt idx="4879">
                        <c:v>45495.333333333328</c:v>
                      </c:pt>
                      <c:pt idx="4880">
                        <c:v>45495.375</c:v>
                      </c:pt>
                      <c:pt idx="4881">
                        <c:v>45495.416666666672</c:v>
                      </c:pt>
                      <c:pt idx="4882">
                        <c:v>45495.458333333328</c:v>
                      </c:pt>
                      <c:pt idx="4883">
                        <c:v>45495.5</c:v>
                      </c:pt>
                      <c:pt idx="4884">
                        <c:v>45495.541666666672</c:v>
                      </c:pt>
                      <c:pt idx="4885">
                        <c:v>45495.583333333328</c:v>
                      </c:pt>
                      <c:pt idx="4886">
                        <c:v>45495.625</c:v>
                      </c:pt>
                      <c:pt idx="4887">
                        <c:v>45495.666666666672</c:v>
                      </c:pt>
                      <c:pt idx="4888">
                        <c:v>45495.708333333328</c:v>
                      </c:pt>
                      <c:pt idx="4889">
                        <c:v>45495.75</c:v>
                      </c:pt>
                      <c:pt idx="4890">
                        <c:v>45495.791666666672</c:v>
                      </c:pt>
                      <c:pt idx="4891">
                        <c:v>45495.833333333328</c:v>
                      </c:pt>
                      <c:pt idx="4892">
                        <c:v>45495.875</c:v>
                      </c:pt>
                      <c:pt idx="4893">
                        <c:v>45495.916666666672</c:v>
                      </c:pt>
                      <c:pt idx="4894">
                        <c:v>45495.958333333328</c:v>
                      </c:pt>
                      <c:pt idx="4895">
                        <c:v>45496</c:v>
                      </c:pt>
                      <c:pt idx="4896">
                        <c:v>45496.041666666672</c:v>
                      </c:pt>
                      <c:pt idx="4897">
                        <c:v>45496.083333333328</c:v>
                      </c:pt>
                      <c:pt idx="4898">
                        <c:v>45496.125</c:v>
                      </c:pt>
                      <c:pt idx="4899">
                        <c:v>45496.166666666672</c:v>
                      </c:pt>
                      <c:pt idx="4900">
                        <c:v>45496.208333333328</c:v>
                      </c:pt>
                      <c:pt idx="4901">
                        <c:v>45496.25</c:v>
                      </c:pt>
                      <c:pt idx="4902">
                        <c:v>45496.291666666672</c:v>
                      </c:pt>
                      <c:pt idx="4903">
                        <c:v>45496.333333333328</c:v>
                      </c:pt>
                      <c:pt idx="4904">
                        <c:v>45496.375</c:v>
                      </c:pt>
                      <c:pt idx="4905">
                        <c:v>45496.416666666672</c:v>
                      </c:pt>
                      <c:pt idx="4906">
                        <c:v>45496.458333333328</c:v>
                      </c:pt>
                      <c:pt idx="4907">
                        <c:v>45496.5</c:v>
                      </c:pt>
                      <c:pt idx="4908">
                        <c:v>45496.541666666672</c:v>
                      </c:pt>
                      <c:pt idx="4909">
                        <c:v>45496.583333333328</c:v>
                      </c:pt>
                      <c:pt idx="4910">
                        <c:v>45496.625</c:v>
                      </c:pt>
                      <c:pt idx="4911">
                        <c:v>45496.666666666672</c:v>
                      </c:pt>
                      <c:pt idx="4912">
                        <c:v>45496.708333333328</c:v>
                      </c:pt>
                      <c:pt idx="4913">
                        <c:v>45496.75</c:v>
                      </c:pt>
                      <c:pt idx="4914">
                        <c:v>45496.791666666672</c:v>
                      </c:pt>
                      <c:pt idx="4915">
                        <c:v>45496.833333333328</c:v>
                      </c:pt>
                      <c:pt idx="4916">
                        <c:v>45496.875</c:v>
                      </c:pt>
                      <c:pt idx="4917">
                        <c:v>45496.916666666672</c:v>
                      </c:pt>
                      <c:pt idx="4918">
                        <c:v>45496.958333333328</c:v>
                      </c:pt>
                      <c:pt idx="4919">
                        <c:v>45497</c:v>
                      </c:pt>
                      <c:pt idx="4920">
                        <c:v>45497.041666666672</c:v>
                      </c:pt>
                      <c:pt idx="4921">
                        <c:v>45497.083333333328</c:v>
                      </c:pt>
                      <c:pt idx="4922">
                        <c:v>45497.125</c:v>
                      </c:pt>
                      <c:pt idx="4923">
                        <c:v>45497.166666666672</c:v>
                      </c:pt>
                      <c:pt idx="4924">
                        <c:v>45497.208333333328</c:v>
                      </c:pt>
                      <c:pt idx="4925">
                        <c:v>45497.25</c:v>
                      </c:pt>
                      <c:pt idx="4926">
                        <c:v>45497.291666666672</c:v>
                      </c:pt>
                      <c:pt idx="4927">
                        <c:v>45497.333333333328</c:v>
                      </c:pt>
                      <c:pt idx="4928">
                        <c:v>45497.375</c:v>
                      </c:pt>
                      <c:pt idx="4929">
                        <c:v>45497.416666666672</c:v>
                      </c:pt>
                      <c:pt idx="4930">
                        <c:v>45497.458333333328</c:v>
                      </c:pt>
                      <c:pt idx="4931">
                        <c:v>45497.5</c:v>
                      </c:pt>
                      <c:pt idx="4932">
                        <c:v>45497.541666666672</c:v>
                      </c:pt>
                      <c:pt idx="4933">
                        <c:v>45497.583333333328</c:v>
                      </c:pt>
                      <c:pt idx="4934">
                        <c:v>45497.625</c:v>
                      </c:pt>
                      <c:pt idx="4935">
                        <c:v>45497.666666666672</c:v>
                      </c:pt>
                      <c:pt idx="4936">
                        <c:v>45497.708333333328</c:v>
                      </c:pt>
                      <c:pt idx="4937">
                        <c:v>45497.75</c:v>
                      </c:pt>
                      <c:pt idx="4938">
                        <c:v>45497.791666666672</c:v>
                      </c:pt>
                      <c:pt idx="4939">
                        <c:v>45497.833333333328</c:v>
                      </c:pt>
                      <c:pt idx="4940">
                        <c:v>45497.875</c:v>
                      </c:pt>
                      <c:pt idx="4941">
                        <c:v>45497.916666666672</c:v>
                      </c:pt>
                      <c:pt idx="4942">
                        <c:v>45497.958333333328</c:v>
                      </c:pt>
                      <c:pt idx="4943">
                        <c:v>45498</c:v>
                      </c:pt>
                      <c:pt idx="4944">
                        <c:v>45498.041666666672</c:v>
                      </c:pt>
                      <c:pt idx="4945">
                        <c:v>45498.083333333328</c:v>
                      </c:pt>
                      <c:pt idx="4946">
                        <c:v>45498.125</c:v>
                      </c:pt>
                      <c:pt idx="4947">
                        <c:v>45498.166666666672</c:v>
                      </c:pt>
                      <c:pt idx="4948">
                        <c:v>45498.208333333328</c:v>
                      </c:pt>
                      <c:pt idx="4949">
                        <c:v>45498.25</c:v>
                      </c:pt>
                      <c:pt idx="4950">
                        <c:v>45498.291666666672</c:v>
                      </c:pt>
                      <c:pt idx="4951">
                        <c:v>45498.333333333328</c:v>
                      </c:pt>
                      <c:pt idx="4952">
                        <c:v>45498.375</c:v>
                      </c:pt>
                      <c:pt idx="4953">
                        <c:v>45498.416666666672</c:v>
                      </c:pt>
                      <c:pt idx="4954">
                        <c:v>45498.458333333328</c:v>
                      </c:pt>
                      <c:pt idx="4955">
                        <c:v>45498.5</c:v>
                      </c:pt>
                      <c:pt idx="4956">
                        <c:v>45498.541666666672</c:v>
                      </c:pt>
                      <c:pt idx="4957">
                        <c:v>45498.583333333328</c:v>
                      </c:pt>
                      <c:pt idx="4958">
                        <c:v>45498.625</c:v>
                      </c:pt>
                      <c:pt idx="4959">
                        <c:v>45498.666666666672</c:v>
                      </c:pt>
                      <c:pt idx="4960">
                        <c:v>45498.708333333328</c:v>
                      </c:pt>
                      <c:pt idx="4961">
                        <c:v>45498.75</c:v>
                      </c:pt>
                      <c:pt idx="4962">
                        <c:v>45498.791666666672</c:v>
                      </c:pt>
                      <c:pt idx="4963">
                        <c:v>45498.833333333328</c:v>
                      </c:pt>
                      <c:pt idx="4964">
                        <c:v>45498.875</c:v>
                      </c:pt>
                      <c:pt idx="4965">
                        <c:v>45498.916666666672</c:v>
                      </c:pt>
                      <c:pt idx="4966">
                        <c:v>45498.958333333328</c:v>
                      </c:pt>
                      <c:pt idx="4967">
                        <c:v>45499</c:v>
                      </c:pt>
                      <c:pt idx="4968">
                        <c:v>45499.041666666672</c:v>
                      </c:pt>
                      <c:pt idx="4969">
                        <c:v>45499.083333333328</c:v>
                      </c:pt>
                      <c:pt idx="4970">
                        <c:v>45499.125</c:v>
                      </c:pt>
                      <c:pt idx="4971">
                        <c:v>45499.166666666672</c:v>
                      </c:pt>
                      <c:pt idx="4972">
                        <c:v>45499.208333333328</c:v>
                      </c:pt>
                      <c:pt idx="4973">
                        <c:v>45499.25</c:v>
                      </c:pt>
                      <c:pt idx="4974">
                        <c:v>45499.291666666672</c:v>
                      </c:pt>
                      <c:pt idx="4975">
                        <c:v>45499.333333333328</c:v>
                      </c:pt>
                      <c:pt idx="4976">
                        <c:v>45499.375</c:v>
                      </c:pt>
                      <c:pt idx="4977">
                        <c:v>45499.416666666672</c:v>
                      </c:pt>
                      <c:pt idx="4978">
                        <c:v>45499.458333333328</c:v>
                      </c:pt>
                      <c:pt idx="4979">
                        <c:v>45499.5</c:v>
                      </c:pt>
                      <c:pt idx="4980">
                        <c:v>45499.541666666672</c:v>
                      </c:pt>
                      <c:pt idx="4981">
                        <c:v>45499.583333333328</c:v>
                      </c:pt>
                      <c:pt idx="4982">
                        <c:v>45499.625</c:v>
                      </c:pt>
                      <c:pt idx="4983">
                        <c:v>45499.666666666672</c:v>
                      </c:pt>
                      <c:pt idx="4984">
                        <c:v>45499.708333333328</c:v>
                      </c:pt>
                      <c:pt idx="4985">
                        <c:v>45499.75</c:v>
                      </c:pt>
                      <c:pt idx="4986">
                        <c:v>45499.791666666672</c:v>
                      </c:pt>
                      <c:pt idx="4987">
                        <c:v>45499.833333333328</c:v>
                      </c:pt>
                      <c:pt idx="4988">
                        <c:v>45499.875</c:v>
                      </c:pt>
                      <c:pt idx="4989">
                        <c:v>45499.916666666672</c:v>
                      </c:pt>
                      <c:pt idx="4990">
                        <c:v>45499.958333333328</c:v>
                      </c:pt>
                      <c:pt idx="4991">
                        <c:v>45500</c:v>
                      </c:pt>
                      <c:pt idx="4992">
                        <c:v>45500.041666666672</c:v>
                      </c:pt>
                      <c:pt idx="4993">
                        <c:v>45500.083333333328</c:v>
                      </c:pt>
                      <c:pt idx="4994">
                        <c:v>45500.125</c:v>
                      </c:pt>
                      <c:pt idx="4995">
                        <c:v>45500.166666666672</c:v>
                      </c:pt>
                      <c:pt idx="4996">
                        <c:v>45500.208333333328</c:v>
                      </c:pt>
                      <c:pt idx="4997">
                        <c:v>45500.25</c:v>
                      </c:pt>
                      <c:pt idx="4998">
                        <c:v>45500.291666666672</c:v>
                      </c:pt>
                      <c:pt idx="4999">
                        <c:v>45500.333333333328</c:v>
                      </c:pt>
                      <c:pt idx="5000">
                        <c:v>45500.375</c:v>
                      </c:pt>
                      <c:pt idx="5001">
                        <c:v>45500.416666666672</c:v>
                      </c:pt>
                      <c:pt idx="5002">
                        <c:v>45500.458333333328</c:v>
                      </c:pt>
                      <c:pt idx="5003">
                        <c:v>45500.5</c:v>
                      </c:pt>
                      <c:pt idx="5004">
                        <c:v>45500.541666666672</c:v>
                      </c:pt>
                      <c:pt idx="5005">
                        <c:v>45500.583333333328</c:v>
                      </c:pt>
                      <c:pt idx="5006">
                        <c:v>45500.625</c:v>
                      </c:pt>
                      <c:pt idx="5007">
                        <c:v>45500.666666666672</c:v>
                      </c:pt>
                      <c:pt idx="5008">
                        <c:v>45500.708333333328</c:v>
                      </c:pt>
                      <c:pt idx="5009">
                        <c:v>45500.75</c:v>
                      </c:pt>
                      <c:pt idx="5010">
                        <c:v>45500.791666666672</c:v>
                      </c:pt>
                      <c:pt idx="5011">
                        <c:v>45500.833333333328</c:v>
                      </c:pt>
                      <c:pt idx="5012">
                        <c:v>45500.875</c:v>
                      </c:pt>
                      <c:pt idx="5013">
                        <c:v>45500.916666666672</c:v>
                      </c:pt>
                      <c:pt idx="5014">
                        <c:v>45500.958333333328</c:v>
                      </c:pt>
                      <c:pt idx="5015">
                        <c:v>45501</c:v>
                      </c:pt>
                      <c:pt idx="5016">
                        <c:v>45501.041666666672</c:v>
                      </c:pt>
                      <c:pt idx="5017">
                        <c:v>45501.083333333328</c:v>
                      </c:pt>
                      <c:pt idx="5018">
                        <c:v>45501.125</c:v>
                      </c:pt>
                      <c:pt idx="5019">
                        <c:v>45501.166666666672</c:v>
                      </c:pt>
                      <c:pt idx="5020">
                        <c:v>45501.208333333328</c:v>
                      </c:pt>
                      <c:pt idx="5021">
                        <c:v>45501.25</c:v>
                      </c:pt>
                      <c:pt idx="5022">
                        <c:v>45501.291666666672</c:v>
                      </c:pt>
                      <c:pt idx="5023">
                        <c:v>45501.333333333328</c:v>
                      </c:pt>
                      <c:pt idx="5024">
                        <c:v>45501.375</c:v>
                      </c:pt>
                      <c:pt idx="5025">
                        <c:v>45501.416666666672</c:v>
                      </c:pt>
                      <c:pt idx="5026">
                        <c:v>45501.458333333328</c:v>
                      </c:pt>
                      <c:pt idx="5027">
                        <c:v>45501.5</c:v>
                      </c:pt>
                      <c:pt idx="5028">
                        <c:v>45501.541666666672</c:v>
                      </c:pt>
                      <c:pt idx="5029">
                        <c:v>45501.583333333328</c:v>
                      </c:pt>
                      <c:pt idx="5030">
                        <c:v>45501.625</c:v>
                      </c:pt>
                      <c:pt idx="5031">
                        <c:v>45501.666666666672</c:v>
                      </c:pt>
                      <c:pt idx="5032">
                        <c:v>45501.708333333328</c:v>
                      </c:pt>
                      <c:pt idx="5033">
                        <c:v>45501.75</c:v>
                      </c:pt>
                      <c:pt idx="5034">
                        <c:v>45501.791666666672</c:v>
                      </c:pt>
                      <c:pt idx="5035">
                        <c:v>45501.833333333328</c:v>
                      </c:pt>
                      <c:pt idx="5036">
                        <c:v>45501.875</c:v>
                      </c:pt>
                      <c:pt idx="5037">
                        <c:v>45501.916666666672</c:v>
                      </c:pt>
                      <c:pt idx="5038">
                        <c:v>45501.958333333328</c:v>
                      </c:pt>
                      <c:pt idx="5039">
                        <c:v>45502</c:v>
                      </c:pt>
                      <c:pt idx="5040">
                        <c:v>45502.041666666672</c:v>
                      </c:pt>
                      <c:pt idx="5041">
                        <c:v>45502.083333333328</c:v>
                      </c:pt>
                      <c:pt idx="5042">
                        <c:v>45502.125</c:v>
                      </c:pt>
                      <c:pt idx="5043">
                        <c:v>45502.166666666672</c:v>
                      </c:pt>
                      <c:pt idx="5044">
                        <c:v>45502.208333333328</c:v>
                      </c:pt>
                      <c:pt idx="5045">
                        <c:v>45502.25</c:v>
                      </c:pt>
                      <c:pt idx="5046">
                        <c:v>45502.291666666672</c:v>
                      </c:pt>
                      <c:pt idx="5047">
                        <c:v>45502.333333333328</c:v>
                      </c:pt>
                      <c:pt idx="5048">
                        <c:v>45502.375</c:v>
                      </c:pt>
                      <c:pt idx="5049">
                        <c:v>45502.416666666672</c:v>
                      </c:pt>
                      <c:pt idx="5050">
                        <c:v>45502.458333333328</c:v>
                      </c:pt>
                      <c:pt idx="5051">
                        <c:v>45502.5</c:v>
                      </c:pt>
                      <c:pt idx="5052">
                        <c:v>45502.541666666672</c:v>
                      </c:pt>
                      <c:pt idx="5053">
                        <c:v>45502.583333333328</c:v>
                      </c:pt>
                      <c:pt idx="5054">
                        <c:v>45502.625</c:v>
                      </c:pt>
                      <c:pt idx="5055">
                        <c:v>45502.666666666672</c:v>
                      </c:pt>
                      <c:pt idx="5056">
                        <c:v>45502.708333333328</c:v>
                      </c:pt>
                      <c:pt idx="5057">
                        <c:v>45502.75</c:v>
                      </c:pt>
                      <c:pt idx="5058">
                        <c:v>45502.791666666672</c:v>
                      </c:pt>
                      <c:pt idx="5059">
                        <c:v>45502.833333333328</c:v>
                      </c:pt>
                      <c:pt idx="5060">
                        <c:v>45502.875</c:v>
                      </c:pt>
                      <c:pt idx="5061">
                        <c:v>45502.916666666672</c:v>
                      </c:pt>
                      <c:pt idx="5062">
                        <c:v>45502.958333333328</c:v>
                      </c:pt>
                      <c:pt idx="5063">
                        <c:v>45503</c:v>
                      </c:pt>
                      <c:pt idx="5064">
                        <c:v>45503.041666666672</c:v>
                      </c:pt>
                      <c:pt idx="5065">
                        <c:v>45503.083333333328</c:v>
                      </c:pt>
                      <c:pt idx="5066">
                        <c:v>45503.125</c:v>
                      </c:pt>
                      <c:pt idx="5067">
                        <c:v>45503.166666666672</c:v>
                      </c:pt>
                      <c:pt idx="5068">
                        <c:v>45503.208333333328</c:v>
                      </c:pt>
                      <c:pt idx="5069">
                        <c:v>45503.25</c:v>
                      </c:pt>
                      <c:pt idx="5070">
                        <c:v>45503.291666666672</c:v>
                      </c:pt>
                      <c:pt idx="5071">
                        <c:v>45503.333333333328</c:v>
                      </c:pt>
                      <c:pt idx="5072">
                        <c:v>45503.375</c:v>
                      </c:pt>
                      <c:pt idx="5073">
                        <c:v>45503.416666666672</c:v>
                      </c:pt>
                      <c:pt idx="5074">
                        <c:v>45503.458333333328</c:v>
                      </c:pt>
                      <c:pt idx="5075">
                        <c:v>45503.5</c:v>
                      </c:pt>
                      <c:pt idx="5076">
                        <c:v>45503.541666666672</c:v>
                      </c:pt>
                      <c:pt idx="5077">
                        <c:v>45503.583333333328</c:v>
                      </c:pt>
                      <c:pt idx="5078">
                        <c:v>45503.625</c:v>
                      </c:pt>
                      <c:pt idx="5079">
                        <c:v>45503.666666666672</c:v>
                      </c:pt>
                      <c:pt idx="5080">
                        <c:v>45503.708333333328</c:v>
                      </c:pt>
                      <c:pt idx="5081">
                        <c:v>45503.75</c:v>
                      </c:pt>
                      <c:pt idx="5082">
                        <c:v>45503.791666666672</c:v>
                      </c:pt>
                      <c:pt idx="5083">
                        <c:v>45503.833333333328</c:v>
                      </c:pt>
                      <c:pt idx="5084">
                        <c:v>45503.875</c:v>
                      </c:pt>
                      <c:pt idx="5085">
                        <c:v>45503.916666666672</c:v>
                      </c:pt>
                      <c:pt idx="5086">
                        <c:v>45503.958333333328</c:v>
                      </c:pt>
                      <c:pt idx="5087">
                        <c:v>45504</c:v>
                      </c:pt>
                      <c:pt idx="5088">
                        <c:v>45504.041666666672</c:v>
                      </c:pt>
                      <c:pt idx="5089">
                        <c:v>45504.083333333328</c:v>
                      </c:pt>
                      <c:pt idx="5090">
                        <c:v>45504.125</c:v>
                      </c:pt>
                      <c:pt idx="5091">
                        <c:v>45504.166666666672</c:v>
                      </c:pt>
                      <c:pt idx="5092">
                        <c:v>45504.208333333328</c:v>
                      </c:pt>
                      <c:pt idx="5093">
                        <c:v>45504.25</c:v>
                      </c:pt>
                      <c:pt idx="5094">
                        <c:v>45504.291666666672</c:v>
                      </c:pt>
                      <c:pt idx="5095">
                        <c:v>45504.333333333328</c:v>
                      </c:pt>
                      <c:pt idx="5096">
                        <c:v>45504.375</c:v>
                      </c:pt>
                      <c:pt idx="5097">
                        <c:v>45504.416666666672</c:v>
                      </c:pt>
                      <c:pt idx="5098">
                        <c:v>45504.458333333328</c:v>
                      </c:pt>
                      <c:pt idx="5099">
                        <c:v>45504.5</c:v>
                      </c:pt>
                      <c:pt idx="5100">
                        <c:v>45504.541666666672</c:v>
                      </c:pt>
                      <c:pt idx="5101">
                        <c:v>45504.583333333328</c:v>
                      </c:pt>
                      <c:pt idx="5102">
                        <c:v>45504.625</c:v>
                      </c:pt>
                      <c:pt idx="5103">
                        <c:v>45504.666666666672</c:v>
                      </c:pt>
                      <c:pt idx="5104">
                        <c:v>45504.708333333328</c:v>
                      </c:pt>
                      <c:pt idx="5105">
                        <c:v>45504.75</c:v>
                      </c:pt>
                      <c:pt idx="5106">
                        <c:v>45504.791666666672</c:v>
                      </c:pt>
                      <c:pt idx="5107">
                        <c:v>45504.833333333328</c:v>
                      </c:pt>
                      <c:pt idx="5108">
                        <c:v>45504.875</c:v>
                      </c:pt>
                      <c:pt idx="5109">
                        <c:v>45504.916666666672</c:v>
                      </c:pt>
                      <c:pt idx="5110">
                        <c:v>45504.958333333328</c:v>
                      </c:pt>
                      <c:pt idx="5111">
                        <c:v>45505</c:v>
                      </c:pt>
                      <c:pt idx="5112">
                        <c:v>45505.041666666672</c:v>
                      </c:pt>
                      <c:pt idx="5113">
                        <c:v>45505.083333333328</c:v>
                      </c:pt>
                      <c:pt idx="5114">
                        <c:v>45505.125</c:v>
                      </c:pt>
                      <c:pt idx="5115">
                        <c:v>45505.166666666672</c:v>
                      </c:pt>
                      <c:pt idx="5116">
                        <c:v>45505.208333333328</c:v>
                      </c:pt>
                      <c:pt idx="5117">
                        <c:v>45505.25</c:v>
                      </c:pt>
                      <c:pt idx="5118">
                        <c:v>45505.291666666672</c:v>
                      </c:pt>
                      <c:pt idx="5119">
                        <c:v>45505.333333333328</c:v>
                      </c:pt>
                      <c:pt idx="5120">
                        <c:v>45505.375</c:v>
                      </c:pt>
                      <c:pt idx="5121">
                        <c:v>45505.416666666672</c:v>
                      </c:pt>
                      <c:pt idx="5122">
                        <c:v>45505.458333333328</c:v>
                      </c:pt>
                      <c:pt idx="5123">
                        <c:v>45505.5</c:v>
                      </c:pt>
                      <c:pt idx="5124">
                        <c:v>45505.541666666672</c:v>
                      </c:pt>
                      <c:pt idx="5125">
                        <c:v>45505.583333333328</c:v>
                      </c:pt>
                      <c:pt idx="5126">
                        <c:v>45505.625</c:v>
                      </c:pt>
                      <c:pt idx="5127">
                        <c:v>45505.666666666672</c:v>
                      </c:pt>
                      <c:pt idx="5128">
                        <c:v>45505.708333333328</c:v>
                      </c:pt>
                      <c:pt idx="5129">
                        <c:v>45505.75</c:v>
                      </c:pt>
                      <c:pt idx="5130">
                        <c:v>45505.791666666672</c:v>
                      </c:pt>
                      <c:pt idx="5131">
                        <c:v>45505.833333333328</c:v>
                      </c:pt>
                      <c:pt idx="5132">
                        <c:v>45505.875</c:v>
                      </c:pt>
                      <c:pt idx="5133">
                        <c:v>45505.916666666672</c:v>
                      </c:pt>
                      <c:pt idx="5134">
                        <c:v>45505.958333333328</c:v>
                      </c:pt>
                      <c:pt idx="5135">
                        <c:v>45506</c:v>
                      </c:pt>
                      <c:pt idx="5136">
                        <c:v>45506.041666666672</c:v>
                      </c:pt>
                      <c:pt idx="5137">
                        <c:v>45506.083333333328</c:v>
                      </c:pt>
                      <c:pt idx="5138">
                        <c:v>45506.125</c:v>
                      </c:pt>
                      <c:pt idx="5139">
                        <c:v>45506.166666666672</c:v>
                      </c:pt>
                      <c:pt idx="5140">
                        <c:v>45506.208333333328</c:v>
                      </c:pt>
                      <c:pt idx="5141">
                        <c:v>45506.25</c:v>
                      </c:pt>
                      <c:pt idx="5142">
                        <c:v>45506.291666666672</c:v>
                      </c:pt>
                      <c:pt idx="5143">
                        <c:v>45506.333333333328</c:v>
                      </c:pt>
                      <c:pt idx="5144">
                        <c:v>45506.375</c:v>
                      </c:pt>
                      <c:pt idx="5145">
                        <c:v>45506.416666666672</c:v>
                      </c:pt>
                      <c:pt idx="5146">
                        <c:v>45506.458333333328</c:v>
                      </c:pt>
                      <c:pt idx="5147">
                        <c:v>45506.5</c:v>
                      </c:pt>
                      <c:pt idx="5148">
                        <c:v>45506.541666666672</c:v>
                      </c:pt>
                      <c:pt idx="5149">
                        <c:v>45506.583333333328</c:v>
                      </c:pt>
                      <c:pt idx="5150">
                        <c:v>45506.625</c:v>
                      </c:pt>
                      <c:pt idx="5151">
                        <c:v>45506.666666666672</c:v>
                      </c:pt>
                      <c:pt idx="5152">
                        <c:v>45506.708333333328</c:v>
                      </c:pt>
                      <c:pt idx="5153">
                        <c:v>45506.75</c:v>
                      </c:pt>
                      <c:pt idx="5154">
                        <c:v>45506.791666666672</c:v>
                      </c:pt>
                      <c:pt idx="5155">
                        <c:v>45506.833333333328</c:v>
                      </c:pt>
                      <c:pt idx="5156">
                        <c:v>45506.875</c:v>
                      </c:pt>
                      <c:pt idx="5157">
                        <c:v>45506.916666666672</c:v>
                      </c:pt>
                      <c:pt idx="5158">
                        <c:v>45506.958333333328</c:v>
                      </c:pt>
                      <c:pt idx="5159">
                        <c:v>45507</c:v>
                      </c:pt>
                      <c:pt idx="5160">
                        <c:v>45507.041666666672</c:v>
                      </c:pt>
                      <c:pt idx="5161">
                        <c:v>45507.083333333328</c:v>
                      </c:pt>
                      <c:pt idx="5162">
                        <c:v>45507.125</c:v>
                      </c:pt>
                      <c:pt idx="5163">
                        <c:v>45507.166666666672</c:v>
                      </c:pt>
                      <c:pt idx="5164">
                        <c:v>45507.208333333328</c:v>
                      </c:pt>
                      <c:pt idx="5165">
                        <c:v>45507.25</c:v>
                      </c:pt>
                      <c:pt idx="5166">
                        <c:v>45507.291666666672</c:v>
                      </c:pt>
                      <c:pt idx="5167">
                        <c:v>45507.333333333328</c:v>
                      </c:pt>
                      <c:pt idx="5168">
                        <c:v>45507.375</c:v>
                      </c:pt>
                      <c:pt idx="5169">
                        <c:v>45507.416666666672</c:v>
                      </c:pt>
                      <c:pt idx="5170">
                        <c:v>45507.458333333328</c:v>
                      </c:pt>
                      <c:pt idx="5171">
                        <c:v>45507.5</c:v>
                      </c:pt>
                      <c:pt idx="5172">
                        <c:v>45507.541666666672</c:v>
                      </c:pt>
                      <c:pt idx="5173">
                        <c:v>45507.583333333328</c:v>
                      </c:pt>
                      <c:pt idx="5174">
                        <c:v>45507.625</c:v>
                      </c:pt>
                      <c:pt idx="5175">
                        <c:v>45507.666666666672</c:v>
                      </c:pt>
                      <c:pt idx="5176">
                        <c:v>45507.708333333328</c:v>
                      </c:pt>
                      <c:pt idx="5177">
                        <c:v>45507.75</c:v>
                      </c:pt>
                      <c:pt idx="5178">
                        <c:v>45507.791666666672</c:v>
                      </c:pt>
                      <c:pt idx="5179">
                        <c:v>45507.833333333328</c:v>
                      </c:pt>
                      <c:pt idx="5180">
                        <c:v>45507.875</c:v>
                      </c:pt>
                      <c:pt idx="5181">
                        <c:v>45507.916666666672</c:v>
                      </c:pt>
                      <c:pt idx="5182">
                        <c:v>45507.958333333328</c:v>
                      </c:pt>
                      <c:pt idx="5183">
                        <c:v>45508</c:v>
                      </c:pt>
                      <c:pt idx="5184">
                        <c:v>45508.041666666672</c:v>
                      </c:pt>
                      <c:pt idx="5185">
                        <c:v>45508.083333333328</c:v>
                      </c:pt>
                      <c:pt idx="5186">
                        <c:v>45508.125</c:v>
                      </c:pt>
                      <c:pt idx="5187">
                        <c:v>45508.166666666672</c:v>
                      </c:pt>
                      <c:pt idx="5188">
                        <c:v>45508.208333333328</c:v>
                      </c:pt>
                      <c:pt idx="5189">
                        <c:v>45508.25</c:v>
                      </c:pt>
                      <c:pt idx="5190">
                        <c:v>45508.291666666672</c:v>
                      </c:pt>
                      <c:pt idx="5191">
                        <c:v>45508.333333333328</c:v>
                      </c:pt>
                      <c:pt idx="5192">
                        <c:v>45508.375</c:v>
                      </c:pt>
                      <c:pt idx="5193">
                        <c:v>45508.416666666672</c:v>
                      </c:pt>
                      <c:pt idx="5194">
                        <c:v>45508.458333333328</c:v>
                      </c:pt>
                      <c:pt idx="5195">
                        <c:v>45508.5</c:v>
                      </c:pt>
                      <c:pt idx="5196">
                        <c:v>45508.541666666672</c:v>
                      </c:pt>
                      <c:pt idx="5197">
                        <c:v>45508.583333333328</c:v>
                      </c:pt>
                      <c:pt idx="5198">
                        <c:v>45508.625</c:v>
                      </c:pt>
                      <c:pt idx="5199">
                        <c:v>45508.666666666672</c:v>
                      </c:pt>
                      <c:pt idx="5200">
                        <c:v>45508.708333333328</c:v>
                      </c:pt>
                      <c:pt idx="5201">
                        <c:v>45508.75</c:v>
                      </c:pt>
                      <c:pt idx="5202">
                        <c:v>45508.791666666672</c:v>
                      </c:pt>
                      <c:pt idx="5203">
                        <c:v>45508.833333333328</c:v>
                      </c:pt>
                      <c:pt idx="5204">
                        <c:v>45508.875</c:v>
                      </c:pt>
                      <c:pt idx="5205">
                        <c:v>45508.916666666672</c:v>
                      </c:pt>
                      <c:pt idx="5206">
                        <c:v>45508.958333333328</c:v>
                      </c:pt>
                      <c:pt idx="5207">
                        <c:v>45509</c:v>
                      </c:pt>
                      <c:pt idx="5208">
                        <c:v>45509.041666666672</c:v>
                      </c:pt>
                      <c:pt idx="5209">
                        <c:v>45509.083333333328</c:v>
                      </c:pt>
                      <c:pt idx="5210">
                        <c:v>45509.125</c:v>
                      </c:pt>
                      <c:pt idx="5211">
                        <c:v>45509.166666666672</c:v>
                      </c:pt>
                      <c:pt idx="5212">
                        <c:v>45509.208333333328</c:v>
                      </c:pt>
                      <c:pt idx="5213">
                        <c:v>45509.25</c:v>
                      </c:pt>
                      <c:pt idx="5214">
                        <c:v>45509.291666666672</c:v>
                      </c:pt>
                      <c:pt idx="5215">
                        <c:v>45509.333333333328</c:v>
                      </c:pt>
                      <c:pt idx="5216">
                        <c:v>45509.375</c:v>
                      </c:pt>
                      <c:pt idx="5217">
                        <c:v>45509.416666666672</c:v>
                      </c:pt>
                      <c:pt idx="5218">
                        <c:v>45509.458333333328</c:v>
                      </c:pt>
                      <c:pt idx="5219">
                        <c:v>45509.5</c:v>
                      </c:pt>
                      <c:pt idx="5220">
                        <c:v>45509.541666666672</c:v>
                      </c:pt>
                      <c:pt idx="5221">
                        <c:v>45509.583333333328</c:v>
                      </c:pt>
                      <c:pt idx="5222">
                        <c:v>45509.625</c:v>
                      </c:pt>
                      <c:pt idx="5223">
                        <c:v>45509.666666666672</c:v>
                      </c:pt>
                      <c:pt idx="5224">
                        <c:v>45509.708333333328</c:v>
                      </c:pt>
                      <c:pt idx="5225">
                        <c:v>45509.75</c:v>
                      </c:pt>
                      <c:pt idx="5226">
                        <c:v>45509.791666666672</c:v>
                      </c:pt>
                      <c:pt idx="5227">
                        <c:v>45509.833333333328</c:v>
                      </c:pt>
                      <c:pt idx="5228">
                        <c:v>45509.875</c:v>
                      </c:pt>
                      <c:pt idx="5229">
                        <c:v>45509.916666666672</c:v>
                      </c:pt>
                      <c:pt idx="5230">
                        <c:v>45509.958333333328</c:v>
                      </c:pt>
                      <c:pt idx="5231">
                        <c:v>45510</c:v>
                      </c:pt>
                      <c:pt idx="5232">
                        <c:v>45510.041666666672</c:v>
                      </c:pt>
                      <c:pt idx="5233">
                        <c:v>45510.083333333328</c:v>
                      </c:pt>
                      <c:pt idx="5234">
                        <c:v>45510.125</c:v>
                      </c:pt>
                      <c:pt idx="5235">
                        <c:v>45510.166666666672</c:v>
                      </c:pt>
                      <c:pt idx="5236">
                        <c:v>45510.208333333328</c:v>
                      </c:pt>
                      <c:pt idx="5237">
                        <c:v>45510.25</c:v>
                      </c:pt>
                      <c:pt idx="5238">
                        <c:v>45510.291666666672</c:v>
                      </c:pt>
                      <c:pt idx="5239">
                        <c:v>45510.333333333328</c:v>
                      </c:pt>
                      <c:pt idx="5240">
                        <c:v>45510.375</c:v>
                      </c:pt>
                      <c:pt idx="5241">
                        <c:v>45510.416666666672</c:v>
                      </c:pt>
                      <c:pt idx="5242">
                        <c:v>45510.458333333328</c:v>
                      </c:pt>
                      <c:pt idx="5243">
                        <c:v>45510.5</c:v>
                      </c:pt>
                      <c:pt idx="5244">
                        <c:v>45510.541666666672</c:v>
                      </c:pt>
                      <c:pt idx="5245">
                        <c:v>45510.583333333328</c:v>
                      </c:pt>
                      <c:pt idx="5246">
                        <c:v>45510.625</c:v>
                      </c:pt>
                      <c:pt idx="5247">
                        <c:v>45510.666666666672</c:v>
                      </c:pt>
                      <c:pt idx="5248">
                        <c:v>45510.708333333328</c:v>
                      </c:pt>
                      <c:pt idx="5249">
                        <c:v>45510.75</c:v>
                      </c:pt>
                      <c:pt idx="5250">
                        <c:v>45510.791666666672</c:v>
                      </c:pt>
                      <c:pt idx="5251">
                        <c:v>45510.833333333328</c:v>
                      </c:pt>
                      <c:pt idx="5252">
                        <c:v>45510.875</c:v>
                      </c:pt>
                      <c:pt idx="5253">
                        <c:v>45510.916666666672</c:v>
                      </c:pt>
                      <c:pt idx="5254">
                        <c:v>45510.958333333328</c:v>
                      </c:pt>
                      <c:pt idx="5255">
                        <c:v>45511</c:v>
                      </c:pt>
                      <c:pt idx="5256">
                        <c:v>45511.041666666672</c:v>
                      </c:pt>
                      <c:pt idx="5257">
                        <c:v>45511.083333333328</c:v>
                      </c:pt>
                      <c:pt idx="5258">
                        <c:v>45511.125</c:v>
                      </c:pt>
                      <c:pt idx="5259">
                        <c:v>45511.166666666672</c:v>
                      </c:pt>
                      <c:pt idx="5260">
                        <c:v>45511.208333333328</c:v>
                      </c:pt>
                      <c:pt idx="5261">
                        <c:v>45511.25</c:v>
                      </c:pt>
                      <c:pt idx="5262">
                        <c:v>45511.291666666672</c:v>
                      </c:pt>
                      <c:pt idx="5263">
                        <c:v>45511.333333333328</c:v>
                      </c:pt>
                      <c:pt idx="5264">
                        <c:v>45511.375</c:v>
                      </c:pt>
                      <c:pt idx="5265">
                        <c:v>45511.416666666672</c:v>
                      </c:pt>
                      <c:pt idx="5266">
                        <c:v>45511.458333333328</c:v>
                      </c:pt>
                      <c:pt idx="5267">
                        <c:v>45511.5</c:v>
                      </c:pt>
                      <c:pt idx="5268">
                        <c:v>45511.541666666672</c:v>
                      </c:pt>
                      <c:pt idx="5269">
                        <c:v>45511.583333333328</c:v>
                      </c:pt>
                      <c:pt idx="5270">
                        <c:v>45511.625</c:v>
                      </c:pt>
                      <c:pt idx="5271">
                        <c:v>45511.666666666672</c:v>
                      </c:pt>
                      <c:pt idx="5272">
                        <c:v>45511.708333333328</c:v>
                      </c:pt>
                      <c:pt idx="5273">
                        <c:v>45511.75</c:v>
                      </c:pt>
                      <c:pt idx="5274">
                        <c:v>45511.791666666672</c:v>
                      </c:pt>
                      <c:pt idx="5275">
                        <c:v>45511.833333333328</c:v>
                      </c:pt>
                      <c:pt idx="5276">
                        <c:v>45511.875</c:v>
                      </c:pt>
                      <c:pt idx="5277">
                        <c:v>45511.916666666672</c:v>
                      </c:pt>
                      <c:pt idx="5278">
                        <c:v>45511.958333333328</c:v>
                      </c:pt>
                      <c:pt idx="5279">
                        <c:v>45512</c:v>
                      </c:pt>
                      <c:pt idx="5280">
                        <c:v>45512.041666666672</c:v>
                      </c:pt>
                      <c:pt idx="5281">
                        <c:v>45512.083333333328</c:v>
                      </c:pt>
                      <c:pt idx="5282">
                        <c:v>45512.125</c:v>
                      </c:pt>
                      <c:pt idx="5283">
                        <c:v>45512.166666666672</c:v>
                      </c:pt>
                      <c:pt idx="5284">
                        <c:v>45512.208333333328</c:v>
                      </c:pt>
                      <c:pt idx="5285">
                        <c:v>45512.25</c:v>
                      </c:pt>
                      <c:pt idx="5286">
                        <c:v>45512.291666666672</c:v>
                      </c:pt>
                      <c:pt idx="5287">
                        <c:v>45512.333333333328</c:v>
                      </c:pt>
                      <c:pt idx="5288">
                        <c:v>45512.375</c:v>
                      </c:pt>
                      <c:pt idx="5289">
                        <c:v>45512.416666666672</c:v>
                      </c:pt>
                      <c:pt idx="5290">
                        <c:v>45512.458333333328</c:v>
                      </c:pt>
                      <c:pt idx="5291">
                        <c:v>45512.5</c:v>
                      </c:pt>
                      <c:pt idx="5292">
                        <c:v>45512.541666666672</c:v>
                      </c:pt>
                      <c:pt idx="5293">
                        <c:v>45512.583333333328</c:v>
                      </c:pt>
                      <c:pt idx="5294">
                        <c:v>45512.625</c:v>
                      </c:pt>
                      <c:pt idx="5295">
                        <c:v>45512.666666666672</c:v>
                      </c:pt>
                      <c:pt idx="5296">
                        <c:v>45512.708333333328</c:v>
                      </c:pt>
                      <c:pt idx="5297">
                        <c:v>45512.75</c:v>
                      </c:pt>
                      <c:pt idx="5298">
                        <c:v>45512.791666666672</c:v>
                      </c:pt>
                      <c:pt idx="5299">
                        <c:v>45512.833333333328</c:v>
                      </c:pt>
                      <c:pt idx="5300">
                        <c:v>45512.875</c:v>
                      </c:pt>
                      <c:pt idx="5301">
                        <c:v>45512.916666666672</c:v>
                      </c:pt>
                      <c:pt idx="5302">
                        <c:v>45512.958333333328</c:v>
                      </c:pt>
                      <c:pt idx="5303">
                        <c:v>45513</c:v>
                      </c:pt>
                      <c:pt idx="5304">
                        <c:v>45513.041666666672</c:v>
                      </c:pt>
                      <c:pt idx="5305">
                        <c:v>45513.083333333328</c:v>
                      </c:pt>
                      <c:pt idx="5306">
                        <c:v>45513.125</c:v>
                      </c:pt>
                      <c:pt idx="5307">
                        <c:v>45513.166666666672</c:v>
                      </c:pt>
                      <c:pt idx="5308">
                        <c:v>45513.208333333328</c:v>
                      </c:pt>
                      <c:pt idx="5309">
                        <c:v>45513.25</c:v>
                      </c:pt>
                      <c:pt idx="5310">
                        <c:v>45513.291666666672</c:v>
                      </c:pt>
                      <c:pt idx="5311">
                        <c:v>45513.333333333328</c:v>
                      </c:pt>
                      <c:pt idx="5312">
                        <c:v>45513.375</c:v>
                      </c:pt>
                      <c:pt idx="5313">
                        <c:v>45513.416666666672</c:v>
                      </c:pt>
                      <c:pt idx="5314">
                        <c:v>45513.458333333328</c:v>
                      </c:pt>
                      <c:pt idx="5315">
                        <c:v>45513.5</c:v>
                      </c:pt>
                      <c:pt idx="5316">
                        <c:v>45513.541666666672</c:v>
                      </c:pt>
                      <c:pt idx="5317">
                        <c:v>45513.583333333328</c:v>
                      </c:pt>
                      <c:pt idx="5318">
                        <c:v>45513.625</c:v>
                      </c:pt>
                      <c:pt idx="5319">
                        <c:v>45513.666666666672</c:v>
                      </c:pt>
                      <c:pt idx="5320">
                        <c:v>45513.708333333328</c:v>
                      </c:pt>
                      <c:pt idx="5321">
                        <c:v>45513.75</c:v>
                      </c:pt>
                      <c:pt idx="5322">
                        <c:v>45513.791666666672</c:v>
                      </c:pt>
                      <c:pt idx="5323">
                        <c:v>45513.833333333328</c:v>
                      </c:pt>
                      <c:pt idx="5324">
                        <c:v>45513.875</c:v>
                      </c:pt>
                      <c:pt idx="5325">
                        <c:v>45513.916666666672</c:v>
                      </c:pt>
                      <c:pt idx="5326">
                        <c:v>45513.958333333328</c:v>
                      </c:pt>
                      <c:pt idx="5327">
                        <c:v>45514</c:v>
                      </c:pt>
                      <c:pt idx="5328">
                        <c:v>45514.041666666672</c:v>
                      </c:pt>
                      <c:pt idx="5329">
                        <c:v>45514.083333333328</c:v>
                      </c:pt>
                      <c:pt idx="5330">
                        <c:v>45514.125</c:v>
                      </c:pt>
                      <c:pt idx="5331">
                        <c:v>45514.166666666672</c:v>
                      </c:pt>
                      <c:pt idx="5332">
                        <c:v>45514.208333333328</c:v>
                      </c:pt>
                      <c:pt idx="5333">
                        <c:v>45514.25</c:v>
                      </c:pt>
                      <c:pt idx="5334">
                        <c:v>45514.291666666672</c:v>
                      </c:pt>
                      <c:pt idx="5335">
                        <c:v>45514.333333333328</c:v>
                      </c:pt>
                      <c:pt idx="5336">
                        <c:v>45514.375</c:v>
                      </c:pt>
                      <c:pt idx="5337">
                        <c:v>45514.416666666672</c:v>
                      </c:pt>
                      <c:pt idx="5338">
                        <c:v>45514.458333333328</c:v>
                      </c:pt>
                      <c:pt idx="5339">
                        <c:v>45514.5</c:v>
                      </c:pt>
                      <c:pt idx="5340">
                        <c:v>45514.541666666672</c:v>
                      </c:pt>
                      <c:pt idx="5341">
                        <c:v>45514.583333333328</c:v>
                      </c:pt>
                      <c:pt idx="5342">
                        <c:v>45514.625</c:v>
                      </c:pt>
                      <c:pt idx="5343">
                        <c:v>45514.666666666672</c:v>
                      </c:pt>
                      <c:pt idx="5344">
                        <c:v>45514.708333333328</c:v>
                      </c:pt>
                      <c:pt idx="5345">
                        <c:v>45514.75</c:v>
                      </c:pt>
                      <c:pt idx="5346">
                        <c:v>45514.791666666672</c:v>
                      </c:pt>
                      <c:pt idx="5347">
                        <c:v>45514.833333333328</c:v>
                      </c:pt>
                      <c:pt idx="5348">
                        <c:v>45514.875</c:v>
                      </c:pt>
                      <c:pt idx="5349">
                        <c:v>45514.916666666672</c:v>
                      </c:pt>
                      <c:pt idx="5350">
                        <c:v>45514.958333333328</c:v>
                      </c:pt>
                      <c:pt idx="5351">
                        <c:v>45515</c:v>
                      </c:pt>
                      <c:pt idx="5352">
                        <c:v>45515.041666666672</c:v>
                      </c:pt>
                      <c:pt idx="5353">
                        <c:v>45515.083333333328</c:v>
                      </c:pt>
                      <c:pt idx="5354">
                        <c:v>45515.125</c:v>
                      </c:pt>
                      <c:pt idx="5355">
                        <c:v>45515.166666666672</c:v>
                      </c:pt>
                      <c:pt idx="5356">
                        <c:v>45515.208333333328</c:v>
                      </c:pt>
                      <c:pt idx="5357">
                        <c:v>45515.25</c:v>
                      </c:pt>
                      <c:pt idx="5358">
                        <c:v>45515.291666666672</c:v>
                      </c:pt>
                      <c:pt idx="5359">
                        <c:v>45515.333333333328</c:v>
                      </c:pt>
                      <c:pt idx="5360">
                        <c:v>45515.375</c:v>
                      </c:pt>
                      <c:pt idx="5361">
                        <c:v>45515.416666666672</c:v>
                      </c:pt>
                      <c:pt idx="5362">
                        <c:v>45515.458333333328</c:v>
                      </c:pt>
                      <c:pt idx="5363">
                        <c:v>45515.5</c:v>
                      </c:pt>
                      <c:pt idx="5364">
                        <c:v>45515.541666666672</c:v>
                      </c:pt>
                      <c:pt idx="5365">
                        <c:v>45515.583333333328</c:v>
                      </c:pt>
                      <c:pt idx="5366">
                        <c:v>45515.625</c:v>
                      </c:pt>
                      <c:pt idx="5367">
                        <c:v>45515.666666666672</c:v>
                      </c:pt>
                      <c:pt idx="5368">
                        <c:v>45515.708333333328</c:v>
                      </c:pt>
                      <c:pt idx="5369">
                        <c:v>45515.75</c:v>
                      </c:pt>
                      <c:pt idx="5370">
                        <c:v>45515.791666666672</c:v>
                      </c:pt>
                      <c:pt idx="5371">
                        <c:v>45515.833333333328</c:v>
                      </c:pt>
                      <c:pt idx="5372">
                        <c:v>45515.875</c:v>
                      </c:pt>
                      <c:pt idx="5373">
                        <c:v>45515.916666666672</c:v>
                      </c:pt>
                      <c:pt idx="5374">
                        <c:v>45515.958333333328</c:v>
                      </c:pt>
                      <c:pt idx="5375">
                        <c:v>45516</c:v>
                      </c:pt>
                      <c:pt idx="5376">
                        <c:v>45516.041666666672</c:v>
                      </c:pt>
                      <c:pt idx="5377">
                        <c:v>45516.083333333328</c:v>
                      </c:pt>
                      <c:pt idx="5378">
                        <c:v>45516.125</c:v>
                      </c:pt>
                      <c:pt idx="5379">
                        <c:v>45516.166666666672</c:v>
                      </c:pt>
                      <c:pt idx="5380">
                        <c:v>45516.208333333328</c:v>
                      </c:pt>
                      <c:pt idx="5381">
                        <c:v>45516.25</c:v>
                      </c:pt>
                      <c:pt idx="5382">
                        <c:v>45516.291666666672</c:v>
                      </c:pt>
                      <c:pt idx="5383">
                        <c:v>45516.333333333328</c:v>
                      </c:pt>
                      <c:pt idx="5384">
                        <c:v>45516.375</c:v>
                      </c:pt>
                      <c:pt idx="5385">
                        <c:v>45516.416666666672</c:v>
                      </c:pt>
                      <c:pt idx="5386">
                        <c:v>45516.458333333328</c:v>
                      </c:pt>
                      <c:pt idx="5387">
                        <c:v>45516.5</c:v>
                      </c:pt>
                      <c:pt idx="5388">
                        <c:v>45516.541666666672</c:v>
                      </c:pt>
                      <c:pt idx="5389">
                        <c:v>45516.583333333328</c:v>
                      </c:pt>
                      <c:pt idx="5390">
                        <c:v>45516.625</c:v>
                      </c:pt>
                      <c:pt idx="5391">
                        <c:v>45516.666666666672</c:v>
                      </c:pt>
                      <c:pt idx="5392">
                        <c:v>45516.708333333328</c:v>
                      </c:pt>
                      <c:pt idx="5393">
                        <c:v>45516.75</c:v>
                      </c:pt>
                      <c:pt idx="5394">
                        <c:v>45516.791666666672</c:v>
                      </c:pt>
                      <c:pt idx="5395">
                        <c:v>45516.833333333328</c:v>
                      </c:pt>
                      <c:pt idx="5396">
                        <c:v>45516.875</c:v>
                      </c:pt>
                      <c:pt idx="5397">
                        <c:v>45516.916666666672</c:v>
                      </c:pt>
                      <c:pt idx="5398">
                        <c:v>45516.958333333328</c:v>
                      </c:pt>
                      <c:pt idx="5399">
                        <c:v>45517</c:v>
                      </c:pt>
                      <c:pt idx="5400">
                        <c:v>45517.041666666672</c:v>
                      </c:pt>
                      <c:pt idx="5401">
                        <c:v>45517.083333333328</c:v>
                      </c:pt>
                      <c:pt idx="5402">
                        <c:v>45517.125</c:v>
                      </c:pt>
                      <c:pt idx="5403">
                        <c:v>45517.166666666672</c:v>
                      </c:pt>
                      <c:pt idx="5404">
                        <c:v>45517.208333333328</c:v>
                      </c:pt>
                      <c:pt idx="5405">
                        <c:v>45517.25</c:v>
                      </c:pt>
                      <c:pt idx="5406">
                        <c:v>45517.291666666672</c:v>
                      </c:pt>
                      <c:pt idx="5407">
                        <c:v>45517.333333333328</c:v>
                      </c:pt>
                      <c:pt idx="5408">
                        <c:v>45517.375</c:v>
                      </c:pt>
                      <c:pt idx="5409">
                        <c:v>45517.416666666672</c:v>
                      </c:pt>
                      <c:pt idx="5410">
                        <c:v>45517.458333333328</c:v>
                      </c:pt>
                      <c:pt idx="5411">
                        <c:v>45517.5</c:v>
                      </c:pt>
                      <c:pt idx="5412">
                        <c:v>45517.541666666672</c:v>
                      </c:pt>
                      <c:pt idx="5413">
                        <c:v>45517.583333333328</c:v>
                      </c:pt>
                      <c:pt idx="5414">
                        <c:v>45517.625</c:v>
                      </c:pt>
                      <c:pt idx="5415">
                        <c:v>45517.666666666672</c:v>
                      </c:pt>
                      <c:pt idx="5416">
                        <c:v>45517.708333333328</c:v>
                      </c:pt>
                      <c:pt idx="5417">
                        <c:v>45517.75</c:v>
                      </c:pt>
                      <c:pt idx="5418">
                        <c:v>45517.791666666672</c:v>
                      </c:pt>
                      <c:pt idx="5419">
                        <c:v>45517.833333333328</c:v>
                      </c:pt>
                      <c:pt idx="5420">
                        <c:v>45517.875</c:v>
                      </c:pt>
                      <c:pt idx="5421">
                        <c:v>45517.916666666672</c:v>
                      </c:pt>
                      <c:pt idx="5422">
                        <c:v>45517.958333333328</c:v>
                      </c:pt>
                      <c:pt idx="5423">
                        <c:v>45518</c:v>
                      </c:pt>
                      <c:pt idx="5424">
                        <c:v>45518.041666666672</c:v>
                      </c:pt>
                      <c:pt idx="5425">
                        <c:v>45518.083333333328</c:v>
                      </c:pt>
                      <c:pt idx="5426">
                        <c:v>45518.125</c:v>
                      </c:pt>
                      <c:pt idx="5427">
                        <c:v>45518.166666666672</c:v>
                      </c:pt>
                      <c:pt idx="5428">
                        <c:v>45518.208333333328</c:v>
                      </c:pt>
                      <c:pt idx="5429">
                        <c:v>45518.25</c:v>
                      </c:pt>
                      <c:pt idx="5430">
                        <c:v>45518.291666666672</c:v>
                      </c:pt>
                      <c:pt idx="5431">
                        <c:v>45518.333333333328</c:v>
                      </c:pt>
                      <c:pt idx="5432">
                        <c:v>45518.375</c:v>
                      </c:pt>
                      <c:pt idx="5433">
                        <c:v>45518.416666666672</c:v>
                      </c:pt>
                      <c:pt idx="5434">
                        <c:v>45518.458333333328</c:v>
                      </c:pt>
                      <c:pt idx="5435">
                        <c:v>45518.5</c:v>
                      </c:pt>
                      <c:pt idx="5436">
                        <c:v>45518.541666666672</c:v>
                      </c:pt>
                      <c:pt idx="5437">
                        <c:v>45518.583333333328</c:v>
                      </c:pt>
                      <c:pt idx="5438">
                        <c:v>45518.625</c:v>
                      </c:pt>
                      <c:pt idx="5439">
                        <c:v>45518.666666666672</c:v>
                      </c:pt>
                      <c:pt idx="5440">
                        <c:v>45518.708333333328</c:v>
                      </c:pt>
                      <c:pt idx="5441">
                        <c:v>45518.75</c:v>
                      </c:pt>
                      <c:pt idx="5442">
                        <c:v>45518.791666666672</c:v>
                      </c:pt>
                      <c:pt idx="5443">
                        <c:v>45518.833333333328</c:v>
                      </c:pt>
                      <c:pt idx="5444">
                        <c:v>45518.875</c:v>
                      </c:pt>
                      <c:pt idx="5445">
                        <c:v>45518.916666666672</c:v>
                      </c:pt>
                      <c:pt idx="5446">
                        <c:v>45518.958333333328</c:v>
                      </c:pt>
                      <c:pt idx="5447">
                        <c:v>45519</c:v>
                      </c:pt>
                      <c:pt idx="5448">
                        <c:v>45519.041666666672</c:v>
                      </c:pt>
                      <c:pt idx="5449">
                        <c:v>45519.083333333328</c:v>
                      </c:pt>
                      <c:pt idx="5450">
                        <c:v>45519.125</c:v>
                      </c:pt>
                      <c:pt idx="5451">
                        <c:v>45519.166666666672</c:v>
                      </c:pt>
                      <c:pt idx="5452">
                        <c:v>45519.208333333328</c:v>
                      </c:pt>
                      <c:pt idx="5453">
                        <c:v>45519.25</c:v>
                      </c:pt>
                      <c:pt idx="5454">
                        <c:v>45519.291666666672</c:v>
                      </c:pt>
                      <c:pt idx="5455">
                        <c:v>45519.333333333328</c:v>
                      </c:pt>
                      <c:pt idx="5456">
                        <c:v>45519.375</c:v>
                      </c:pt>
                      <c:pt idx="5457">
                        <c:v>45519.416666666672</c:v>
                      </c:pt>
                      <c:pt idx="5458">
                        <c:v>45519.458333333328</c:v>
                      </c:pt>
                      <c:pt idx="5459">
                        <c:v>45519.5</c:v>
                      </c:pt>
                      <c:pt idx="5460">
                        <c:v>45519.541666666672</c:v>
                      </c:pt>
                      <c:pt idx="5461">
                        <c:v>45519.583333333328</c:v>
                      </c:pt>
                      <c:pt idx="5462">
                        <c:v>45519.625</c:v>
                      </c:pt>
                      <c:pt idx="5463">
                        <c:v>45519.666666666672</c:v>
                      </c:pt>
                      <c:pt idx="5464">
                        <c:v>45519.708333333328</c:v>
                      </c:pt>
                      <c:pt idx="5465">
                        <c:v>45519.75</c:v>
                      </c:pt>
                      <c:pt idx="5466">
                        <c:v>45519.791666666672</c:v>
                      </c:pt>
                      <c:pt idx="5467">
                        <c:v>45519.833333333328</c:v>
                      </c:pt>
                      <c:pt idx="5468">
                        <c:v>45519.875</c:v>
                      </c:pt>
                      <c:pt idx="5469">
                        <c:v>45519.916666666672</c:v>
                      </c:pt>
                      <c:pt idx="5470">
                        <c:v>45519.958333333328</c:v>
                      </c:pt>
                      <c:pt idx="5471">
                        <c:v>45520</c:v>
                      </c:pt>
                      <c:pt idx="5472">
                        <c:v>45520.041666666672</c:v>
                      </c:pt>
                      <c:pt idx="5473">
                        <c:v>45520.083333333328</c:v>
                      </c:pt>
                      <c:pt idx="5474">
                        <c:v>45520.125</c:v>
                      </c:pt>
                      <c:pt idx="5475">
                        <c:v>45520.166666666672</c:v>
                      </c:pt>
                      <c:pt idx="5476">
                        <c:v>45520.208333333328</c:v>
                      </c:pt>
                      <c:pt idx="5477">
                        <c:v>45520.25</c:v>
                      </c:pt>
                      <c:pt idx="5478">
                        <c:v>45520.291666666672</c:v>
                      </c:pt>
                      <c:pt idx="5479">
                        <c:v>45520.333333333328</c:v>
                      </c:pt>
                      <c:pt idx="5480">
                        <c:v>45520.375</c:v>
                      </c:pt>
                      <c:pt idx="5481">
                        <c:v>45520.416666666672</c:v>
                      </c:pt>
                      <c:pt idx="5482">
                        <c:v>45520.458333333328</c:v>
                      </c:pt>
                      <c:pt idx="5483">
                        <c:v>45520.5</c:v>
                      </c:pt>
                      <c:pt idx="5484">
                        <c:v>45520.541666666672</c:v>
                      </c:pt>
                      <c:pt idx="5485">
                        <c:v>45520.583333333328</c:v>
                      </c:pt>
                      <c:pt idx="5486">
                        <c:v>45520.625</c:v>
                      </c:pt>
                      <c:pt idx="5487">
                        <c:v>45520.666666666672</c:v>
                      </c:pt>
                      <c:pt idx="5488">
                        <c:v>45520.708333333328</c:v>
                      </c:pt>
                      <c:pt idx="5489">
                        <c:v>45520.75</c:v>
                      </c:pt>
                      <c:pt idx="5490">
                        <c:v>45520.791666666672</c:v>
                      </c:pt>
                      <c:pt idx="5491">
                        <c:v>45520.833333333328</c:v>
                      </c:pt>
                      <c:pt idx="5492">
                        <c:v>45520.875</c:v>
                      </c:pt>
                      <c:pt idx="5493">
                        <c:v>45520.916666666672</c:v>
                      </c:pt>
                      <c:pt idx="5494">
                        <c:v>45520.958333333328</c:v>
                      </c:pt>
                      <c:pt idx="5495">
                        <c:v>45521</c:v>
                      </c:pt>
                      <c:pt idx="5496">
                        <c:v>45521.041666666672</c:v>
                      </c:pt>
                      <c:pt idx="5497">
                        <c:v>45521.083333333328</c:v>
                      </c:pt>
                      <c:pt idx="5498">
                        <c:v>45521.125</c:v>
                      </c:pt>
                      <c:pt idx="5499">
                        <c:v>45521.166666666672</c:v>
                      </c:pt>
                      <c:pt idx="5500">
                        <c:v>45521.208333333328</c:v>
                      </c:pt>
                      <c:pt idx="5501">
                        <c:v>45521.25</c:v>
                      </c:pt>
                      <c:pt idx="5502">
                        <c:v>45521.291666666672</c:v>
                      </c:pt>
                      <c:pt idx="5503">
                        <c:v>45521.333333333328</c:v>
                      </c:pt>
                      <c:pt idx="5504">
                        <c:v>45521.375</c:v>
                      </c:pt>
                      <c:pt idx="5505">
                        <c:v>45521.416666666672</c:v>
                      </c:pt>
                      <c:pt idx="5506">
                        <c:v>45521.458333333328</c:v>
                      </c:pt>
                      <c:pt idx="5507">
                        <c:v>45521.5</c:v>
                      </c:pt>
                      <c:pt idx="5508">
                        <c:v>45521.541666666672</c:v>
                      </c:pt>
                      <c:pt idx="5509">
                        <c:v>45521.583333333328</c:v>
                      </c:pt>
                      <c:pt idx="5510">
                        <c:v>45521.625</c:v>
                      </c:pt>
                      <c:pt idx="5511">
                        <c:v>45521.666666666672</c:v>
                      </c:pt>
                      <c:pt idx="5512">
                        <c:v>45521.708333333328</c:v>
                      </c:pt>
                      <c:pt idx="5513">
                        <c:v>45521.75</c:v>
                      </c:pt>
                      <c:pt idx="5514">
                        <c:v>45521.791666666672</c:v>
                      </c:pt>
                      <c:pt idx="5515">
                        <c:v>45521.833333333328</c:v>
                      </c:pt>
                      <c:pt idx="5516">
                        <c:v>45521.875</c:v>
                      </c:pt>
                      <c:pt idx="5517">
                        <c:v>45521.916666666672</c:v>
                      </c:pt>
                      <c:pt idx="5518">
                        <c:v>45521.958333333328</c:v>
                      </c:pt>
                      <c:pt idx="5519">
                        <c:v>45522</c:v>
                      </c:pt>
                      <c:pt idx="5520">
                        <c:v>45522.041666666672</c:v>
                      </c:pt>
                      <c:pt idx="5521">
                        <c:v>45522.083333333328</c:v>
                      </c:pt>
                      <c:pt idx="5522">
                        <c:v>45522.125</c:v>
                      </c:pt>
                      <c:pt idx="5523">
                        <c:v>45522.166666666672</c:v>
                      </c:pt>
                      <c:pt idx="5524">
                        <c:v>45522.208333333328</c:v>
                      </c:pt>
                      <c:pt idx="5525">
                        <c:v>45522.25</c:v>
                      </c:pt>
                      <c:pt idx="5526">
                        <c:v>45522.291666666672</c:v>
                      </c:pt>
                      <c:pt idx="5527">
                        <c:v>45522.333333333328</c:v>
                      </c:pt>
                      <c:pt idx="5528">
                        <c:v>45522.375</c:v>
                      </c:pt>
                      <c:pt idx="5529">
                        <c:v>45522.416666666672</c:v>
                      </c:pt>
                      <c:pt idx="5530">
                        <c:v>45522.458333333328</c:v>
                      </c:pt>
                      <c:pt idx="5531">
                        <c:v>45522.5</c:v>
                      </c:pt>
                      <c:pt idx="5532">
                        <c:v>45522.541666666672</c:v>
                      </c:pt>
                      <c:pt idx="5533">
                        <c:v>45522.583333333328</c:v>
                      </c:pt>
                      <c:pt idx="5534">
                        <c:v>45522.625</c:v>
                      </c:pt>
                      <c:pt idx="5535">
                        <c:v>45522.666666666672</c:v>
                      </c:pt>
                      <c:pt idx="5536">
                        <c:v>45522.708333333328</c:v>
                      </c:pt>
                      <c:pt idx="5537">
                        <c:v>45522.75</c:v>
                      </c:pt>
                      <c:pt idx="5538">
                        <c:v>45522.791666666672</c:v>
                      </c:pt>
                      <c:pt idx="5539">
                        <c:v>45522.833333333328</c:v>
                      </c:pt>
                      <c:pt idx="5540">
                        <c:v>45522.875</c:v>
                      </c:pt>
                      <c:pt idx="5541">
                        <c:v>45522.916666666672</c:v>
                      </c:pt>
                      <c:pt idx="5542">
                        <c:v>45522.958333333328</c:v>
                      </c:pt>
                      <c:pt idx="5543">
                        <c:v>45523</c:v>
                      </c:pt>
                      <c:pt idx="5544">
                        <c:v>45523.041666666672</c:v>
                      </c:pt>
                      <c:pt idx="5545">
                        <c:v>45523.083333333328</c:v>
                      </c:pt>
                      <c:pt idx="5546">
                        <c:v>45523.125</c:v>
                      </c:pt>
                      <c:pt idx="5547">
                        <c:v>45523.166666666672</c:v>
                      </c:pt>
                      <c:pt idx="5548">
                        <c:v>45523.208333333328</c:v>
                      </c:pt>
                      <c:pt idx="5549">
                        <c:v>45523.25</c:v>
                      </c:pt>
                      <c:pt idx="5550">
                        <c:v>45523.291666666672</c:v>
                      </c:pt>
                      <c:pt idx="5551">
                        <c:v>45523.333333333328</c:v>
                      </c:pt>
                      <c:pt idx="5552">
                        <c:v>45523.375</c:v>
                      </c:pt>
                      <c:pt idx="5553">
                        <c:v>45523.416666666672</c:v>
                      </c:pt>
                      <c:pt idx="5554">
                        <c:v>45523.458333333328</c:v>
                      </c:pt>
                      <c:pt idx="5555">
                        <c:v>45523.5</c:v>
                      </c:pt>
                      <c:pt idx="5556">
                        <c:v>45523.541666666672</c:v>
                      </c:pt>
                      <c:pt idx="5557">
                        <c:v>45523.583333333328</c:v>
                      </c:pt>
                      <c:pt idx="5558">
                        <c:v>45523.625</c:v>
                      </c:pt>
                      <c:pt idx="5559">
                        <c:v>45523.666666666672</c:v>
                      </c:pt>
                      <c:pt idx="5560">
                        <c:v>45523.708333333328</c:v>
                      </c:pt>
                      <c:pt idx="5561">
                        <c:v>45523.75</c:v>
                      </c:pt>
                      <c:pt idx="5562">
                        <c:v>45523.791666666672</c:v>
                      </c:pt>
                      <c:pt idx="5563">
                        <c:v>45523.833333333328</c:v>
                      </c:pt>
                      <c:pt idx="5564">
                        <c:v>45523.875</c:v>
                      </c:pt>
                      <c:pt idx="5565">
                        <c:v>45523.916666666672</c:v>
                      </c:pt>
                      <c:pt idx="5566">
                        <c:v>45523.958333333328</c:v>
                      </c:pt>
                      <c:pt idx="5567">
                        <c:v>45524</c:v>
                      </c:pt>
                      <c:pt idx="5568">
                        <c:v>45524.041666666672</c:v>
                      </c:pt>
                      <c:pt idx="5569">
                        <c:v>45524.083333333328</c:v>
                      </c:pt>
                      <c:pt idx="5570">
                        <c:v>45524.125</c:v>
                      </c:pt>
                      <c:pt idx="5571">
                        <c:v>45524.166666666672</c:v>
                      </c:pt>
                      <c:pt idx="5572">
                        <c:v>45524.208333333328</c:v>
                      </c:pt>
                      <c:pt idx="5573">
                        <c:v>45524.25</c:v>
                      </c:pt>
                      <c:pt idx="5574">
                        <c:v>45524.291666666672</c:v>
                      </c:pt>
                      <c:pt idx="5575">
                        <c:v>45524.333333333328</c:v>
                      </c:pt>
                      <c:pt idx="5576">
                        <c:v>45524.375</c:v>
                      </c:pt>
                      <c:pt idx="5577">
                        <c:v>45524.416666666672</c:v>
                      </c:pt>
                      <c:pt idx="5578">
                        <c:v>45524.458333333328</c:v>
                      </c:pt>
                      <c:pt idx="5579">
                        <c:v>45524.5</c:v>
                      </c:pt>
                      <c:pt idx="5580">
                        <c:v>45524.541666666672</c:v>
                      </c:pt>
                      <c:pt idx="5581">
                        <c:v>45524.583333333328</c:v>
                      </c:pt>
                      <c:pt idx="5582">
                        <c:v>45524.625</c:v>
                      </c:pt>
                      <c:pt idx="5583">
                        <c:v>45524.666666666672</c:v>
                      </c:pt>
                      <c:pt idx="5584">
                        <c:v>45524.708333333328</c:v>
                      </c:pt>
                      <c:pt idx="5585">
                        <c:v>45524.75</c:v>
                      </c:pt>
                      <c:pt idx="5586">
                        <c:v>45524.791666666672</c:v>
                      </c:pt>
                      <c:pt idx="5587">
                        <c:v>45524.833333333328</c:v>
                      </c:pt>
                      <c:pt idx="5588">
                        <c:v>45524.875</c:v>
                      </c:pt>
                      <c:pt idx="5589">
                        <c:v>45524.916666666672</c:v>
                      </c:pt>
                      <c:pt idx="5590">
                        <c:v>45524.958333333328</c:v>
                      </c:pt>
                      <c:pt idx="5591">
                        <c:v>45525</c:v>
                      </c:pt>
                      <c:pt idx="5592">
                        <c:v>45525.041666666672</c:v>
                      </c:pt>
                      <c:pt idx="5593">
                        <c:v>45525.083333333328</c:v>
                      </c:pt>
                      <c:pt idx="5594">
                        <c:v>45525.125</c:v>
                      </c:pt>
                      <c:pt idx="5595">
                        <c:v>45525.166666666672</c:v>
                      </c:pt>
                      <c:pt idx="5596">
                        <c:v>45525.208333333328</c:v>
                      </c:pt>
                      <c:pt idx="5597">
                        <c:v>45525.25</c:v>
                      </c:pt>
                      <c:pt idx="5598">
                        <c:v>45525.291666666672</c:v>
                      </c:pt>
                      <c:pt idx="5599">
                        <c:v>45525.333333333328</c:v>
                      </c:pt>
                      <c:pt idx="5600">
                        <c:v>45525.375</c:v>
                      </c:pt>
                      <c:pt idx="5601">
                        <c:v>45525.416666666672</c:v>
                      </c:pt>
                      <c:pt idx="5602">
                        <c:v>45525.458333333328</c:v>
                      </c:pt>
                      <c:pt idx="5603">
                        <c:v>45525.5</c:v>
                      </c:pt>
                      <c:pt idx="5604">
                        <c:v>45525.541666666672</c:v>
                      </c:pt>
                      <c:pt idx="5605">
                        <c:v>45525.583333333328</c:v>
                      </c:pt>
                      <c:pt idx="5606">
                        <c:v>45525.625</c:v>
                      </c:pt>
                      <c:pt idx="5607">
                        <c:v>45525.666666666672</c:v>
                      </c:pt>
                      <c:pt idx="5608">
                        <c:v>45525.708333333328</c:v>
                      </c:pt>
                      <c:pt idx="5609">
                        <c:v>45525.75</c:v>
                      </c:pt>
                      <c:pt idx="5610">
                        <c:v>45525.791666666672</c:v>
                      </c:pt>
                      <c:pt idx="5611">
                        <c:v>45525.833333333328</c:v>
                      </c:pt>
                      <c:pt idx="5612">
                        <c:v>45525.875</c:v>
                      </c:pt>
                      <c:pt idx="5613">
                        <c:v>45525.916666666672</c:v>
                      </c:pt>
                      <c:pt idx="5614">
                        <c:v>45525.958333333328</c:v>
                      </c:pt>
                      <c:pt idx="5615">
                        <c:v>45526</c:v>
                      </c:pt>
                      <c:pt idx="5616">
                        <c:v>45526.041666666672</c:v>
                      </c:pt>
                      <c:pt idx="5617">
                        <c:v>45526.083333333328</c:v>
                      </c:pt>
                      <c:pt idx="5618">
                        <c:v>45526.125</c:v>
                      </c:pt>
                      <c:pt idx="5619">
                        <c:v>45526.166666666672</c:v>
                      </c:pt>
                      <c:pt idx="5620">
                        <c:v>45526.208333333328</c:v>
                      </c:pt>
                      <c:pt idx="5621">
                        <c:v>45526.25</c:v>
                      </c:pt>
                      <c:pt idx="5622">
                        <c:v>45526.291666666672</c:v>
                      </c:pt>
                      <c:pt idx="5623">
                        <c:v>45526.333333333328</c:v>
                      </c:pt>
                      <c:pt idx="5624">
                        <c:v>45526.375</c:v>
                      </c:pt>
                      <c:pt idx="5625">
                        <c:v>45526.416666666672</c:v>
                      </c:pt>
                      <c:pt idx="5626">
                        <c:v>45526.458333333328</c:v>
                      </c:pt>
                      <c:pt idx="5627">
                        <c:v>45526.5</c:v>
                      </c:pt>
                      <c:pt idx="5628">
                        <c:v>45526.541666666672</c:v>
                      </c:pt>
                      <c:pt idx="5629">
                        <c:v>45526.583333333328</c:v>
                      </c:pt>
                      <c:pt idx="5630">
                        <c:v>45526.625</c:v>
                      </c:pt>
                      <c:pt idx="5631">
                        <c:v>45526.666666666672</c:v>
                      </c:pt>
                      <c:pt idx="5632">
                        <c:v>45526.708333333328</c:v>
                      </c:pt>
                      <c:pt idx="5633">
                        <c:v>45526.75</c:v>
                      </c:pt>
                      <c:pt idx="5634">
                        <c:v>45526.791666666672</c:v>
                      </c:pt>
                      <c:pt idx="5635">
                        <c:v>45526.833333333328</c:v>
                      </c:pt>
                      <c:pt idx="5636">
                        <c:v>45526.875</c:v>
                      </c:pt>
                      <c:pt idx="5637">
                        <c:v>45526.916666666672</c:v>
                      </c:pt>
                      <c:pt idx="5638">
                        <c:v>45526.958333333328</c:v>
                      </c:pt>
                      <c:pt idx="5639">
                        <c:v>45527</c:v>
                      </c:pt>
                      <c:pt idx="5640">
                        <c:v>45527.041666666672</c:v>
                      </c:pt>
                      <c:pt idx="5641">
                        <c:v>45527.083333333328</c:v>
                      </c:pt>
                      <c:pt idx="5642">
                        <c:v>45527.125</c:v>
                      </c:pt>
                      <c:pt idx="5643">
                        <c:v>45527.166666666672</c:v>
                      </c:pt>
                      <c:pt idx="5644">
                        <c:v>45527.208333333328</c:v>
                      </c:pt>
                      <c:pt idx="5645">
                        <c:v>45527.25</c:v>
                      </c:pt>
                      <c:pt idx="5646">
                        <c:v>45527.291666666672</c:v>
                      </c:pt>
                      <c:pt idx="5647">
                        <c:v>45527.333333333328</c:v>
                      </c:pt>
                      <c:pt idx="5648">
                        <c:v>45527.375</c:v>
                      </c:pt>
                      <c:pt idx="5649">
                        <c:v>45527.416666666672</c:v>
                      </c:pt>
                      <c:pt idx="5650">
                        <c:v>45527.458333333328</c:v>
                      </c:pt>
                      <c:pt idx="5651">
                        <c:v>45527.5</c:v>
                      </c:pt>
                      <c:pt idx="5652">
                        <c:v>45527.541666666672</c:v>
                      </c:pt>
                      <c:pt idx="5653">
                        <c:v>45527.583333333328</c:v>
                      </c:pt>
                      <c:pt idx="5654">
                        <c:v>45527.625</c:v>
                      </c:pt>
                      <c:pt idx="5655">
                        <c:v>45527.666666666672</c:v>
                      </c:pt>
                      <c:pt idx="5656">
                        <c:v>45527.708333333328</c:v>
                      </c:pt>
                      <c:pt idx="5657">
                        <c:v>45527.75</c:v>
                      </c:pt>
                      <c:pt idx="5658">
                        <c:v>45527.791666666672</c:v>
                      </c:pt>
                      <c:pt idx="5659">
                        <c:v>45527.833333333328</c:v>
                      </c:pt>
                      <c:pt idx="5660">
                        <c:v>45527.875</c:v>
                      </c:pt>
                      <c:pt idx="5661">
                        <c:v>45527.916666666672</c:v>
                      </c:pt>
                      <c:pt idx="5662">
                        <c:v>45527.958333333328</c:v>
                      </c:pt>
                      <c:pt idx="5663">
                        <c:v>45528</c:v>
                      </c:pt>
                      <c:pt idx="5664">
                        <c:v>45528.041666666672</c:v>
                      </c:pt>
                      <c:pt idx="5665">
                        <c:v>45528.083333333328</c:v>
                      </c:pt>
                      <c:pt idx="5666">
                        <c:v>45528.125</c:v>
                      </c:pt>
                      <c:pt idx="5667">
                        <c:v>45528.166666666672</c:v>
                      </c:pt>
                      <c:pt idx="5668">
                        <c:v>45528.208333333328</c:v>
                      </c:pt>
                      <c:pt idx="5669">
                        <c:v>45528.25</c:v>
                      </c:pt>
                      <c:pt idx="5670">
                        <c:v>45528.291666666672</c:v>
                      </c:pt>
                      <c:pt idx="5671">
                        <c:v>45528.333333333328</c:v>
                      </c:pt>
                      <c:pt idx="5672">
                        <c:v>45528.375</c:v>
                      </c:pt>
                      <c:pt idx="5673">
                        <c:v>45528.416666666672</c:v>
                      </c:pt>
                      <c:pt idx="5674">
                        <c:v>45528.458333333328</c:v>
                      </c:pt>
                      <c:pt idx="5675">
                        <c:v>45528.5</c:v>
                      </c:pt>
                      <c:pt idx="5676">
                        <c:v>45528.541666666672</c:v>
                      </c:pt>
                      <c:pt idx="5677">
                        <c:v>45528.583333333328</c:v>
                      </c:pt>
                      <c:pt idx="5678">
                        <c:v>45528.625</c:v>
                      </c:pt>
                      <c:pt idx="5679">
                        <c:v>45528.666666666672</c:v>
                      </c:pt>
                      <c:pt idx="5680">
                        <c:v>45528.708333333328</c:v>
                      </c:pt>
                      <c:pt idx="5681">
                        <c:v>45528.75</c:v>
                      </c:pt>
                      <c:pt idx="5682">
                        <c:v>45528.791666666672</c:v>
                      </c:pt>
                      <c:pt idx="5683">
                        <c:v>45528.833333333328</c:v>
                      </c:pt>
                      <c:pt idx="5684">
                        <c:v>45528.875</c:v>
                      </c:pt>
                      <c:pt idx="5685">
                        <c:v>45528.916666666672</c:v>
                      </c:pt>
                      <c:pt idx="5686">
                        <c:v>45528.958333333328</c:v>
                      </c:pt>
                      <c:pt idx="5687">
                        <c:v>45529</c:v>
                      </c:pt>
                      <c:pt idx="5688">
                        <c:v>45529.041666666672</c:v>
                      </c:pt>
                      <c:pt idx="5689">
                        <c:v>45529.083333333328</c:v>
                      </c:pt>
                      <c:pt idx="5690">
                        <c:v>45529.125</c:v>
                      </c:pt>
                      <c:pt idx="5691">
                        <c:v>45529.166666666672</c:v>
                      </c:pt>
                      <c:pt idx="5692">
                        <c:v>45529.208333333328</c:v>
                      </c:pt>
                      <c:pt idx="5693">
                        <c:v>45529.25</c:v>
                      </c:pt>
                      <c:pt idx="5694">
                        <c:v>45529.291666666672</c:v>
                      </c:pt>
                      <c:pt idx="5695">
                        <c:v>45529.333333333328</c:v>
                      </c:pt>
                      <c:pt idx="5696">
                        <c:v>45529.375</c:v>
                      </c:pt>
                      <c:pt idx="5697">
                        <c:v>45529.416666666672</c:v>
                      </c:pt>
                      <c:pt idx="5698">
                        <c:v>45529.458333333328</c:v>
                      </c:pt>
                      <c:pt idx="5699">
                        <c:v>45529.5</c:v>
                      </c:pt>
                      <c:pt idx="5700">
                        <c:v>45529.541666666672</c:v>
                      </c:pt>
                      <c:pt idx="5701">
                        <c:v>45529.583333333328</c:v>
                      </c:pt>
                      <c:pt idx="5702">
                        <c:v>45529.625</c:v>
                      </c:pt>
                      <c:pt idx="5703">
                        <c:v>45529.666666666672</c:v>
                      </c:pt>
                      <c:pt idx="5704">
                        <c:v>45529.708333333328</c:v>
                      </c:pt>
                      <c:pt idx="5705">
                        <c:v>45529.75</c:v>
                      </c:pt>
                      <c:pt idx="5706">
                        <c:v>45529.791666666672</c:v>
                      </c:pt>
                      <c:pt idx="5707">
                        <c:v>45529.833333333328</c:v>
                      </c:pt>
                      <c:pt idx="5708">
                        <c:v>45529.875</c:v>
                      </c:pt>
                      <c:pt idx="5709">
                        <c:v>45529.916666666672</c:v>
                      </c:pt>
                      <c:pt idx="5710">
                        <c:v>45529.958333333328</c:v>
                      </c:pt>
                      <c:pt idx="5711">
                        <c:v>45530</c:v>
                      </c:pt>
                      <c:pt idx="5712">
                        <c:v>45530.041666666672</c:v>
                      </c:pt>
                      <c:pt idx="5713">
                        <c:v>45530.083333333328</c:v>
                      </c:pt>
                      <c:pt idx="5714">
                        <c:v>45530.125</c:v>
                      </c:pt>
                      <c:pt idx="5715">
                        <c:v>45530.166666666672</c:v>
                      </c:pt>
                      <c:pt idx="5716">
                        <c:v>45530.208333333328</c:v>
                      </c:pt>
                      <c:pt idx="5717">
                        <c:v>45530.25</c:v>
                      </c:pt>
                      <c:pt idx="5718">
                        <c:v>45530.291666666672</c:v>
                      </c:pt>
                      <c:pt idx="5719">
                        <c:v>45530.333333333328</c:v>
                      </c:pt>
                      <c:pt idx="5720">
                        <c:v>45530.375</c:v>
                      </c:pt>
                      <c:pt idx="5721">
                        <c:v>45530.416666666672</c:v>
                      </c:pt>
                      <c:pt idx="5722">
                        <c:v>45530.458333333328</c:v>
                      </c:pt>
                      <c:pt idx="5723">
                        <c:v>45530.5</c:v>
                      </c:pt>
                      <c:pt idx="5724">
                        <c:v>45530.541666666672</c:v>
                      </c:pt>
                      <c:pt idx="5725">
                        <c:v>45530.583333333328</c:v>
                      </c:pt>
                      <c:pt idx="5726">
                        <c:v>45530.625</c:v>
                      </c:pt>
                      <c:pt idx="5727">
                        <c:v>45530.666666666672</c:v>
                      </c:pt>
                      <c:pt idx="5728">
                        <c:v>45530.708333333328</c:v>
                      </c:pt>
                      <c:pt idx="5729">
                        <c:v>45530.75</c:v>
                      </c:pt>
                      <c:pt idx="5730">
                        <c:v>45530.791666666672</c:v>
                      </c:pt>
                      <c:pt idx="5731">
                        <c:v>45530.833333333328</c:v>
                      </c:pt>
                      <c:pt idx="5732">
                        <c:v>45530.875</c:v>
                      </c:pt>
                      <c:pt idx="5733">
                        <c:v>45530.916666666672</c:v>
                      </c:pt>
                      <c:pt idx="5734">
                        <c:v>45530.958333333328</c:v>
                      </c:pt>
                      <c:pt idx="5735">
                        <c:v>45531</c:v>
                      </c:pt>
                      <c:pt idx="5736">
                        <c:v>45531.041666666672</c:v>
                      </c:pt>
                      <c:pt idx="5737">
                        <c:v>45531.083333333328</c:v>
                      </c:pt>
                      <c:pt idx="5738">
                        <c:v>45531.125</c:v>
                      </c:pt>
                      <c:pt idx="5739">
                        <c:v>45531.166666666672</c:v>
                      </c:pt>
                      <c:pt idx="5740">
                        <c:v>45531.208333333328</c:v>
                      </c:pt>
                      <c:pt idx="5741">
                        <c:v>45531.25</c:v>
                      </c:pt>
                      <c:pt idx="5742">
                        <c:v>45531.291666666672</c:v>
                      </c:pt>
                      <c:pt idx="5743">
                        <c:v>45531.333333333328</c:v>
                      </c:pt>
                      <c:pt idx="5744">
                        <c:v>45531.375</c:v>
                      </c:pt>
                      <c:pt idx="5745">
                        <c:v>45531.416666666672</c:v>
                      </c:pt>
                      <c:pt idx="5746">
                        <c:v>45531.458333333328</c:v>
                      </c:pt>
                      <c:pt idx="5747">
                        <c:v>45531.5</c:v>
                      </c:pt>
                      <c:pt idx="5748">
                        <c:v>45531.541666666672</c:v>
                      </c:pt>
                      <c:pt idx="5749">
                        <c:v>45531.583333333328</c:v>
                      </c:pt>
                      <c:pt idx="5750">
                        <c:v>45531.625</c:v>
                      </c:pt>
                      <c:pt idx="5751">
                        <c:v>45531.666666666672</c:v>
                      </c:pt>
                      <c:pt idx="5752">
                        <c:v>45531.708333333328</c:v>
                      </c:pt>
                      <c:pt idx="5753">
                        <c:v>45531.75</c:v>
                      </c:pt>
                      <c:pt idx="5754">
                        <c:v>45531.791666666672</c:v>
                      </c:pt>
                      <c:pt idx="5755">
                        <c:v>45531.833333333328</c:v>
                      </c:pt>
                      <c:pt idx="5756">
                        <c:v>45531.875</c:v>
                      </c:pt>
                      <c:pt idx="5757">
                        <c:v>45531.916666666672</c:v>
                      </c:pt>
                      <c:pt idx="5758">
                        <c:v>45531.958333333328</c:v>
                      </c:pt>
                      <c:pt idx="5759">
                        <c:v>45532</c:v>
                      </c:pt>
                      <c:pt idx="5760">
                        <c:v>45532.041666666672</c:v>
                      </c:pt>
                      <c:pt idx="5761">
                        <c:v>45532.083333333328</c:v>
                      </c:pt>
                      <c:pt idx="5762">
                        <c:v>45532.125</c:v>
                      </c:pt>
                      <c:pt idx="5763">
                        <c:v>45532.166666666672</c:v>
                      </c:pt>
                      <c:pt idx="5764">
                        <c:v>45532.208333333328</c:v>
                      </c:pt>
                      <c:pt idx="5765">
                        <c:v>45532.25</c:v>
                      </c:pt>
                      <c:pt idx="5766">
                        <c:v>45532.291666666672</c:v>
                      </c:pt>
                      <c:pt idx="5767">
                        <c:v>45532.333333333328</c:v>
                      </c:pt>
                      <c:pt idx="5768">
                        <c:v>45532.375</c:v>
                      </c:pt>
                      <c:pt idx="5769">
                        <c:v>45532.416666666672</c:v>
                      </c:pt>
                      <c:pt idx="5770">
                        <c:v>45532.458333333328</c:v>
                      </c:pt>
                      <c:pt idx="5771">
                        <c:v>45532.5</c:v>
                      </c:pt>
                      <c:pt idx="5772">
                        <c:v>45532.541666666672</c:v>
                      </c:pt>
                      <c:pt idx="5773">
                        <c:v>45532.583333333328</c:v>
                      </c:pt>
                      <c:pt idx="5774">
                        <c:v>45532.625</c:v>
                      </c:pt>
                      <c:pt idx="5775">
                        <c:v>45532.666666666672</c:v>
                      </c:pt>
                      <c:pt idx="5776">
                        <c:v>45532.708333333328</c:v>
                      </c:pt>
                      <c:pt idx="5777">
                        <c:v>45532.75</c:v>
                      </c:pt>
                      <c:pt idx="5778">
                        <c:v>45532.791666666672</c:v>
                      </c:pt>
                      <c:pt idx="5779">
                        <c:v>45532.833333333328</c:v>
                      </c:pt>
                      <c:pt idx="5780">
                        <c:v>45532.875</c:v>
                      </c:pt>
                      <c:pt idx="5781">
                        <c:v>45532.916666666672</c:v>
                      </c:pt>
                      <c:pt idx="5782">
                        <c:v>45532.958333333328</c:v>
                      </c:pt>
                      <c:pt idx="5783">
                        <c:v>45533</c:v>
                      </c:pt>
                      <c:pt idx="5784">
                        <c:v>45533.041666666672</c:v>
                      </c:pt>
                      <c:pt idx="5785">
                        <c:v>45533.083333333328</c:v>
                      </c:pt>
                      <c:pt idx="5786">
                        <c:v>45533.125</c:v>
                      </c:pt>
                      <c:pt idx="5787">
                        <c:v>45533.166666666672</c:v>
                      </c:pt>
                      <c:pt idx="5788">
                        <c:v>45533.208333333328</c:v>
                      </c:pt>
                      <c:pt idx="5789">
                        <c:v>45533.25</c:v>
                      </c:pt>
                      <c:pt idx="5790">
                        <c:v>45533.291666666672</c:v>
                      </c:pt>
                      <c:pt idx="5791">
                        <c:v>45533.333333333328</c:v>
                      </c:pt>
                      <c:pt idx="5792">
                        <c:v>45533.375</c:v>
                      </c:pt>
                      <c:pt idx="5793">
                        <c:v>45533.416666666672</c:v>
                      </c:pt>
                      <c:pt idx="5794">
                        <c:v>45533.458333333328</c:v>
                      </c:pt>
                      <c:pt idx="5795">
                        <c:v>45533.5</c:v>
                      </c:pt>
                      <c:pt idx="5796">
                        <c:v>45533.541666666672</c:v>
                      </c:pt>
                      <c:pt idx="5797">
                        <c:v>45533.583333333328</c:v>
                      </c:pt>
                      <c:pt idx="5798">
                        <c:v>45533.625</c:v>
                      </c:pt>
                      <c:pt idx="5799">
                        <c:v>45533.666666666672</c:v>
                      </c:pt>
                      <c:pt idx="5800">
                        <c:v>45533.708333333328</c:v>
                      </c:pt>
                      <c:pt idx="5801">
                        <c:v>45533.75</c:v>
                      </c:pt>
                      <c:pt idx="5802">
                        <c:v>45533.791666666672</c:v>
                      </c:pt>
                      <c:pt idx="5803">
                        <c:v>45533.833333333328</c:v>
                      </c:pt>
                      <c:pt idx="5804">
                        <c:v>45533.875</c:v>
                      </c:pt>
                      <c:pt idx="5805">
                        <c:v>45533.916666666672</c:v>
                      </c:pt>
                      <c:pt idx="5806">
                        <c:v>45533.958333333328</c:v>
                      </c:pt>
                      <c:pt idx="5807">
                        <c:v>45534</c:v>
                      </c:pt>
                      <c:pt idx="5808">
                        <c:v>45534.041666666672</c:v>
                      </c:pt>
                      <c:pt idx="5809">
                        <c:v>45534.083333333328</c:v>
                      </c:pt>
                      <c:pt idx="5810">
                        <c:v>45534.125</c:v>
                      </c:pt>
                      <c:pt idx="5811">
                        <c:v>45534.166666666672</c:v>
                      </c:pt>
                      <c:pt idx="5812">
                        <c:v>45534.208333333328</c:v>
                      </c:pt>
                      <c:pt idx="5813">
                        <c:v>45534.25</c:v>
                      </c:pt>
                      <c:pt idx="5814">
                        <c:v>45534.291666666672</c:v>
                      </c:pt>
                      <c:pt idx="5815">
                        <c:v>45534.333333333328</c:v>
                      </c:pt>
                      <c:pt idx="5816">
                        <c:v>45534.375</c:v>
                      </c:pt>
                      <c:pt idx="5817">
                        <c:v>45534.416666666672</c:v>
                      </c:pt>
                      <c:pt idx="5818">
                        <c:v>45534.458333333328</c:v>
                      </c:pt>
                      <c:pt idx="5819">
                        <c:v>45534.5</c:v>
                      </c:pt>
                      <c:pt idx="5820">
                        <c:v>45534.541666666672</c:v>
                      </c:pt>
                      <c:pt idx="5821">
                        <c:v>45534.583333333328</c:v>
                      </c:pt>
                      <c:pt idx="5822">
                        <c:v>45534.625</c:v>
                      </c:pt>
                      <c:pt idx="5823">
                        <c:v>45534.666666666672</c:v>
                      </c:pt>
                      <c:pt idx="5824">
                        <c:v>45534.708333333328</c:v>
                      </c:pt>
                      <c:pt idx="5825">
                        <c:v>45534.75</c:v>
                      </c:pt>
                      <c:pt idx="5826">
                        <c:v>45534.791666666672</c:v>
                      </c:pt>
                      <c:pt idx="5827">
                        <c:v>45534.833333333328</c:v>
                      </c:pt>
                      <c:pt idx="5828">
                        <c:v>45534.875</c:v>
                      </c:pt>
                      <c:pt idx="5829">
                        <c:v>45534.916666666672</c:v>
                      </c:pt>
                      <c:pt idx="5830">
                        <c:v>45534.958333333328</c:v>
                      </c:pt>
                      <c:pt idx="5831">
                        <c:v>45535</c:v>
                      </c:pt>
                      <c:pt idx="5832">
                        <c:v>45535.041666666672</c:v>
                      </c:pt>
                      <c:pt idx="5833">
                        <c:v>45535.083333333328</c:v>
                      </c:pt>
                      <c:pt idx="5834">
                        <c:v>45535.125</c:v>
                      </c:pt>
                      <c:pt idx="5835">
                        <c:v>45535.166666666672</c:v>
                      </c:pt>
                      <c:pt idx="5836">
                        <c:v>45535.208333333328</c:v>
                      </c:pt>
                      <c:pt idx="5837">
                        <c:v>45535.25</c:v>
                      </c:pt>
                      <c:pt idx="5838">
                        <c:v>45535.291666666672</c:v>
                      </c:pt>
                      <c:pt idx="5839">
                        <c:v>45535.333333333328</c:v>
                      </c:pt>
                      <c:pt idx="5840">
                        <c:v>45535.375</c:v>
                      </c:pt>
                      <c:pt idx="5841">
                        <c:v>45535.416666666672</c:v>
                      </c:pt>
                      <c:pt idx="5842">
                        <c:v>45535.458333333328</c:v>
                      </c:pt>
                      <c:pt idx="5843">
                        <c:v>45535.5</c:v>
                      </c:pt>
                      <c:pt idx="5844">
                        <c:v>45535.541666666672</c:v>
                      </c:pt>
                      <c:pt idx="5845">
                        <c:v>45535.583333333328</c:v>
                      </c:pt>
                      <c:pt idx="5846">
                        <c:v>45535.625</c:v>
                      </c:pt>
                      <c:pt idx="5847">
                        <c:v>45535.666666666672</c:v>
                      </c:pt>
                      <c:pt idx="5848">
                        <c:v>45535.708333333328</c:v>
                      </c:pt>
                      <c:pt idx="5849">
                        <c:v>45535.75</c:v>
                      </c:pt>
                      <c:pt idx="5850">
                        <c:v>45535.791666666672</c:v>
                      </c:pt>
                      <c:pt idx="5851">
                        <c:v>45535.833333333328</c:v>
                      </c:pt>
                      <c:pt idx="5852">
                        <c:v>45535.875</c:v>
                      </c:pt>
                      <c:pt idx="5853">
                        <c:v>45535.916666666672</c:v>
                      </c:pt>
                      <c:pt idx="5854">
                        <c:v>45535.958333333328</c:v>
                      </c:pt>
                      <c:pt idx="5855">
                        <c:v>45536</c:v>
                      </c:pt>
                      <c:pt idx="5856">
                        <c:v>45536.041666666672</c:v>
                      </c:pt>
                      <c:pt idx="5857">
                        <c:v>45536.083333333328</c:v>
                      </c:pt>
                      <c:pt idx="5858">
                        <c:v>45536.125</c:v>
                      </c:pt>
                      <c:pt idx="5859">
                        <c:v>45536.166666666672</c:v>
                      </c:pt>
                      <c:pt idx="5860">
                        <c:v>45536.208333333328</c:v>
                      </c:pt>
                      <c:pt idx="5861">
                        <c:v>45536.25</c:v>
                      </c:pt>
                      <c:pt idx="5862">
                        <c:v>45536.291666666672</c:v>
                      </c:pt>
                      <c:pt idx="5863">
                        <c:v>45536.333333333328</c:v>
                      </c:pt>
                      <c:pt idx="5864">
                        <c:v>45536.375</c:v>
                      </c:pt>
                      <c:pt idx="5865">
                        <c:v>45536.416666666672</c:v>
                      </c:pt>
                      <c:pt idx="5866">
                        <c:v>45536.458333333328</c:v>
                      </c:pt>
                      <c:pt idx="5867">
                        <c:v>45536.5</c:v>
                      </c:pt>
                      <c:pt idx="5868">
                        <c:v>45536.541666666672</c:v>
                      </c:pt>
                      <c:pt idx="5869">
                        <c:v>45536.583333333328</c:v>
                      </c:pt>
                      <c:pt idx="5870">
                        <c:v>45536.625</c:v>
                      </c:pt>
                      <c:pt idx="5871">
                        <c:v>45536.666666666672</c:v>
                      </c:pt>
                      <c:pt idx="5872">
                        <c:v>45536.708333333328</c:v>
                      </c:pt>
                      <c:pt idx="5873">
                        <c:v>45536.75</c:v>
                      </c:pt>
                      <c:pt idx="5874">
                        <c:v>45536.791666666672</c:v>
                      </c:pt>
                      <c:pt idx="5875">
                        <c:v>45536.833333333328</c:v>
                      </c:pt>
                      <c:pt idx="5876">
                        <c:v>45536.875</c:v>
                      </c:pt>
                      <c:pt idx="5877">
                        <c:v>45536.916666666672</c:v>
                      </c:pt>
                      <c:pt idx="5878">
                        <c:v>45536.958333333328</c:v>
                      </c:pt>
                      <c:pt idx="5879">
                        <c:v>45537</c:v>
                      </c:pt>
                      <c:pt idx="5880">
                        <c:v>45537.041666666672</c:v>
                      </c:pt>
                      <c:pt idx="5881">
                        <c:v>45537.083333333328</c:v>
                      </c:pt>
                      <c:pt idx="5882">
                        <c:v>45537.125</c:v>
                      </c:pt>
                      <c:pt idx="5883">
                        <c:v>45537.166666666672</c:v>
                      </c:pt>
                      <c:pt idx="5884">
                        <c:v>45537.208333333328</c:v>
                      </c:pt>
                      <c:pt idx="5885">
                        <c:v>45537.25</c:v>
                      </c:pt>
                      <c:pt idx="5886">
                        <c:v>45537.291666666672</c:v>
                      </c:pt>
                      <c:pt idx="5887">
                        <c:v>45537.333333333328</c:v>
                      </c:pt>
                      <c:pt idx="5888">
                        <c:v>45537.375</c:v>
                      </c:pt>
                      <c:pt idx="5889">
                        <c:v>45537.416666666672</c:v>
                      </c:pt>
                      <c:pt idx="5890">
                        <c:v>45537.458333333328</c:v>
                      </c:pt>
                      <c:pt idx="5891">
                        <c:v>45537.5</c:v>
                      </c:pt>
                      <c:pt idx="5892">
                        <c:v>45537.541666666672</c:v>
                      </c:pt>
                      <c:pt idx="5893">
                        <c:v>45537.583333333328</c:v>
                      </c:pt>
                      <c:pt idx="5894">
                        <c:v>45537.625</c:v>
                      </c:pt>
                      <c:pt idx="5895">
                        <c:v>45537.666666666672</c:v>
                      </c:pt>
                      <c:pt idx="5896">
                        <c:v>45537.708333333328</c:v>
                      </c:pt>
                      <c:pt idx="5897">
                        <c:v>45537.75</c:v>
                      </c:pt>
                      <c:pt idx="5898">
                        <c:v>45537.791666666672</c:v>
                      </c:pt>
                      <c:pt idx="5899">
                        <c:v>45537.833333333328</c:v>
                      </c:pt>
                      <c:pt idx="5900">
                        <c:v>45537.875</c:v>
                      </c:pt>
                      <c:pt idx="5901">
                        <c:v>45537.916666666672</c:v>
                      </c:pt>
                      <c:pt idx="5902">
                        <c:v>45537.958333333328</c:v>
                      </c:pt>
                      <c:pt idx="5903">
                        <c:v>45538</c:v>
                      </c:pt>
                      <c:pt idx="5904">
                        <c:v>45538.041666666672</c:v>
                      </c:pt>
                      <c:pt idx="5905">
                        <c:v>45538.083333333328</c:v>
                      </c:pt>
                      <c:pt idx="5906">
                        <c:v>45538.125</c:v>
                      </c:pt>
                      <c:pt idx="5907">
                        <c:v>45538.166666666672</c:v>
                      </c:pt>
                      <c:pt idx="5908">
                        <c:v>45538.208333333328</c:v>
                      </c:pt>
                      <c:pt idx="5909">
                        <c:v>45538.25</c:v>
                      </c:pt>
                      <c:pt idx="5910">
                        <c:v>45538.291666666672</c:v>
                      </c:pt>
                      <c:pt idx="5911">
                        <c:v>45538.333333333328</c:v>
                      </c:pt>
                      <c:pt idx="5912">
                        <c:v>45538.375</c:v>
                      </c:pt>
                      <c:pt idx="5913">
                        <c:v>45538.416666666672</c:v>
                      </c:pt>
                      <c:pt idx="5914">
                        <c:v>45538.458333333328</c:v>
                      </c:pt>
                      <c:pt idx="5915">
                        <c:v>45538.5</c:v>
                      </c:pt>
                      <c:pt idx="5916">
                        <c:v>45538.541666666672</c:v>
                      </c:pt>
                      <c:pt idx="5917">
                        <c:v>45538.583333333328</c:v>
                      </c:pt>
                      <c:pt idx="5918">
                        <c:v>45538.625</c:v>
                      </c:pt>
                      <c:pt idx="5919">
                        <c:v>45538.666666666672</c:v>
                      </c:pt>
                      <c:pt idx="5920">
                        <c:v>45538.708333333328</c:v>
                      </c:pt>
                      <c:pt idx="5921">
                        <c:v>45538.75</c:v>
                      </c:pt>
                      <c:pt idx="5922">
                        <c:v>45538.791666666672</c:v>
                      </c:pt>
                      <c:pt idx="5923">
                        <c:v>45538.833333333328</c:v>
                      </c:pt>
                      <c:pt idx="5924">
                        <c:v>45538.875</c:v>
                      </c:pt>
                      <c:pt idx="5925">
                        <c:v>45538.916666666672</c:v>
                      </c:pt>
                      <c:pt idx="5926">
                        <c:v>45538.958333333328</c:v>
                      </c:pt>
                      <c:pt idx="5927">
                        <c:v>45539</c:v>
                      </c:pt>
                      <c:pt idx="5928">
                        <c:v>45539.041666666672</c:v>
                      </c:pt>
                      <c:pt idx="5929">
                        <c:v>45539.083333333328</c:v>
                      </c:pt>
                      <c:pt idx="5930">
                        <c:v>45539.125</c:v>
                      </c:pt>
                      <c:pt idx="5931">
                        <c:v>45539.166666666672</c:v>
                      </c:pt>
                      <c:pt idx="5932">
                        <c:v>45539.208333333328</c:v>
                      </c:pt>
                      <c:pt idx="5933">
                        <c:v>45539.25</c:v>
                      </c:pt>
                      <c:pt idx="5934">
                        <c:v>45539.291666666672</c:v>
                      </c:pt>
                      <c:pt idx="5935">
                        <c:v>45539.333333333328</c:v>
                      </c:pt>
                      <c:pt idx="5936">
                        <c:v>45539.375</c:v>
                      </c:pt>
                      <c:pt idx="5937">
                        <c:v>45539.416666666672</c:v>
                      </c:pt>
                      <c:pt idx="5938">
                        <c:v>45539.458333333328</c:v>
                      </c:pt>
                      <c:pt idx="5939">
                        <c:v>45539.5</c:v>
                      </c:pt>
                      <c:pt idx="5940">
                        <c:v>45539.541666666672</c:v>
                      </c:pt>
                      <c:pt idx="5941">
                        <c:v>45539.583333333328</c:v>
                      </c:pt>
                      <c:pt idx="5942">
                        <c:v>45539.625</c:v>
                      </c:pt>
                      <c:pt idx="5943">
                        <c:v>45539.666666666672</c:v>
                      </c:pt>
                      <c:pt idx="5944">
                        <c:v>45539.708333333328</c:v>
                      </c:pt>
                      <c:pt idx="5945">
                        <c:v>45539.75</c:v>
                      </c:pt>
                      <c:pt idx="5946">
                        <c:v>45539.791666666672</c:v>
                      </c:pt>
                      <c:pt idx="5947">
                        <c:v>45539.833333333328</c:v>
                      </c:pt>
                      <c:pt idx="5948">
                        <c:v>45539.875</c:v>
                      </c:pt>
                      <c:pt idx="5949">
                        <c:v>45539.916666666672</c:v>
                      </c:pt>
                      <c:pt idx="5950">
                        <c:v>45539.958333333328</c:v>
                      </c:pt>
                      <c:pt idx="5951">
                        <c:v>45540</c:v>
                      </c:pt>
                      <c:pt idx="5952">
                        <c:v>45540.041666666672</c:v>
                      </c:pt>
                      <c:pt idx="5953">
                        <c:v>45540.083333333328</c:v>
                      </c:pt>
                      <c:pt idx="5954">
                        <c:v>45540.125</c:v>
                      </c:pt>
                      <c:pt idx="5955">
                        <c:v>45540.166666666672</c:v>
                      </c:pt>
                      <c:pt idx="5956">
                        <c:v>45540.208333333328</c:v>
                      </c:pt>
                      <c:pt idx="5957">
                        <c:v>45540.25</c:v>
                      </c:pt>
                      <c:pt idx="5958">
                        <c:v>45540.291666666672</c:v>
                      </c:pt>
                      <c:pt idx="5959">
                        <c:v>45540.333333333328</c:v>
                      </c:pt>
                      <c:pt idx="5960">
                        <c:v>45540.375</c:v>
                      </c:pt>
                      <c:pt idx="5961">
                        <c:v>45540.416666666672</c:v>
                      </c:pt>
                      <c:pt idx="5962">
                        <c:v>45540.458333333328</c:v>
                      </c:pt>
                      <c:pt idx="5963">
                        <c:v>45540.5</c:v>
                      </c:pt>
                      <c:pt idx="5964">
                        <c:v>45540.541666666672</c:v>
                      </c:pt>
                      <c:pt idx="5965">
                        <c:v>45540.583333333328</c:v>
                      </c:pt>
                      <c:pt idx="5966">
                        <c:v>45540.625</c:v>
                      </c:pt>
                      <c:pt idx="5967">
                        <c:v>45540.666666666672</c:v>
                      </c:pt>
                      <c:pt idx="5968">
                        <c:v>45540.708333333328</c:v>
                      </c:pt>
                      <c:pt idx="5969">
                        <c:v>45540.75</c:v>
                      </c:pt>
                      <c:pt idx="5970">
                        <c:v>45540.791666666672</c:v>
                      </c:pt>
                      <c:pt idx="5971">
                        <c:v>45540.833333333328</c:v>
                      </c:pt>
                      <c:pt idx="5972">
                        <c:v>45540.875</c:v>
                      </c:pt>
                      <c:pt idx="5973">
                        <c:v>45540.916666666672</c:v>
                      </c:pt>
                      <c:pt idx="5974">
                        <c:v>45540.958333333328</c:v>
                      </c:pt>
                      <c:pt idx="5975">
                        <c:v>45541</c:v>
                      </c:pt>
                      <c:pt idx="5976">
                        <c:v>45541.041666666672</c:v>
                      </c:pt>
                      <c:pt idx="5977">
                        <c:v>45541.083333333328</c:v>
                      </c:pt>
                      <c:pt idx="5978">
                        <c:v>45541.125</c:v>
                      </c:pt>
                      <c:pt idx="5979">
                        <c:v>45541.166666666672</c:v>
                      </c:pt>
                      <c:pt idx="5980">
                        <c:v>45541.208333333328</c:v>
                      </c:pt>
                      <c:pt idx="5981">
                        <c:v>45541.25</c:v>
                      </c:pt>
                      <c:pt idx="5982">
                        <c:v>45541.291666666672</c:v>
                      </c:pt>
                      <c:pt idx="5983">
                        <c:v>45541.333333333328</c:v>
                      </c:pt>
                      <c:pt idx="5984">
                        <c:v>45541.375</c:v>
                      </c:pt>
                      <c:pt idx="5985">
                        <c:v>45541.416666666672</c:v>
                      </c:pt>
                      <c:pt idx="5986">
                        <c:v>45541.458333333328</c:v>
                      </c:pt>
                      <c:pt idx="5987">
                        <c:v>45541.5</c:v>
                      </c:pt>
                      <c:pt idx="5988">
                        <c:v>45541.541666666672</c:v>
                      </c:pt>
                      <c:pt idx="5989">
                        <c:v>45541.583333333328</c:v>
                      </c:pt>
                      <c:pt idx="5990">
                        <c:v>45541.625</c:v>
                      </c:pt>
                      <c:pt idx="5991">
                        <c:v>45541.666666666672</c:v>
                      </c:pt>
                      <c:pt idx="5992">
                        <c:v>45541.708333333328</c:v>
                      </c:pt>
                      <c:pt idx="5993">
                        <c:v>45541.75</c:v>
                      </c:pt>
                      <c:pt idx="5994">
                        <c:v>45541.791666666672</c:v>
                      </c:pt>
                      <c:pt idx="5995">
                        <c:v>45541.833333333328</c:v>
                      </c:pt>
                      <c:pt idx="5996">
                        <c:v>45541.875</c:v>
                      </c:pt>
                      <c:pt idx="5997">
                        <c:v>45541.916666666672</c:v>
                      </c:pt>
                      <c:pt idx="5998">
                        <c:v>45541.958333333328</c:v>
                      </c:pt>
                      <c:pt idx="5999">
                        <c:v>45542</c:v>
                      </c:pt>
                      <c:pt idx="6000">
                        <c:v>45542.041666666672</c:v>
                      </c:pt>
                      <c:pt idx="6001">
                        <c:v>45542.083333333328</c:v>
                      </c:pt>
                      <c:pt idx="6002">
                        <c:v>45542.125</c:v>
                      </c:pt>
                      <c:pt idx="6003">
                        <c:v>45542.166666666672</c:v>
                      </c:pt>
                      <c:pt idx="6004">
                        <c:v>45542.208333333328</c:v>
                      </c:pt>
                      <c:pt idx="6005">
                        <c:v>45542.25</c:v>
                      </c:pt>
                      <c:pt idx="6006">
                        <c:v>45542.291666666672</c:v>
                      </c:pt>
                      <c:pt idx="6007">
                        <c:v>45542.333333333328</c:v>
                      </c:pt>
                      <c:pt idx="6008">
                        <c:v>45542.375</c:v>
                      </c:pt>
                      <c:pt idx="6009">
                        <c:v>45542.416666666672</c:v>
                      </c:pt>
                      <c:pt idx="6010">
                        <c:v>45542.458333333328</c:v>
                      </c:pt>
                      <c:pt idx="6011">
                        <c:v>45542.5</c:v>
                      </c:pt>
                      <c:pt idx="6012">
                        <c:v>45542.541666666672</c:v>
                      </c:pt>
                      <c:pt idx="6013">
                        <c:v>45542.583333333328</c:v>
                      </c:pt>
                      <c:pt idx="6014">
                        <c:v>45542.625</c:v>
                      </c:pt>
                      <c:pt idx="6015">
                        <c:v>45542.666666666672</c:v>
                      </c:pt>
                      <c:pt idx="6016">
                        <c:v>45542.708333333328</c:v>
                      </c:pt>
                      <c:pt idx="6017">
                        <c:v>45542.75</c:v>
                      </c:pt>
                      <c:pt idx="6018">
                        <c:v>45542.791666666672</c:v>
                      </c:pt>
                      <c:pt idx="6019">
                        <c:v>45542.833333333328</c:v>
                      </c:pt>
                      <c:pt idx="6020">
                        <c:v>45542.875</c:v>
                      </c:pt>
                      <c:pt idx="6021">
                        <c:v>45542.916666666672</c:v>
                      </c:pt>
                      <c:pt idx="6022">
                        <c:v>45542.958333333328</c:v>
                      </c:pt>
                      <c:pt idx="6023">
                        <c:v>45543</c:v>
                      </c:pt>
                      <c:pt idx="6024">
                        <c:v>45543.041666666672</c:v>
                      </c:pt>
                      <c:pt idx="6025">
                        <c:v>45543.083333333328</c:v>
                      </c:pt>
                      <c:pt idx="6026">
                        <c:v>45543.125</c:v>
                      </c:pt>
                      <c:pt idx="6027">
                        <c:v>45543.166666666672</c:v>
                      </c:pt>
                      <c:pt idx="6028">
                        <c:v>45543.208333333328</c:v>
                      </c:pt>
                      <c:pt idx="6029">
                        <c:v>45543.25</c:v>
                      </c:pt>
                      <c:pt idx="6030">
                        <c:v>45543.291666666672</c:v>
                      </c:pt>
                      <c:pt idx="6031">
                        <c:v>45543.333333333328</c:v>
                      </c:pt>
                      <c:pt idx="6032">
                        <c:v>45543.375</c:v>
                      </c:pt>
                      <c:pt idx="6033">
                        <c:v>45543.416666666672</c:v>
                      </c:pt>
                      <c:pt idx="6034">
                        <c:v>45543.458333333328</c:v>
                      </c:pt>
                      <c:pt idx="6035">
                        <c:v>45543.5</c:v>
                      </c:pt>
                      <c:pt idx="6036">
                        <c:v>45543.541666666672</c:v>
                      </c:pt>
                      <c:pt idx="6037">
                        <c:v>45543.583333333328</c:v>
                      </c:pt>
                      <c:pt idx="6038">
                        <c:v>45543.625</c:v>
                      </c:pt>
                      <c:pt idx="6039">
                        <c:v>45543.666666666672</c:v>
                      </c:pt>
                      <c:pt idx="6040">
                        <c:v>45543.708333333328</c:v>
                      </c:pt>
                      <c:pt idx="6041">
                        <c:v>45543.75</c:v>
                      </c:pt>
                      <c:pt idx="6042">
                        <c:v>45543.791666666672</c:v>
                      </c:pt>
                      <c:pt idx="6043">
                        <c:v>45543.833333333328</c:v>
                      </c:pt>
                      <c:pt idx="6044">
                        <c:v>45543.875</c:v>
                      </c:pt>
                      <c:pt idx="6045">
                        <c:v>45543.916666666672</c:v>
                      </c:pt>
                      <c:pt idx="6046">
                        <c:v>45543.958333333328</c:v>
                      </c:pt>
                      <c:pt idx="6047">
                        <c:v>45544</c:v>
                      </c:pt>
                      <c:pt idx="6048">
                        <c:v>45544.041666666672</c:v>
                      </c:pt>
                      <c:pt idx="6049">
                        <c:v>45544.083333333328</c:v>
                      </c:pt>
                      <c:pt idx="6050">
                        <c:v>45544.125</c:v>
                      </c:pt>
                      <c:pt idx="6051">
                        <c:v>45544.166666666672</c:v>
                      </c:pt>
                      <c:pt idx="6052">
                        <c:v>45544.208333333328</c:v>
                      </c:pt>
                      <c:pt idx="6053">
                        <c:v>45544.25</c:v>
                      </c:pt>
                      <c:pt idx="6054">
                        <c:v>45544.291666666672</c:v>
                      </c:pt>
                      <c:pt idx="6055">
                        <c:v>45544.333333333328</c:v>
                      </c:pt>
                      <c:pt idx="6056">
                        <c:v>45544.375</c:v>
                      </c:pt>
                      <c:pt idx="6057">
                        <c:v>45544.416666666672</c:v>
                      </c:pt>
                      <c:pt idx="6058">
                        <c:v>45544.458333333328</c:v>
                      </c:pt>
                      <c:pt idx="6059">
                        <c:v>45544.5</c:v>
                      </c:pt>
                      <c:pt idx="6060">
                        <c:v>45544.541666666672</c:v>
                      </c:pt>
                      <c:pt idx="6061">
                        <c:v>45544.583333333328</c:v>
                      </c:pt>
                      <c:pt idx="6062">
                        <c:v>45544.625</c:v>
                      </c:pt>
                      <c:pt idx="6063">
                        <c:v>45544.666666666672</c:v>
                      </c:pt>
                      <c:pt idx="6064">
                        <c:v>45544.708333333328</c:v>
                      </c:pt>
                      <c:pt idx="6065">
                        <c:v>45544.75</c:v>
                      </c:pt>
                      <c:pt idx="6066">
                        <c:v>45544.791666666672</c:v>
                      </c:pt>
                      <c:pt idx="6067">
                        <c:v>45544.833333333328</c:v>
                      </c:pt>
                      <c:pt idx="6068">
                        <c:v>45544.875</c:v>
                      </c:pt>
                      <c:pt idx="6069">
                        <c:v>45544.916666666672</c:v>
                      </c:pt>
                      <c:pt idx="6070">
                        <c:v>45544.958333333328</c:v>
                      </c:pt>
                      <c:pt idx="6071">
                        <c:v>45545</c:v>
                      </c:pt>
                      <c:pt idx="6072">
                        <c:v>45545.041666666672</c:v>
                      </c:pt>
                      <c:pt idx="6073">
                        <c:v>45545.083333333328</c:v>
                      </c:pt>
                      <c:pt idx="6074">
                        <c:v>45545.125</c:v>
                      </c:pt>
                      <c:pt idx="6075">
                        <c:v>45545.166666666672</c:v>
                      </c:pt>
                      <c:pt idx="6076">
                        <c:v>45545.208333333328</c:v>
                      </c:pt>
                      <c:pt idx="6077">
                        <c:v>45545.25</c:v>
                      </c:pt>
                      <c:pt idx="6078">
                        <c:v>45545.291666666672</c:v>
                      </c:pt>
                      <c:pt idx="6079">
                        <c:v>45545.333333333328</c:v>
                      </c:pt>
                      <c:pt idx="6080">
                        <c:v>45545.375</c:v>
                      </c:pt>
                      <c:pt idx="6081">
                        <c:v>45545.416666666672</c:v>
                      </c:pt>
                      <c:pt idx="6082">
                        <c:v>45545.458333333328</c:v>
                      </c:pt>
                      <c:pt idx="6083">
                        <c:v>45545.5</c:v>
                      </c:pt>
                      <c:pt idx="6084">
                        <c:v>45545.541666666672</c:v>
                      </c:pt>
                      <c:pt idx="6085">
                        <c:v>45545.583333333328</c:v>
                      </c:pt>
                      <c:pt idx="6086">
                        <c:v>45545.625</c:v>
                      </c:pt>
                      <c:pt idx="6087">
                        <c:v>45545.666666666672</c:v>
                      </c:pt>
                      <c:pt idx="6088">
                        <c:v>45545.708333333328</c:v>
                      </c:pt>
                      <c:pt idx="6089">
                        <c:v>45545.75</c:v>
                      </c:pt>
                      <c:pt idx="6090">
                        <c:v>45545.791666666672</c:v>
                      </c:pt>
                      <c:pt idx="6091">
                        <c:v>45545.833333333328</c:v>
                      </c:pt>
                      <c:pt idx="6092">
                        <c:v>45545.875</c:v>
                      </c:pt>
                      <c:pt idx="6093">
                        <c:v>45545.916666666672</c:v>
                      </c:pt>
                      <c:pt idx="6094">
                        <c:v>45545.958333333328</c:v>
                      </c:pt>
                      <c:pt idx="6095">
                        <c:v>45546</c:v>
                      </c:pt>
                      <c:pt idx="6096">
                        <c:v>45546.041666666672</c:v>
                      </c:pt>
                      <c:pt idx="6097">
                        <c:v>45546.083333333328</c:v>
                      </c:pt>
                      <c:pt idx="6098">
                        <c:v>45546.125</c:v>
                      </c:pt>
                      <c:pt idx="6099">
                        <c:v>45546.166666666672</c:v>
                      </c:pt>
                      <c:pt idx="6100">
                        <c:v>45546.208333333328</c:v>
                      </c:pt>
                      <c:pt idx="6101">
                        <c:v>45546.25</c:v>
                      </c:pt>
                      <c:pt idx="6102">
                        <c:v>45546.291666666672</c:v>
                      </c:pt>
                      <c:pt idx="6103">
                        <c:v>45546.333333333328</c:v>
                      </c:pt>
                      <c:pt idx="6104">
                        <c:v>45546.375</c:v>
                      </c:pt>
                      <c:pt idx="6105">
                        <c:v>45546.416666666672</c:v>
                      </c:pt>
                      <c:pt idx="6106">
                        <c:v>45546.458333333328</c:v>
                      </c:pt>
                      <c:pt idx="6107">
                        <c:v>45546.5</c:v>
                      </c:pt>
                      <c:pt idx="6108">
                        <c:v>45546.541666666672</c:v>
                      </c:pt>
                      <c:pt idx="6109">
                        <c:v>45546.583333333328</c:v>
                      </c:pt>
                      <c:pt idx="6110">
                        <c:v>45546.625</c:v>
                      </c:pt>
                      <c:pt idx="6111">
                        <c:v>45546.666666666672</c:v>
                      </c:pt>
                      <c:pt idx="6112">
                        <c:v>45546.708333333328</c:v>
                      </c:pt>
                      <c:pt idx="6113">
                        <c:v>45546.75</c:v>
                      </c:pt>
                      <c:pt idx="6114">
                        <c:v>45546.791666666672</c:v>
                      </c:pt>
                      <c:pt idx="6115">
                        <c:v>45546.833333333328</c:v>
                      </c:pt>
                      <c:pt idx="6116">
                        <c:v>45546.875</c:v>
                      </c:pt>
                      <c:pt idx="6117">
                        <c:v>45546.916666666672</c:v>
                      </c:pt>
                      <c:pt idx="6118">
                        <c:v>45546.958333333328</c:v>
                      </c:pt>
                      <c:pt idx="6119">
                        <c:v>45547</c:v>
                      </c:pt>
                      <c:pt idx="6120">
                        <c:v>45547.041666666672</c:v>
                      </c:pt>
                      <c:pt idx="6121">
                        <c:v>45547.083333333328</c:v>
                      </c:pt>
                      <c:pt idx="6122">
                        <c:v>45547.125</c:v>
                      </c:pt>
                      <c:pt idx="6123">
                        <c:v>45547.166666666672</c:v>
                      </c:pt>
                      <c:pt idx="6124">
                        <c:v>45547.208333333328</c:v>
                      </c:pt>
                      <c:pt idx="6125">
                        <c:v>45547.25</c:v>
                      </c:pt>
                      <c:pt idx="6126">
                        <c:v>45547.291666666672</c:v>
                      </c:pt>
                      <c:pt idx="6127">
                        <c:v>45547.333333333328</c:v>
                      </c:pt>
                      <c:pt idx="6128">
                        <c:v>45547.375</c:v>
                      </c:pt>
                      <c:pt idx="6129">
                        <c:v>45547.416666666672</c:v>
                      </c:pt>
                      <c:pt idx="6130">
                        <c:v>45547.458333333328</c:v>
                      </c:pt>
                      <c:pt idx="6131">
                        <c:v>45547.5</c:v>
                      </c:pt>
                      <c:pt idx="6132">
                        <c:v>45547.541666666672</c:v>
                      </c:pt>
                      <c:pt idx="6133">
                        <c:v>45547.583333333328</c:v>
                      </c:pt>
                      <c:pt idx="6134">
                        <c:v>45547.625</c:v>
                      </c:pt>
                      <c:pt idx="6135">
                        <c:v>45547.666666666672</c:v>
                      </c:pt>
                      <c:pt idx="6136">
                        <c:v>45547.708333333328</c:v>
                      </c:pt>
                      <c:pt idx="6137">
                        <c:v>45547.75</c:v>
                      </c:pt>
                      <c:pt idx="6138">
                        <c:v>45547.791666666672</c:v>
                      </c:pt>
                      <c:pt idx="6139">
                        <c:v>45547.833333333328</c:v>
                      </c:pt>
                      <c:pt idx="6140">
                        <c:v>45547.875</c:v>
                      </c:pt>
                      <c:pt idx="6141">
                        <c:v>45547.916666666672</c:v>
                      </c:pt>
                      <c:pt idx="6142">
                        <c:v>45547.958333333328</c:v>
                      </c:pt>
                      <c:pt idx="6143">
                        <c:v>45548</c:v>
                      </c:pt>
                      <c:pt idx="6144">
                        <c:v>45548.041666666672</c:v>
                      </c:pt>
                      <c:pt idx="6145">
                        <c:v>45548.083333333328</c:v>
                      </c:pt>
                      <c:pt idx="6146">
                        <c:v>45548.125</c:v>
                      </c:pt>
                      <c:pt idx="6147">
                        <c:v>45548.166666666672</c:v>
                      </c:pt>
                      <c:pt idx="6148">
                        <c:v>45548.208333333328</c:v>
                      </c:pt>
                      <c:pt idx="6149">
                        <c:v>45548.25</c:v>
                      </c:pt>
                      <c:pt idx="6150">
                        <c:v>45548.291666666672</c:v>
                      </c:pt>
                      <c:pt idx="6151">
                        <c:v>45548.333333333328</c:v>
                      </c:pt>
                      <c:pt idx="6152">
                        <c:v>45548.375</c:v>
                      </c:pt>
                      <c:pt idx="6153">
                        <c:v>45548.416666666672</c:v>
                      </c:pt>
                      <c:pt idx="6154">
                        <c:v>45548.458333333328</c:v>
                      </c:pt>
                      <c:pt idx="6155">
                        <c:v>45548.5</c:v>
                      </c:pt>
                      <c:pt idx="6156">
                        <c:v>45548.541666666672</c:v>
                      </c:pt>
                      <c:pt idx="6157">
                        <c:v>45548.583333333328</c:v>
                      </c:pt>
                      <c:pt idx="6158">
                        <c:v>45548.625</c:v>
                      </c:pt>
                      <c:pt idx="6159">
                        <c:v>45548.666666666672</c:v>
                      </c:pt>
                      <c:pt idx="6160">
                        <c:v>45548.708333333328</c:v>
                      </c:pt>
                      <c:pt idx="6161">
                        <c:v>45548.75</c:v>
                      </c:pt>
                      <c:pt idx="6162">
                        <c:v>45548.791666666672</c:v>
                      </c:pt>
                      <c:pt idx="6163">
                        <c:v>45548.833333333328</c:v>
                      </c:pt>
                      <c:pt idx="6164">
                        <c:v>45548.875</c:v>
                      </c:pt>
                      <c:pt idx="6165">
                        <c:v>45548.916666666672</c:v>
                      </c:pt>
                      <c:pt idx="6166">
                        <c:v>45548.958333333328</c:v>
                      </c:pt>
                      <c:pt idx="6167">
                        <c:v>45549</c:v>
                      </c:pt>
                      <c:pt idx="6168">
                        <c:v>45549.041666666672</c:v>
                      </c:pt>
                      <c:pt idx="6169">
                        <c:v>45549.083333333328</c:v>
                      </c:pt>
                      <c:pt idx="6170">
                        <c:v>45549.125</c:v>
                      </c:pt>
                      <c:pt idx="6171">
                        <c:v>45549.166666666672</c:v>
                      </c:pt>
                      <c:pt idx="6172">
                        <c:v>45549.208333333328</c:v>
                      </c:pt>
                      <c:pt idx="6173">
                        <c:v>45549.25</c:v>
                      </c:pt>
                      <c:pt idx="6174">
                        <c:v>45549.291666666672</c:v>
                      </c:pt>
                      <c:pt idx="6175">
                        <c:v>45549.333333333328</c:v>
                      </c:pt>
                      <c:pt idx="6176">
                        <c:v>45549.375</c:v>
                      </c:pt>
                      <c:pt idx="6177">
                        <c:v>45549.416666666672</c:v>
                      </c:pt>
                      <c:pt idx="6178">
                        <c:v>45549.458333333328</c:v>
                      </c:pt>
                      <c:pt idx="6179">
                        <c:v>45549.5</c:v>
                      </c:pt>
                      <c:pt idx="6180">
                        <c:v>45549.541666666672</c:v>
                      </c:pt>
                      <c:pt idx="6181">
                        <c:v>45549.583333333328</c:v>
                      </c:pt>
                      <c:pt idx="6182">
                        <c:v>45549.625</c:v>
                      </c:pt>
                      <c:pt idx="6183">
                        <c:v>45549.666666666672</c:v>
                      </c:pt>
                      <c:pt idx="6184">
                        <c:v>45549.708333333328</c:v>
                      </c:pt>
                      <c:pt idx="6185">
                        <c:v>45549.75</c:v>
                      </c:pt>
                      <c:pt idx="6186">
                        <c:v>45549.791666666672</c:v>
                      </c:pt>
                      <c:pt idx="6187">
                        <c:v>45549.833333333328</c:v>
                      </c:pt>
                      <c:pt idx="6188">
                        <c:v>45549.875</c:v>
                      </c:pt>
                      <c:pt idx="6189">
                        <c:v>45549.916666666672</c:v>
                      </c:pt>
                      <c:pt idx="6190">
                        <c:v>45549.958333333328</c:v>
                      </c:pt>
                      <c:pt idx="6191">
                        <c:v>45550</c:v>
                      </c:pt>
                      <c:pt idx="6192">
                        <c:v>45550.041666666672</c:v>
                      </c:pt>
                      <c:pt idx="6193">
                        <c:v>45550.083333333328</c:v>
                      </c:pt>
                      <c:pt idx="6194">
                        <c:v>45550.125</c:v>
                      </c:pt>
                      <c:pt idx="6195">
                        <c:v>45550.166666666672</c:v>
                      </c:pt>
                      <c:pt idx="6196">
                        <c:v>45550.208333333328</c:v>
                      </c:pt>
                      <c:pt idx="6197">
                        <c:v>45550.25</c:v>
                      </c:pt>
                      <c:pt idx="6198">
                        <c:v>45550.291666666672</c:v>
                      </c:pt>
                      <c:pt idx="6199">
                        <c:v>45550.333333333328</c:v>
                      </c:pt>
                      <c:pt idx="6200">
                        <c:v>45550.375</c:v>
                      </c:pt>
                      <c:pt idx="6201">
                        <c:v>45550.416666666672</c:v>
                      </c:pt>
                      <c:pt idx="6202">
                        <c:v>45550.458333333328</c:v>
                      </c:pt>
                      <c:pt idx="6203">
                        <c:v>45550.5</c:v>
                      </c:pt>
                      <c:pt idx="6204">
                        <c:v>45550.541666666672</c:v>
                      </c:pt>
                      <c:pt idx="6205">
                        <c:v>45550.583333333328</c:v>
                      </c:pt>
                      <c:pt idx="6206">
                        <c:v>45550.625</c:v>
                      </c:pt>
                      <c:pt idx="6207">
                        <c:v>45550.666666666672</c:v>
                      </c:pt>
                      <c:pt idx="6208">
                        <c:v>45550.708333333328</c:v>
                      </c:pt>
                      <c:pt idx="6209">
                        <c:v>45550.75</c:v>
                      </c:pt>
                      <c:pt idx="6210">
                        <c:v>45550.791666666672</c:v>
                      </c:pt>
                      <c:pt idx="6211">
                        <c:v>45550.833333333328</c:v>
                      </c:pt>
                      <c:pt idx="6212">
                        <c:v>45550.875</c:v>
                      </c:pt>
                      <c:pt idx="6213">
                        <c:v>45550.916666666672</c:v>
                      </c:pt>
                      <c:pt idx="6214">
                        <c:v>45550.958333333328</c:v>
                      </c:pt>
                      <c:pt idx="6215">
                        <c:v>45551</c:v>
                      </c:pt>
                      <c:pt idx="6216">
                        <c:v>45551.041666666672</c:v>
                      </c:pt>
                      <c:pt idx="6217">
                        <c:v>45551.083333333328</c:v>
                      </c:pt>
                      <c:pt idx="6218">
                        <c:v>45551.125</c:v>
                      </c:pt>
                      <c:pt idx="6219">
                        <c:v>45551.166666666672</c:v>
                      </c:pt>
                      <c:pt idx="6220">
                        <c:v>45551.208333333328</c:v>
                      </c:pt>
                      <c:pt idx="6221">
                        <c:v>45551.25</c:v>
                      </c:pt>
                      <c:pt idx="6222">
                        <c:v>45551.291666666672</c:v>
                      </c:pt>
                      <c:pt idx="6223">
                        <c:v>45551.333333333328</c:v>
                      </c:pt>
                      <c:pt idx="6224">
                        <c:v>45551.375</c:v>
                      </c:pt>
                      <c:pt idx="6225">
                        <c:v>45551.416666666672</c:v>
                      </c:pt>
                      <c:pt idx="6226">
                        <c:v>45551.458333333328</c:v>
                      </c:pt>
                      <c:pt idx="6227">
                        <c:v>45551.5</c:v>
                      </c:pt>
                      <c:pt idx="6228">
                        <c:v>45551.541666666672</c:v>
                      </c:pt>
                      <c:pt idx="6229">
                        <c:v>45551.583333333328</c:v>
                      </c:pt>
                      <c:pt idx="6230">
                        <c:v>45551.625</c:v>
                      </c:pt>
                      <c:pt idx="6231">
                        <c:v>45551.666666666672</c:v>
                      </c:pt>
                      <c:pt idx="6232">
                        <c:v>45551.708333333328</c:v>
                      </c:pt>
                      <c:pt idx="6233">
                        <c:v>45551.75</c:v>
                      </c:pt>
                      <c:pt idx="6234">
                        <c:v>45551.791666666672</c:v>
                      </c:pt>
                      <c:pt idx="6235">
                        <c:v>45551.833333333328</c:v>
                      </c:pt>
                      <c:pt idx="6236">
                        <c:v>45551.875</c:v>
                      </c:pt>
                      <c:pt idx="6237">
                        <c:v>45551.916666666672</c:v>
                      </c:pt>
                      <c:pt idx="6238">
                        <c:v>45551.958333333328</c:v>
                      </c:pt>
                      <c:pt idx="6239">
                        <c:v>45552</c:v>
                      </c:pt>
                      <c:pt idx="6240">
                        <c:v>45552.041666666672</c:v>
                      </c:pt>
                      <c:pt idx="6241">
                        <c:v>45552.083333333328</c:v>
                      </c:pt>
                      <c:pt idx="6242">
                        <c:v>45552.125</c:v>
                      </c:pt>
                      <c:pt idx="6243">
                        <c:v>45552.166666666672</c:v>
                      </c:pt>
                      <c:pt idx="6244">
                        <c:v>45552.208333333328</c:v>
                      </c:pt>
                      <c:pt idx="6245">
                        <c:v>45552.25</c:v>
                      </c:pt>
                      <c:pt idx="6246">
                        <c:v>45552.291666666672</c:v>
                      </c:pt>
                      <c:pt idx="6247">
                        <c:v>45552.333333333328</c:v>
                      </c:pt>
                      <c:pt idx="6248">
                        <c:v>45552.375</c:v>
                      </c:pt>
                      <c:pt idx="6249">
                        <c:v>45552.416666666672</c:v>
                      </c:pt>
                      <c:pt idx="6250">
                        <c:v>45552.458333333328</c:v>
                      </c:pt>
                      <c:pt idx="6251">
                        <c:v>45552.5</c:v>
                      </c:pt>
                      <c:pt idx="6252">
                        <c:v>45552.541666666672</c:v>
                      </c:pt>
                      <c:pt idx="6253">
                        <c:v>45552.583333333328</c:v>
                      </c:pt>
                      <c:pt idx="6254">
                        <c:v>45552.625</c:v>
                      </c:pt>
                      <c:pt idx="6255">
                        <c:v>45552.666666666672</c:v>
                      </c:pt>
                      <c:pt idx="6256">
                        <c:v>45552.708333333328</c:v>
                      </c:pt>
                      <c:pt idx="6257">
                        <c:v>45552.75</c:v>
                      </c:pt>
                      <c:pt idx="6258">
                        <c:v>45552.791666666672</c:v>
                      </c:pt>
                      <c:pt idx="6259">
                        <c:v>45552.833333333328</c:v>
                      </c:pt>
                      <c:pt idx="6260">
                        <c:v>45552.875</c:v>
                      </c:pt>
                      <c:pt idx="6261">
                        <c:v>45552.916666666672</c:v>
                      </c:pt>
                      <c:pt idx="6262">
                        <c:v>45552.958333333328</c:v>
                      </c:pt>
                      <c:pt idx="6263">
                        <c:v>45553</c:v>
                      </c:pt>
                      <c:pt idx="6264">
                        <c:v>45553.041666666672</c:v>
                      </c:pt>
                      <c:pt idx="6265">
                        <c:v>45553.083333333328</c:v>
                      </c:pt>
                      <c:pt idx="6266">
                        <c:v>45553.125</c:v>
                      </c:pt>
                      <c:pt idx="6267">
                        <c:v>45553.166666666672</c:v>
                      </c:pt>
                      <c:pt idx="6268">
                        <c:v>45553.208333333328</c:v>
                      </c:pt>
                      <c:pt idx="6269">
                        <c:v>45553.25</c:v>
                      </c:pt>
                      <c:pt idx="6270">
                        <c:v>45553.291666666672</c:v>
                      </c:pt>
                      <c:pt idx="6271">
                        <c:v>45553.333333333328</c:v>
                      </c:pt>
                      <c:pt idx="6272">
                        <c:v>45553.375</c:v>
                      </c:pt>
                      <c:pt idx="6273">
                        <c:v>45553.416666666672</c:v>
                      </c:pt>
                      <c:pt idx="6274">
                        <c:v>45553.458333333328</c:v>
                      </c:pt>
                      <c:pt idx="6275">
                        <c:v>45553.5</c:v>
                      </c:pt>
                      <c:pt idx="6276">
                        <c:v>45553.541666666672</c:v>
                      </c:pt>
                      <c:pt idx="6277">
                        <c:v>45553.583333333328</c:v>
                      </c:pt>
                      <c:pt idx="6278">
                        <c:v>45553.625</c:v>
                      </c:pt>
                      <c:pt idx="6279">
                        <c:v>45553.666666666672</c:v>
                      </c:pt>
                      <c:pt idx="6280">
                        <c:v>45553.708333333328</c:v>
                      </c:pt>
                      <c:pt idx="6281">
                        <c:v>45553.75</c:v>
                      </c:pt>
                      <c:pt idx="6282">
                        <c:v>45553.791666666672</c:v>
                      </c:pt>
                      <c:pt idx="6283">
                        <c:v>45553.833333333328</c:v>
                      </c:pt>
                      <c:pt idx="6284">
                        <c:v>45553.875</c:v>
                      </c:pt>
                      <c:pt idx="6285">
                        <c:v>45553.916666666672</c:v>
                      </c:pt>
                      <c:pt idx="6286">
                        <c:v>45553.958333333328</c:v>
                      </c:pt>
                      <c:pt idx="6287">
                        <c:v>45554</c:v>
                      </c:pt>
                      <c:pt idx="6288">
                        <c:v>45554.041666666672</c:v>
                      </c:pt>
                      <c:pt idx="6289">
                        <c:v>45554.083333333328</c:v>
                      </c:pt>
                      <c:pt idx="6290">
                        <c:v>45554.125</c:v>
                      </c:pt>
                      <c:pt idx="6291">
                        <c:v>45554.166666666672</c:v>
                      </c:pt>
                      <c:pt idx="6292">
                        <c:v>45554.208333333328</c:v>
                      </c:pt>
                      <c:pt idx="6293">
                        <c:v>45554.25</c:v>
                      </c:pt>
                      <c:pt idx="6294">
                        <c:v>45554.291666666672</c:v>
                      </c:pt>
                      <c:pt idx="6295">
                        <c:v>45554.333333333328</c:v>
                      </c:pt>
                      <c:pt idx="6296">
                        <c:v>45554.375</c:v>
                      </c:pt>
                      <c:pt idx="6297">
                        <c:v>45554.416666666672</c:v>
                      </c:pt>
                      <c:pt idx="6298">
                        <c:v>45554.458333333328</c:v>
                      </c:pt>
                      <c:pt idx="6299">
                        <c:v>45554.5</c:v>
                      </c:pt>
                      <c:pt idx="6300">
                        <c:v>45554.541666666672</c:v>
                      </c:pt>
                      <c:pt idx="6301">
                        <c:v>45554.583333333328</c:v>
                      </c:pt>
                      <c:pt idx="6302">
                        <c:v>45554.625</c:v>
                      </c:pt>
                      <c:pt idx="6303">
                        <c:v>45554.666666666672</c:v>
                      </c:pt>
                      <c:pt idx="6304">
                        <c:v>45554.708333333328</c:v>
                      </c:pt>
                      <c:pt idx="6305">
                        <c:v>45554.75</c:v>
                      </c:pt>
                      <c:pt idx="6306">
                        <c:v>45554.791666666672</c:v>
                      </c:pt>
                      <c:pt idx="6307">
                        <c:v>45554.833333333328</c:v>
                      </c:pt>
                      <c:pt idx="6308">
                        <c:v>45554.875</c:v>
                      </c:pt>
                      <c:pt idx="6309">
                        <c:v>45554.916666666672</c:v>
                      </c:pt>
                      <c:pt idx="6310">
                        <c:v>45554.958333333328</c:v>
                      </c:pt>
                      <c:pt idx="6311">
                        <c:v>45555</c:v>
                      </c:pt>
                      <c:pt idx="6312">
                        <c:v>45555.041666666672</c:v>
                      </c:pt>
                      <c:pt idx="6313">
                        <c:v>45555.083333333328</c:v>
                      </c:pt>
                      <c:pt idx="6314">
                        <c:v>45555.125</c:v>
                      </c:pt>
                      <c:pt idx="6315">
                        <c:v>45555.166666666672</c:v>
                      </c:pt>
                      <c:pt idx="6316">
                        <c:v>45555.208333333328</c:v>
                      </c:pt>
                      <c:pt idx="6317">
                        <c:v>45555.25</c:v>
                      </c:pt>
                      <c:pt idx="6318">
                        <c:v>45555.291666666672</c:v>
                      </c:pt>
                      <c:pt idx="6319">
                        <c:v>45555.333333333328</c:v>
                      </c:pt>
                      <c:pt idx="6320">
                        <c:v>45555.375</c:v>
                      </c:pt>
                      <c:pt idx="6321">
                        <c:v>45555.416666666672</c:v>
                      </c:pt>
                      <c:pt idx="6322">
                        <c:v>45555.458333333328</c:v>
                      </c:pt>
                      <c:pt idx="6323">
                        <c:v>45555.5</c:v>
                      </c:pt>
                      <c:pt idx="6324">
                        <c:v>45555.541666666672</c:v>
                      </c:pt>
                      <c:pt idx="6325">
                        <c:v>45555.583333333328</c:v>
                      </c:pt>
                      <c:pt idx="6326">
                        <c:v>45555.625</c:v>
                      </c:pt>
                      <c:pt idx="6327">
                        <c:v>45555.666666666672</c:v>
                      </c:pt>
                      <c:pt idx="6328">
                        <c:v>45555.708333333328</c:v>
                      </c:pt>
                      <c:pt idx="6329">
                        <c:v>45555.75</c:v>
                      </c:pt>
                      <c:pt idx="6330">
                        <c:v>45555.791666666672</c:v>
                      </c:pt>
                      <c:pt idx="6331">
                        <c:v>45555.833333333328</c:v>
                      </c:pt>
                      <c:pt idx="6332">
                        <c:v>45555.875</c:v>
                      </c:pt>
                      <c:pt idx="6333">
                        <c:v>45555.916666666672</c:v>
                      </c:pt>
                      <c:pt idx="6334">
                        <c:v>45555.958333333328</c:v>
                      </c:pt>
                      <c:pt idx="6335">
                        <c:v>45556</c:v>
                      </c:pt>
                      <c:pt idx="6336">
                        <c:v>45556.041666666672</c:v>
                      </c:pt>
                      <c:pt idx="6337">
                        <c:v>45556.083333333328</c:v>
                      </c:pt>
                      <c:pt idx="6338">
                        <c:v>45556.125</c:v>
                      </c:pt>
                      <c:pt idx="6339">
                        <c:v>45556.166666666672</c:v>
                      </c:pt>
                      <c:pt idx="6340">
                        <c:v>45556.208333333328</c:v>
                      </c:pt>
                      <c:pt idx="6341">
                        <c:v>45556.25</c:v>
                      </c:pt>
                      <c:pt idx="6342">
                        <c:v>45556.291666666672</c:v>
                      </c:pt>
                      <c:pt idx="6343">
                        <c:v>45556.333333333328</c:v>
                      </c:pt>
                      <c:pt idx="6344">
                        <c:v>45556.375</c:v>
                      </c:pt>
                      <c:pt idx="6345">
                        <c:v>45556.416666666672</c:v>
                      </c:pt>
                      <c:pt idx="6346">
                        <c:v>45556.458333333328</c:v>
                      </c:pt>
                      <c:pt idx="6347">
                        <c:v>45556.5</c:v>
                      </c:pt>
                      <c:pt idx="6348">
                        <c:v>45556.541666666672</c:v>
                      </c:pt>
                      <c:pt idx="6349">
                        <c:v>45556.583333333328</c:v>
                      </c:pt>
                      <c:pt idx="6350">
                        <c:v>45556.625</c:v>
                      </c:pt>
                      <c:pt idx="6351">
                        <c:v>45556.666666666672</c:v>
                      </c:pt>
                      <c:pt idx="6352">
                        <c:v>45556.708333333328</c:v>
                      </c:pt>
                      <c:pt idx="6353">
                        <c:v>45556.75</c:v>
                      </c:pt>
                      <c:pt idx="6354">
                        <c:v>45556.791666666672</c:v>
                      </c:pt>
                      <c:pt idx="6355">
                        <c:v>45556.833333333328</c:v>
                      </c:pt>
                      <c:pt idx="6356">
                        <c:v>45556.875</c:v>
                      </c:pt>
                      <c:pt idx="6357">
                        <c:v>45556.916666666672</c:v>
                      </c:pt>
                      <c:pt idx="6358">
                        <c:v>45556.958333333328</c:v>
                      </c:pt>
                      <c:pt idx="6359">
                        <c:v>45557</c:v>
                      </c:pt>
                      <c:pt idx="6360">
                        <c:v>45557.041666666672</c:v>
                      </c:pt>
                      <c:pt idx="6361">
                        <c:v>45557.083333333328</c:v>
                      </c:pt>
                      <c:pt idx="6362">
                        <c:v>45557.125</c:v>
                      </c:pt>
                      <c:pt idx="6363">
                        <c:v>45557.166666666672</c:v>
                      </c:pt>
                      <c:pt idx="6364">
                        <c:v>45557.208333333328</c:v>
                      </c:pt>
                      <c:pt idx="6365">
                        <c:v>45557.25</c:v>
                      </c:pt>
                      <c:pt idx="6366">
                        <c:v>45557.291666666672</c:v>
                      </c:pt>
                      <c:pt idx="6367">
                        <c:v>45557.333333333328</c:v>
                      </c:pt>
                      <c:pt idx="6368">
                        <c:v>45557.375</c:v>
                      </c:pt>
                      <c:pt idx="6369">
                        <c:v>45557.416666666672</c:v>
                      </c:pt>
                      <c:pt idx="6370">
                        <c:v>45557.458333333328</c:v>
                      </c:pt>
                      <c:pt idx="6371">
                        <c:v>45557.5</c:v>
                      </c:pt>
                      <c:pt idx="6372">
                        <c:v>45557.541666666672</c:v>
                      </c:pt>
                      <c:pt idx="6373">
                        <c:v>45557.583333333328</c:v>
                      </c:pt>
                      <c:pt idx="6374">
                        <c:v>45557.625</c:v>
                      </c:pt>
                      <c:pt idx="6375">
                        <c:v>45557.666666666672</c:v>
                      </c:pt>
                      <c:pt idx="6376">
                        <c:v>45557.708333333328</c:v>
                      </c:pt>
                      <c:pt idx="6377">
                        <c:v>45557.75</c:v>
                      </c:pt>
                      <c:pt idx="6378">
                        <c:v>45557.791666666672</c:v>
                      </c:pt>
                      <c:pt idx="6379">
                        <c:v>45557.833333333328</c:v>
                      </c:pt>
                      <c:pt idx="6380">
                        <c:v>45557.875</c:v>
                      </c:pt>
                      <c:pt idx="6381">
                        <c:v>45557.916666666672</c:v>
                      </c:pt>
                      <c:pt idx="6382">
                        <c:v>45557.958333333328</c:v>
                      </c:pt>
                      <c:pt idx="6383">
                        <c:v>45558</c:v>
                      </c:pt>
                      <c:pt idx="6384">
                        <c:v>45558.041666666672</c:v>
                      </c:pt>
                      <c:pt idx="6385">
                        <c:v>45558.083333333328</c:v>
                      </c:pt>
                      <c:pt idx="6386">
                        <c:v>45558.125</c:v>
                      </c:pt>
                      <c:pt idx="6387">
                        <c:v>45558.166666666672</c:v>
                      </c:pt>
                      <c:pt idx="6388">
                        <c:v>45558.208333333328</c:v>
                      </c:pt>
                      <c:pt idx="6389">
                        <c:v>45558.25</c:v>
                      </c:pt>
                      <c:pt idx="6390">
                        <c:v>45558.291666666672</c:v>
                      </c:pt>
                      <c:pt idx="6391">
                        <c:v>45558.333333333328</c:v>
                      </c:pt>
                      <c:pt idx="6392">
                        <c:v>45558.375</c:v>
                      </c:pt>
                      <c:pt idx="6393">
                        <c:v>45558.416666666672</c:v>
                      </c:pt>
                      <c:pt idx="6394">
                        <c:v>45558.458333333328</c:v>
                      </c:pt>
                      <c:pt idx="6395">
                        <c:v>45558.5</c:v>
                      </c:pt>
                      <c:pt idx="6396">
                        <c:v>45558.541666666672</c:v>
                      </c:pt>
                      <c:pt idx="6397">
                        <c:v>45558.583333333328</c:v>
                      </c:pt>
                      <c:pt idx="6398">
                        <c:v>45558.625</c:v>
                      </c:pt>
                      <c:pt idx="6399">
                        <c:v>45558.666666666672</c:v>
                      </c:pt>
                      <c:pt idx="6400">
                        <c:v>45558.708333333328</c:v>
                      </c:pt>
                      <c:pt idx="6401">
                        <c:v>45558.75</c:v>
                      </c:pt>
                      <c:pt idx="6402">
                        <c:v>45558.791666666672</c:v>
                      </c:pt>
                      <c:pt idx="6403">
                        <c:v>45558.833333333328</c:v>
                      </c:pt>
                      <c:pt idx="6404">
                        <c:v>45558.875</c:v>
                      </c:pt>
                      <c:pt idx="6405">
                        <c:v>45558.916666666672</c:v>
                      </c:pt>
                      <c:pt idx="6406">
                        <c:v>45558.958333333328</c:v>
                      </c:pt>
                      <c:pt idx="6407">
                        <c:v>45559</c:v>
                      </c:pt>
                      <c:pt idx="6408">
                        <c:v>45559.041666666672</c:v>
                      </c:pt>
                      <c:pt idx="6409">
                        <c:v>45559.083333333328</c:v>
                      </c:pt>
                      <c:pt idx="6410">
                        <c:v>45559.125</c:v>
                      </c:pt>
                      <c:pt idx="6411">
                        <c:v>45559.166666666672</c:v>
                      </c:pt>
                      <c:pt idx="6412">
                        <c:v>45559.208333333328</c:v>
                      </c:pt>
                      <c:pt idx="6413">
                        <c:v>45559.25</c:v>
                      </c:pt>
                      <c:pt idx="6414">
                        <c:v>45559.291666666672</c:v>
                      </c:pt>
                      <c:pt idx="6415">
                        <c:v>45559.333333333328</c:v>
                      </c:pt>
                      <c:pt idx="6416">
                        <c:v>45559.375</c:v>
                      </c:pt>
                      <c:pt idx="6417">
                        <c:v>45559.416666666672</c:v>
                      </c:pt>
                      <c:pt idx="6418">
                        <c:v>45559.458333333328</c:v>
                      </c:pt>
                      <c:pt idx="6419">
                        <c:v>45559.5</c:v>
                      </c:pt>
                      <c:pt idx="6420">
                        <c:v>45559.541666666672</c:v>
                      </c:pt>
                      <c:pt idx="6421">
                        <c:v>45559.583333333328</c:v>
                      </c:pt>
                      <c:pt idx="6422">
                        <c:v>45559.625</c:v>
                      </c:pt>
                      <c:pt idx="6423">
                        <c:v>45559.666666666672</c:v>
                      </c:pt>
                      <c:pt idx="6424">
                        <c:v>45559.708333333328</c:v>
                      </c:pt>
                      <c:pt idx="6425">
                        <c:v>45559.75</c:v>
                      </c:pt>
                      <c:pt idx="6426">
                        <c:v>45559.791666666672</c:v>
                      </c:pt>
                      <c:pt idx="6427">
                        <c:v>45559.833333333328</c:v>
                      </c:pt>
                      <c:pt idx="6428">
                        <c:v>45559.875</c:v>
                      </c:pt>
                      <c:pt idx="6429">
                        <c:v>45559.916666666672</c:v>
                      </c:pt>
                      <c:pt idx="6430">
                        <c:v>45559.958333333328</c:v>
                      </c:pt>
                      <c:pt idx="6431">
                        <c:v>45560</c:v>
                      </c:pt>
                      <c:pt idx="6432">
                        <c:v>45560.041666666672</c:v>
                      </c:pt>
                      <c:pt idx="6433">
                        <c:v>45560.083333333328</c:v>
                      </c:pt>
                      <c:pt idx="6434">
                        <c:v>45560.125</c:v>
                      </c:pt>
                      <c:pt idx="6435">
                        <c:v>45560.166666666672</c:v>
                      </c:pt>
                      <c:pt idx="6436">
                        <c:v>45560.208333333328</c:v>
                      </c:pt>
                      <c:pt idx="6437">
                        <c:v>45560.25</c:v>
                      </c:pt>
                      <c:pt idx="6438">
                        <c:v>45560.291666666672</c:v>
                      </c:pt>
                      <c:pt idx="6439">
                        <c:v>45560.333333333328</c:v>
                      </c:pt>
                      <c:pt idx="6440">
                        <c:v>45560.375</c:v>
                      </c:pt>
                      <c:pt idx="6441">
                        <c:v>45560.416666666672</c:v>
                      </c:pt>
                      <c:pt idx="6442">
                        <c:v>45560.458333333328</c:v>
                      </c:pt>
                      <c:pt idx="6443">
                        <c:v>45560.5</c:v>
                      </c:pt>
                      <c:pt idx="6444">
                        <c:v>45560.541666666672</c:v>
                      </c:pt>
                      <c:pt idx="6445">
                        <c:v>45560.583333333328</c:v>
                      </c:pt>
                      <c:pt idx="6446">
                        <c:v>45560.625</c:v>
                      </c:pt>
                      <c:pt idx="6447">
                        <c:v>45560.666666666672</c:v>
                      </c:pt>
                      <c:pt idx="6448">
                        <c:v>45560.708333333328</c:v>
                      </c:pt>
                      <c:pt idx="6449">
                        <c:v>45560.75</c:v>
                      </c:pt>
                      <c:pt idx="6450">
                        <c:v>45560.791666666672</c:v>
                      </c:pt>
                      <c:pt idx="6451">
                        <c:v>45560.833333333328</c:v>
                      </c:pt>
                      <c:pt idx="6452">
                        <c:v>45560.875</c:v>
                      </c:pt>
                      <c:pt idx="6453">
                        <c:v>45560.916666666672</c:v>
                      </c:pt>
                      <c:pt idx="6454">
                        <c:v>45560.958333333328</c:v>
                      </c:pt>
                      <c:pt idx="6455">
                        <c:v>45561</c:v>
                      </c:pt>
                      <c:pt idx="6456">
                        <c:v>45561.041666666672</c:v>
                      </c:pt>
                      <c:pt idx="6457">
                        <c:v>45561.083333333328</c:v>
                      </c:pt>
                      <c:pt idx="6458">
                        <c:v>45561.125</c:v>
                      </c:pt>
                      <c:pt idx="6459">
                        <c:v>45561.166666666672</c:v>
                      </c:pt>
                      <c:pt idx="6460">
                        <c:v>45561.208333333328</c:v>
                      </c:pt>
                      <c:pt idx="6461">
                        <c:v>45561.25</c:v>
                      </c:pt>
                      <c:pt idx="6462">
                        <c:v>45561.291666666672</c:v>
                      </c:pt>
                      <c:pt idx="6463">
                        <c:v>45561.333333333328</c:v>
                      </c:pt>
                      <c:pt idx="6464">
                        <c:v>45561.375</c:v>
                      </c:pt>
                      <c:pt idx="6465">
                        <c:v>45561.416666666672</c:v>
                      </c:pt>
                      <c:pt idx="6466">
                        <c:v>45561.458333333328</c:v>
                      </c:pt>
                      <c:pt idx="6467">
                        <c:v>45561.5</c:v>
                      </c:pt>
                      <c:pt idx="6468">
                        <c:v>45561.541666666672</c:v>
                      </c:pt>
                      <c:pt idx="6469">
                        <c:v>45561.583333333328</c:v>
                      </c:pt>
                      <c:pt idx="6470">
                        <c:v>45561.625</c:v>
                      </c:pt>
                      <c:pt idx="6471">
                        <c:v>45561.666666666672</c:v>
                      </c:pt>
                      <c:pt idx="6472">
                        <c:v>45561.708333333328</c:v>
                      </c:pt>
                      <c:pt idx="6473">
                        <c:v>45561.75</c:v>
                      </c:pt>
                      <c:pt idx="6474">
                        <c:v>45561.791666666672</c:v>
                      </c:pt>
                      <c:pt idx="6475">
                        <c:v>45561.833333333328</c:v>
                      </c:pt>
                      <c:pt idx="6476">
                        <c:v>45561.875</c:v>
                      </c:pt>
                      <c:pt idx="6477">
                        <c:v>45561.916666666672</c:v>
                      </c:pt>
                      <c:pt idx="6478">
                        <c:v>45561.958333333328</c:v>
                      </c:pt>
                      <c:pt idx="6479">
                        <c:v>45562</c:v>
                      </c:pt>
                      <c:pt idx="6480">
                        <c:v>45562.041666666672</c:v>
                      </c:pt>
                      <c:pt idx="6481">
                        <c:v>45562.083333333328</c:v>
                      </c:pt>
                      <c:pt idx="6482">
                        <c:v>45562.166666666672</c:v>
                      </c:pt>
                      <c:pt idx="6483">
                        <c:v>45562.208333333328</c:v>
                      </c:pt>
                      <c:pt idx="6484">
                        <c:v>45562.208333333328</c:v>
                      </c:pt>
                      <c:pt idx="6485">
                        <c:v>45562.25</c:v>
                      </c:pt>
                      <c:pt idx="6486">
                        <c:v>45562.291666666672</c:v>
                      </c:pt>
                      <c:pt idx="6487">
                        <c:v>45562.333333333328</c:v>
                      </c:pt>
                      <c:pt idx="6488">
                        <c:v>45562.375</c:v>
                      </c:pt>
                      <c:pt idx="6489">
                        <c:v>45562.416666666672</c:v>
                      </c:pt>
                      <c:pt idx="6490">
                        <c:v>45562.458333333328</c:v>
                      </c:pt>
                      <c:pt idx="6491">
                        <c:v>45562.5</c:v>
                      </c:pt>
                      <c:pt idx="6492">
                        <c:v>45562.541666666672</c:v>
                      </c:pt>
                      <c:pt idx="6493">
                        <c:v>45562.583333333328</c:v>
                      </c:pt>
                      <c:pt idx="6494">
                        <c:v>45562.625</c:v>
                      </c:pt>
                      <c:pt idx="6495">
                        <c:v>45562.666666666672</c:v>
                      </c:pt>
                      <c:pt idx="6496">
                        <c:v>45562.708333333328</c:v>
                      </c:pt>
                      <c:pt idx="6497">
                        <c:v>45562.75</c:v>
                      </c:pt>
                      <c:pt idx="6498">
                        <c:v>45562.791666666672</c:v>
                      </c:pt>
                      <c:pt idx="6499">
                        <c:v>45562.833333333328</c:v>
                      </c:pt>
                      <c:pt idx="6500">
                        <c:v>45562.875</c:v>
                      </c:pt>
                      <c:pt idx="6501">
                        <c:v>45562.916666666672</c:v>
                      </c:pt>
                      <c:pt idx="6502">
                        <c:v>45562.958333333328</c:v>
                      </c:pt>
                      <c:pt idx="6503">
                        <c:v>45563</c:v>
                      </c:pt>
                      <c:pt idx="6504">
                        <c:v>45563.041666666672</c:v>
                      </c:pt>
                      <c:pt idx="6505">
                        <c:v>45563.083333333328</c:v>
                      </c:pt>
                      <c:pt idx="6506">
                        <c:v>45563.125</c:v>
                      </c:pt>
                      <c:pt idx="6507">
                        <c:v>45563.166666666672</c:v>
                      </c:pt>
                      <c:pt idx="6508">
                        <c:v>45563.208333333328</c:v>
                      </c:pt>
                      <c:pt idx="6509">
                        <c:v>45563.25</c:v>
                      </c:pt>
                      <c:pt idx="6510">
                        <c:v>45563.291666666672</c:v>
                      </c:pt>
                      <c:pt idx="6511">
                        <c:v>45563.333333333328</c:v>
                      </c:pt>
                      <c:pt idx="6512">
                        <c:v>45563.375</c:v>
                      </c:pt>
                      <c:pt idx="6513">
                        <c:v>45563.416666666672</c:v>
                      </c:pt>
                      <c:pt idx="6514">
                        <c:v>45563.458333333328</c:v>
                      </c:pt>
                      <c:pt idx="6515">
                        <c:v>45563.5</c:v>
                      </c:pt>
                      <c:pt idx="6516">
                        <c:v>45563.541666666672</c:v>
                      </c:pt>
                      <c:pt idx="6517">
                        <c:v>45563.583333333328</c:v>
                      </c:pt>
                      <c:pt idx="6518">
                        <c:v>45563.625</c:v>
                      </c:pt>
                      <c:pt idx="6519">
                        <c:v>45563.666666666672</c:v>
                      </c:pt>
                      <c:pt idx="6520">
                        <c:v>45563.708333333328</c:v>
                      </c:pt>
                      <c:pt idx="6521">
                        <c:v>45563.75</c:v>
                      </c:pt>
                      <c:pt idx="6522">
                        <c:v>45563.791666666672</c:v>
                      </c:pt>
                      <c:pt idx="6523">
                        <c:v>45563.833333333328</c:v>
                      </c:pt>
                      <c:pt idx="6524">
                        <c:v>45563.875</c:v>
                      </c:pt>
                      <c:pt idx="6525">
                        <c:v>45563.916666666672</c:v>
                      </c:pt>
                      <c:pt idx="6526">
                        <c:v>45563.958333333328</c:v>
                      </c:pt>
                      <c:pt idx="6527">
                        <c:v>45564</c:v>
                      </c:pt>
                      <c:pt idx="6528">
                        <c:v>45564.041666666672</c:v>
                      </c:pt>
                      <c:pt idx="6529">
                        <c:v>45564.083333333328</c:v>
                      </c:pt>
                      <c:pt idx="6530">
                        <c:v>45564.125</c:v>
                      </c:pt>
                      <c:pt idx="6531">
                        <c:v>45564.166666666672</c:v>
                      </c:pt>
                      <c:pt idx="6532">
                        <c:v>45564.208333333328</c:v>
                      </c:pt>
                      <c:pt idx="6533">
                        <c:v>45564.25</c:v>
                      </c:pt>
                      <c:pt idx="6534">
                        <c:v>45564.291666666672</c:v>
                      </c:pt>
                      <c:pt idx="6535">
                        <c:v>45564.333333333328</c:v>
                      </c:pt>
                      <c:pt idx="6536">
                        <c:v>45564.375</c:v>
                      </c:pt>
                      <c:pt idx="6537">
                        <c:v>45564.416666666672</c:v>
                      </c:pt>
                      <c:pt idx="6538">
                        <c:v>45564.458333333328</c:v>
                      </c:pt>
                      <c:pt idx="6539">
                        <c:v>45564.5</c:v>
                      </c:pt>
                      <c:pt idx="6540">
                        <c:v>45564.541666666672</c:v>
                      </c:pt>
                      <c:pt idx="6541">
                        <c:v>45564.583333333328</c:v>
                      </c:pt>
                      <c:pt idx="6542">
                        <c:v>45564.625</c:v>
                      </c:pt>
                      <c:pt idx="6543">
                        <c:v>45564.666666666672</c:v>
                      </c:pt>
                      <c:pt idx="6544">
                        <c:v>45564.708333333328</c:v>
                      </c:pt>
                      <c:pt idx="6545">
                        <c:v>45564.75</c:v>
                      </c:pt>
                      <c:pt idx="6546">
                        <c:v>45564.791666666672</c:v>
                      </c:pt>
                      <c:pt idx="6547">
                        <c:v>45564.833333333328</c:v>
                      </c:pt>
                      <c:pt idx="6548">
                        <c:v>45564.875</c:v>
                      </c:pt>
                      <c:pt idx="6549">
                        <c:v>45564.916666666672</c:v>
                      </c:pt>
                      <c:pt idx="6550">
                        <c:v>45564.958333333328</c:v>
                      </c:pt>
                      <c:pt idx="6551">
                        <c:v>45565</c:v>
                      </c:pt>
                      <c:pt idx="6552">
                        <c:v>45565.041666666672</c:v>
                      </c:pt>
                      <c:pt idx="6553">
                        <c:v>45565.083333333328</c:v>
                      </c:pt>
                      <c:pt idx="6554">
                        <c:v>45565.125</c:v>
                      </c:pt>
                      <c:pt idx="6555">
                        <c:v>45565.166666666672</c:v>
                      </c:pt>
                      <c:pt idx="6556">
                        <c:v>45565.208333333328</c:v>
                      </c:pt>
                      <c:pt idx="6557">
                        <c:v>45565.25</c:v>
                      </c:pt>
                      <c:pt idx="6558">
                        <c:v>45565.291666666672</c:v>
                      </c:pt>
                      <c:pt idx="6559">
                        <c:v>45565.333333333328</c:v>
                      </c:pt>
                      <c:pt idx="6560">
                        <c:v>45565.375</c:v>
                      </c:pt>
                      <c:pt idx="6561">
                        <c:v>45565.416666666672</c:v>
                      </c:pt>
                      <c:pt idx="6562">
                        <c:v>45565.458333333328</c:v>
                      </c:pt>
                      <c:pt idx="6563">
                        <c:v>45565.5</c:v>
                      </c:pt>
                      <c:pt idx="6564">
                        <c:v>45565.541666666672</c:v>
                      </c:pt>
                      <c:pt idx="6565">
                        <c:v>45565.583333333328</c:v>
                      </c:pt>
                      <c:pt idx="6566">
                        <c:v>45565.625</c:v>
                      </c:pt>
                      <c:pt idx="6567">
                        <c:v>45565.666666666672</c:v>
                      </c:pt>
                      <c:pt idx="6568">
                        <c:v>45565.708333333328</c:v>
                      </c:pt>
                      <c:pt idx="6569">
                        <c:v>45565.75</c:v>
                      </c:pt>
                      <c:pt idx="6570">
                        <c:v>45565.791666666672</c:v>
                      </c:pt>
                      <c:pt idx="6571">
                        <c:v>45565.833333333328</c:v>
                      </c:pt>
                      <c:pt idx="6572">
                        <c:v>45565.875</c:v>
                      </c:pt>
                      <c:pt idx="6573">
                        <c:v>45565.916666666672</c:v>
                      </c:pt>
                      <c:pt idx="6574">
                        <c:v>45565.958333333328</c:v>
                      </c:pt>
                      <c:pt idx="6575">
                        <c:v>45566</c:v>
                      </c:pt>
                      <c:pt idx="6576">
                        <c:v>45566.041666666672</c:v>
                      </c:pt>
                      <c:pt idx="6577">
                        <c:v>45566.083333333328</c:v>
                      </c:pt>
                      <c:pt idx="6578">
                        <c:v>45566.125</c:v>
                      </c:pt>
                      <c:pt idx="6579">
                        <c:v>45566.166666666672</c:v>
                      </c:pt>
                      <c:pt idx="6580">
                        <c:v>45566.208333333328</c:v>
                      </c:pt>
                      <c:pt idx="6581">
                        <c:v>45566.25</c:v>
                      </c:pt>
                      <c:pt idx="6582">
                        <c:v>45566.291666666672</c:v>
                      </c:pt>
                      <c:pt idx="6583">
                        <c:v>45566.333333333328</c:v>
                      </c:pt>
                      <c:pt idx="6584">
                        <c:v>45566.375</c:v>
                      </c:pt>
                      <c:pt idx="6585">
                        <c:v>45566.416666666672</c:v>
                      </c:pt>
                      <c:pt idx="6586">
                        <c:v>45566.458333333328</c:v>
                      </c:pt>
                      <c:pt idx="6587">
                        <c:v>45566.5</c:v>
                      </c:pt>
                      <c:pt idx="6588">
                        <c:v>45566.541666666672</c:v>
                      </c:pt>
                      <c:pt idx="6589">
                        <c:v>45566.583333333328</c:v>
                      </c:pt>
                      <c:pt idx="6590">
                        <c:v>45566.625</c:v>
                      </c:pt>
                      <c:pt idx="6591">
                        <c:v>45566.666666666672</c:v>
                      </c:pt>
                      <c:pt idx="6592">
                        <c:v>45566.708333333328</c:v>
                      </c:pt>
                      <c:pt idx="6593">
                        <c:v>45566.75</c:v>
                      </c:pt>
                      <c:pt idx="6594">
                        <c:v>45566.791666666672</c:v>
                      </c:pt>
                      <c:pt idx="6595">
                        <c:v>45566.833333333328</c:v>
                      </c:pt>
                      <c:pt idx="6596">
                        <c:v>45566.875</c:v>
                      </c:pt>
                      <c:pt idx="6597">
                        <c:v>45566.916666666672</c:v>
                      </c:pt>
                      <c:pt idx="6598">
                        <c:v>45566.958333333328</c:v>
                      </c:pt>
                      <c:pt idx="6599">
                        <c:v>45567</c:v>
                      </c:pt>
                      <c:pt idx="6600">
                        <c:v>45567.041666666672</c:v>
                      </c:pt>
                      <c:pt idx="6601">
                        <c:v>45567.083333333328</c:v>
                      </c:pt>
                      <c:pt idx="6602">
                        <c:v>45567.125</c:v>
                      </c:pt>
                      <c:pt idx="6603">
                        <c:v>45567.166666666672</c:v>
                      </c:pt>
                      <c:pt idx="6604">
                        <c:v>45567.208333333328</c:v>
                      </c:pt>
                      <c:pt idx="6605">
                        <c:v>45567.25</c:v>
                      </c:pt>
                      <c:pt idx="6606">
                        <c:v>45567.291666666672</c:v>
                      </c:pt>
                      <c:pt idx="6607">
                        <c:v>45567.333333333328</c:v>
                      </c:pt>
                      <c:pt idx="6608">
                        <c:v>45567.375</c:v>
                      </c:pt>
                      <c:pt idx="6609">
                        <c:v>45567.416666666672</c:v>
                      </c:pt>
                      <c:pt idx="6610">
                        <c:v>45567.458333333328</c:v>
                      </c:pt>
                      <c:pt idx="6611">
                        <c:v>45567.5</c:v>
                      </c:pt>
                      <c:pt idx="6612">
                        <c:v>45567.541666666672</c:v>
                      </c:pt>
                      <c:pt idx="6613">
                        <c:v>45567.583333333328</c:v>
                      </c:pt>
                      <c:pt idx="6614">
                        <c:v>45567.625</c:v>
                      </c:pt>
                      <c:pt idx="6615">
                        <c:v>45567.666666666672</c:v>
                      </c:pt>
                      <c:pt idx="6616">
                        <c:v>45567.708333333328</c:v>
                      </c:pt>
                      <c:pt idx="6617">
                        <c:v>45567.75</c:v>
                      </c:pt>
                      <c:pt idx="6618">
                        <c:v>45567.791666666672</c:v>
                      </c:pt>
                      <c:pt idx="6619">
                        <c:v>45567.833333333328</c:v>
                      </c:pt>
                      <c:pt idx="6620">
                        <c:v>45567.875</c:v>
                      </c:pt>
                      <c:pt idx="6621">
                        <c:v>45567.916666666672</c:v>
                      </c:pt>
                      <c:pt idx="6622">
                        <c:v>45567.958333333328</c:v>
                      </c:pt>
                      <c:pt idx="6623">
                        <c:v>45568</c:v>
                      </c:pt>
                      <c:pt idx="6624">
                        <c:v>45568.041666666672</c:v>
                      </c:pt>
                      <c:pt idx="6625">
                        <c:v>45568.083333333328</c:v>
                      </c:pt>
                      <c:pt idx="6626">
                        <c:v>45568.125</c:v>
                      </c:pt>
                      <c:pt idx="6627">
                        <c:v>45568.166666666672</c:v>
                      </c:pt>
                      <c:pt idx="6628">
                        <c:v>45568.208333333328</c:v>
                      </c:pt>
                      <c:pt idx="6629">
                        <c:v>45568.25</c:v>
                      </c:pt>
                      <c:pt idx="6630">
                        <c:v>45568.291666666672</c:v>
                      </c:pt>
                      <c:pt idx="6631">
                        <c:v>45568.333333333328</c:v>
                      </c:pt>
                      <c:pt idx="6632">
                        <c:v>45568.375</c:v>
                      </c:pt>
                      <c:pt idx="6633">
                        <c:v>45568.416666666672</c:v>
                      </c:pt>
                      <c:pt idx="6634">
                        <c:v>45568.458333333328</c:v>
                      </c:pt>
                      <c:pt idx="6635">
                        <c:v>45568.5</c:v>
                      </c:pt>
                      <c:pt idx="6636">
                        <c:v>45568.541666666672</c:v>
                      </c:pt>
                      <c:pt idx="6637">
                        <c:v>45568.583333333328</c:v>
                      </c:pt>
                      <c:pt idx="6638">
                        <c:v>45568.625</c:v>
                      </c:pt>
                      <c:pt idx="6639">
                        <c:v>45568.666666666672</c:v>
                      </c:pt>
                      <c:pt idx="6640">
                        <c:v>45568.708333333328</c:v>
                      </c:pt>
                      <c:pt idx="6641">
                        <c:v>45568.75</c:v>
                      </c:pt>
                      <c:pt idx="6642">
                        <c:v>45568.791666666672</c:v>
                      </c:pt>
                      <c:pt idx="6643">
                        <c:v>45568.833333333328</c:v>
                      </c:pt>
                      <c:pt idx="6644">
                        <c:v>45568.875</c:v>
                      </c:pt>
                      <c:pt idx="6645">
                        <c:v>45568.916666666672</c:v>
                      </c:pt>
                      <c:pt idx="6646">
                        <c:v>45568.958333333328</c:v>
                      </c:pt>
                      <c:pt idx="6647">
                        <c:v>45569</c:v>
                      </c:pt>
                      <c:pt idx="6648">
                        <c:v>45569.041666666672</c:v>
                      </c:pt>
                      <c:pt idx="6649">
                        <c:v>45569.083333333328</c:v>
                      </c:pt>
                      <c:pt idx="6650">
                        <c:v>45569.125</c:v>
                      </c:pt>
                      <c:pt idx="6651">
                        <c:v>45569.166666666672</c:v>
                      </c:pt>
                      <c:pt idx="6652">
                        <c:v>45569.208333333328</c:v>
                      </c:pt>
                      <c:pt idx="6653">
                        <c:v>45569.25</c:v>
                      </c:pt>
                      <c:pt idx="6654">
                        <c:v>45569.291666666672</c:v>
                      </c:pt>
                      <c:pt idx="6655">
                        <c:v>45569.333333333328</c:v>
                      </c:pt>
                      <c:pt idx="6656">
                        <c:v>45569.375</c:v>
                      </c:pt>
                      <c:pt idx="6657">
                        <c:v>45569.416666666672</c:v>
                      </c:pt>
                      <c:pt idx="6658">
                        <c:v>45569.458333333328</c:v>
                      </c:pt>
                      <c:pt idx="6659">
                        <c:v>45569.5</c:v>
                      </c:pt>
                      <c:pt idx="6660">
                        <c:v>45569.541666666672</c:v>
                      </c:pt>
                      <c:pt idx="6661">
                        <c:v>45569.583333333328</c:v>
                      </c:pt>
                      <c:pt idx="6662">
                        <c:v>45569.625</c:v>
                      </c:pt>
                      <c:pt idx="6663">
                        <c:v>45569.666666666672</c:v>
                      </c:pt>
                      <c:pt idx="6664">
                        <c:v>45569.708333333328</c:v>
                      </c:pt>
                      <c:pt idx="6665">
                        <c:v>45569.75</c:v>
                      </c:pt>
                      <c:pt idx="6666">
                        <c:v>45569.791666666672</c:v>
                      </c:pt>
                      <c:pt idx="6667">
                        <c:v>45569.833333333328</c:v>
                      </c:pt>
                      <c:pt idx="6668">
                        <c:v>45569.875</c:v>
                      </c:pt>
                      <c:pt idx="6669">
                        <c:v>45569.916666666672</c:v>
                      </c:pt>
                      <c:pt idx="6670">
                        <c:v>45569.958333333328</c:v>
                      </c:pt>
                      <c:pt idx="6671">
                        <c:v>45570</c:v>
                      </c:pt>
                      <c:pt idx="6672">
                        <c:v>45570.041666666672</c:v>
                      </c:pt>
                      <c:pt idx="6673">
                        <c:v>45570.083333333328</c:v>
                      </c:pt>
                      <c:pt idx="6674">
                        <c:v>45570.125</c:v>
                      </c:pt>
                      <c:pt idx="6675">
                        <c:v>45570.166666666672</c:v>
                      </c:pt>
                      <c:pt idx="6676">
                        <c:v>45570.208333333328</c:v>
                      </c:pt>
                      <c:pt idx="6677">
                        <c:v>45570.25</c:v>
                      </c:pt>
                      <c:pt idx="6678">
                        <c:v>45570.291666666672</c:v>
                      </c:pt>
                      <c:pt idx="6679">
                        <c:v>45570.333333333328</c:v>
                      </c:pt>
                      <c:pt idx="6680">
                        <c:v>45570.375</c:v>
                      </c:pt>
                      <c:pt idx="6681">
                        <c:v>45570.416666666672</c:v>
                      </c:pt>
                      <c:pt idx="6682">
                        <c:v>45570.458333333328</c:v>
                      </c:pt>
                      <c:pt idx="6683">
                        <c:v>45570.5</c:v>
                      </c:pt>
                      <c:pt idx="6684">
                        <c:v>45570.541666666672</c:v>
                      </c:pt>
                      <c:pt idx="6685">
                        <c:v>45570.583333333328</c:v>
                      </c:pt>
                      <c:pt idx="6686">
                        <c:v>45570.625</c:v>
                      </c:pt>
                      <c:pt idx="6687">
                        <c:v>45570.666666666672</c:v>
                      </c:pt>
                      <c:pt idx="6688">
                        <c:v>45570.708333333328</c:v>
                      </c:pt>
                      <c:pt idx="6689">
                        <c:v>45570.75</c:v>
                      </c:pt>
                      <c:pt idx="6690">
                        <c:v>45570.791666666672</c:v>
                      </c:pt>
                      <c:pt idx="6691">
                        <c:v>45570.833333333328</c:v>
                      </c:pt>
                      <c:pt idx="6692">
                        <c:v>45570.875</c:v>
                      </c:pt>
                      <c:pt idx="6693">
                        <c:v>45570.916666666672</c:v>
                      </c:pt>
                      <c:pt idx="6694">
                        <c:v>45570.958333333328</c:v>
                      </c:pt>
                      <c:pt idx="6695">
                        <c:v>45571</c:v>
                      </c:pt>
                      <c:pt idx="6696">
                        <c:v>45571.041666666672</c:v>
                      </c:pt>
                      <c:pt idx="6697">
                        <c:v>45571.083333333328</c:v>
                      </c:pt>
                      <c:pt idx="6698">
                        <c:v>45571.125</c:v>
                      </c:pt>
                      <c:pt idx="6699">
                        <c:v>45571.166666666672</c:v>
                      </c:pt>
                      <c:pt idx="6700">
                        <c:v>45571.208333333328</c:v>
                      </c:pt>
                      <c:pt idx="6701">
                        <c:v>45571.25</c:v>
                      </c:pt>
                      <c:pt idx="6702">
                        <c:v>45571.291666666672</c:v>
                      </c:pt>
                      <c:pt idx="6703">
                        <c:v>45571.333333333328</c:v>
                      </c:pt>
                      <c:pt idx="6704">
                        <c:v>45571.375</c:v>
                      </c:pt>
                      <c:pt idx="6705">
                        <c:v>45571.416666666672</c:v>
                      </c:pt>
                      <c:pt idx="6706">
                        <c:v>45571.458333333328</c:v>
                      </c:pt>
                      <c:pt idx="6707">
                        <c:v>45571.5</c:v>
                      </c:pt>
                      <c:pt idx="6708">
                        <c:v>45571.541666666672</c:v>
                      </c:pt>
                      <c:pt idx="6709">
                        <c:v>45571.583333333328</c:v>
                      </c:pt>
                      <c:pt idx="6710">
                        <c:v>45571.625</c:v>
                      </c:pt>
                      <c:pt idx="6711">
                        <c:v>45571.666666666672</c:v>
                      </c:pt>
                      <c:pt idx="6712">
                        <c:v>45571.708333333328</c:v>
                      </c:pt>
                      <c:pt idx="6713">
                        <c:v>45571.75</c:v>
                      </c:pt>
                      <c:pt idx="6714">
                        <c:v>45571.791666666672</c:v>
                      </c:pt>
                      <c:pt idx="6715">
                        <c:v>45571.833333333328</c:v>
                      </c:pt>
                      <c:pt idx="6716">
                        <c:v>45571.875</c:v>
                      </c:pt>
                      <c:pt idx="6717">
                        <c:v>45571.916666666672</c:v>
                      </c:pt>
                      <c:pt idx="6718">
                        <c:v>45571.958333333328</c:v>
                      </c:pt>
                      <c:pt idx="6719">
                        <c:v>45572</c:v>
                      </c:pt>
                      <c:pt idx="6720">
                        <c:v>45572.041666666672</c:v>
                      </c:pt>
                      <c:pt idx="6721">
                        <c:v>45572.083333333328</c:v>
                      </c:pt>
                      <c:pt idx="6722">
                        <c:v>45572.125</c:v>
                      </c:pt>
                      <c:pt idx="6723">
                        <c:v>45572.166666666672</c:v>
                      </c:pt>
                      <c:pt idx="6724">
                        <c:v>45572.208333333328</c:v>
                      </c:pt>
                      <c:pt idx="6725">
                        <c:v>45572.25</c:v>
                      </c:pt>
                      <c:pt idx="6726">
                        <c:v>45572.291666666672</c:v>
                      </c:pt>
                      <c:pt idx="6727">
                        <c:v>45572.333333333328</c:v>
                      </c:pt>
                      <c:pt idx="6728">
                        <c:v>45572.375</c:v>
                      </c:pt>
                      <c:pt idx="6729">
                        <c:v>45572.416666666672</c:v>
                      </c:pt>
                      <c:pt idx="6730">
                        <c:v>45572.458333333328</c:v>
                      </c:pt>
                      <c:pt idx="6731">
                        <c:v>45572.5</c:v>
                      </c:pt>
                      <c:pt idx="6732">
                        <c:v>45572.541666666672</c:v>
                      </c:pt>
                      <c:pt idx="6733">
                        <c:v>45572.583333333328</c:v>
                      </c:pt>
                      <c:pt idx="6734">
                        <c:v>45572.625</c:v>
                      </c:pt>
                      <c:pt idx="6735">
                        <c:v>45572.666666666672</c:v>
                      </c:pt>
                      <c:pt idx="6736">
                        <c:v>45572.708333333328</c:v>
                      </c:pt>
                      <c:pt idx="6737">
                        <c:v>45572.75</c:v>
                      </c:pt>
                      <c:pt idx="6738">
                        <c:v>45572.791666666672</c:v>
                      </c:pt>
                      <c:pt idx="6739">
                        <c:v>45572.833333333328</c:v>
                      </c:pt>
                      <c:pt idx="6740">
                        <c:v>45572.875</c:v>
                      </c:pt>
                      <c:pt idx="6741">
                        <c:v>45572.916666666672</c:v>
                      </c:pt>
                      <c:pt idx="6742">
                        <c:v>45572.958333333328</c:v>
                      </c:pt>
                      <c:pt idx="6743">
                        <c:v>45573</c:v>
                      </c:pt>
                      <c:pt idx="6744">
                        <c:v>45573.041666666672</c:v>
                      </c:pt>
                      <c:pt idx="6745">
                        <c:v>45573.083333333328</c:v>
                      </c:pt>
                      <c:pt idx="6746">
                        <c:v>45573.125</c:v>
                      </c:pt>
                      <c:pt idx="6747">
                        <c:v>45573.166666666672</c:v>
                      </c:pt>
                      <c:pt idx="6748">
                        <c:v>45573.208333333328</c:v>
                      </c:pt>
                      <c:pt idx="6749">
                        <c:v>45573.25</c:v>
                      </c:pt>
                      <c:pt idx="6750">
                        <c:v>45573.291666666672</c:v>
                      </c:pt>
                      <c:pt idx="6751">
                        <c:v>45573.333333333328</c:v>
                      </c:pt>
                      <c:pt idx="6752">
                        <c:v>45573.375</c:v>
                      </c:pt>
                      <c:pt idx="6753">
                        <c:v>45573.416666666672</c:v>
                      </c:pt>
                      <c:pt idx="6754">
                        <c:v>45573.458333333328</c:v>
                      </c:pt>
                      <c:pt idx="6755">
                        <c:v>45573.5</c:v>
                      </c:pt>
                      <c:pt idx="6756">
                        <c:v>45573.541666666672</c:v>
                      </c:pt>
                      <c:pt idx="6757">
                        <c:v>45573.583333333328</c:v>
                      </c:pt>
                      <c:pt idx="6758">
                        <c:v>45573.625</c:v>
                      </c:pt>
                      <c:pt idx="6759">
                        <c:v>45573.666666666672</c:v>
                      </c:pt>
                      <c:pt idx="6760">
                        <c:v>45573.708333333328</c:v>
                      </c:pt>
                      <c:pt idx="6761">
                        <c:v>45573.75</c:v>
                      </c:pt>
                      <c:pt idx="6762">
                        <c:v>45573.791666666672</c:v>
                      </c:pt>
                      <c:pt idx="6763">
                        <c:v>45573.833333333328</c:v>
                      </c:pt>
                      <c:pt idx="6764">
                        <c:v>45573.875</c:v>
                      </c:pt>
                      <c:pt idx="6765">
                        <c:v>45573.916666666672</c:v>
                      </c:pt>
                      <c:pt idx="6766">
                        <c:v>45573.958333333328</c:v>
                      </c:pt>
                      <c:pt idx="6767">
                        <c:v>45574</c:v>
                      </c:pt>
                      <c:pt idx="6768">
                        <c:v>45574.041666666672</c:v>
                      </c:pt>
                      <c:pt idx="6769">
                        <c:v>45574.083333333328</c:v>
                      </c:pt>
                      <c:pt idx="6770">
                        <c:v>45574.125</c:v>
                      </c:pt>
                      <c:pt idx="6771">
                        <c:v>45574.166666666672</c:v>
                      </c:pt>
                      <c:pt idx="6772">
                        <c:v>45574.208333333328</c:v>
                      </c:pt>
                      <c:pt idx="6773">
                        <c:v>45574.25</c:v>
                      </c:pt>
                      <c:pt idx="6774">
                        <c:v>45574.291666666672</c:v>
                      </c:pt>
                      <c:pt idx="6775">
                        <c:v>45574.333333333328</c:v>
                      </c:pt>
                      <c:pt idx="6776">
                        <c:v>45574.375</c:v>
                      </c:pt>
                      <c:pt idx="6777">
                        <c:v>45574.416666666672</c:v>
                      </c:pt>
                      <c:pt idx="6778">
                        <c:v>45574.458333333328</c:v>
                      </c:pt>
                      <c:pt idx="6779">
                        <c:v>45574.5</c:v>
                      </c:pt>
                      <c:pt idx="6780">
                        <c:v>45574.541666666672</c:v>
                      </c:pt>
                      <c:pt idx="6781">
                        <c:v>45574.583333333328</c:v>
                      </c:pt>
                      <c:pt idx="6782">
                        <c:v>45574.625</c:v>
                      </c:pt>
                      <c:pt idx="6783">
                        <c:v>45574.666666666672</c:v>
                      </c:pt>
                      <c:pt idx="6784">
                        <c:v>45574.708333333328</c:v>
                      </c:pt>
                      <c:pt idx="6785">
                        <c:v>45574.75</c:v>
                      </c:pt>
                      <c:pt idx="6786">
                        <c:v>45574.791666666672</c:v>
                      </c:pt>
                      <c:pt idx="6787">
                        <c:v>45574.833333333328</c:v>
                      </c:pt>
                      <c:pt idx="6788">
                        <c:v>45574.875</c:v>
                      </c:pt>
                      <c:pt idx="6789">
                        <c:v>45574.916666666672</c:v>
                      </c:pt>
                      <c:pt idx="6790">
                        <c:v>45574.958333333328</c:v>
                      </c:pt>
                      <c:pt idx="6791">
                        <c:v>45575</c:v>
                      </c:pt>
                      <c:pt idx="6792">
                        <c:v>45575.041666666672</c:v>
                      </c:pt>
                      <c:pt idx="6793">
                        <c:v>45575.083333333328</c:v>
                      </c:pt>
                      <c:pt idx="6794">
                        <c:v>45575.125</c:v>
                      </c:pt>
                      <c:pt idx="6795">
                        <c:v>45575.166666666672</c:v>
                      </c:pt>
                      <c:pt idx="6796">
                        <c:v>45575.208333333328</c:v>
                      </c:pt>
                      <c:pt idx="6797">
                        <c:v>45575.25</c:v>
                      </c:pt>
                      <c:pt idx="6798">
                        <c:v>45575.291666666672</c:v>
                      </c:pt>
                      <c:pt idx="6799">
                        <c:v>45575.333333333328</c:v>
                      </c:pt>
                      <c:pt idx="6800">
                        <c:v>45575.375</c:v>
                      </c:pt>
                      <c:pt idx="6801">
                        <c:v>45575.416666666672</c:v>
                      </c:pt>
                      <c:pt idx="6802">
                        <c:v>45575.458333333328</c:v>
                      </c:pt>
                      <c:pt idx="6803">
                        <c:v>45575.5</c:v>
                      </c:pt>
                      <c:pt idx="6804">
                        <c:v>45575.541666666672</c:v>
                      </c:pt>
                      <c:pt idx="6805">
                        <c:v>45575.583333333328</c:v>
                      </c:pt>
                      <c:pt idx="6806">
                        <c:v>45575.625</c:v>
                      </c:pt>
                      <c:pt idx="6807">
                        <c:v>45575.666666666672</c:v>
                      </c:pt>
                      <c:pt idx="6808">
                        <c:v>45575.708333333328</c:v>
                      </c:pt>
                      <c:pt idx="6809">
                        <c:v>45575.75</c:v>
                      </c:pt>
                      <c:pt idx="6810">
                        <c:v>45575.791666666672</c:v>
                      </c:pt>
                      <c:pt idx="6811">
                        <c:v>45575.833333333328</c:v>
                      </c:pt>
                      <c:pt idx="6812">
                        <c:v>45575.875</c:v>
                      </c:pt>
                      <c:pt idx="6813">
                        <c:v>45575.916666666672</c:v>
                      </c:pt>
                      <c:pt idx="6814">
                        <c:v>45575.958333333328</c:v>
                      </c:pt>
                      <c:pt idx="6815">
                        <c:v>45576</c:v>
                      </c:pt>
                      <c:pt idx="6816">
                        <c:v>45576.041666666672</c:v>
                      </c:pt>
                      <c:pt idx="6817">
                        <c:v>45576.083333333328</c:v>
                      </c:pt>
                      <c:pt idx="6818">
                        <c:v>45576.125</c:v>
                      </c:pt>
                      <c:pt idx="6819">
                        <c:v>45576.166666666672</c:v>
                      </c:pt>
                      <c:pt idx="6820">
                        <c:v>45576.208333333328</c:v>
                      </c:pt>
                      <c:pt idx="6821">
                        <c:v>45576.25</c:v>
                      </c:pt>
                      <c:pt idx="6822">
                        <c:v>45576.291666666672</c:v>
                      </c:pt>
                      <c:pt idx="6823">
                        <c:v>45576.333333333328</c:v>
                      </c:pt>
                      <c:pt idx="6824">
                        <c:v>45576.375</c:v>
                      </c:pt>
                      <c:pt idx="6825">
                        <c:v>45576.416666666672</c:v>
                      </c:pt>
                      <c:pt idx="6826">
                        <c:v>45576.458333333328</c:v>
                      </c:pt>
                      <c:pt idx="6827">
                        <c:v>45576.5</c:v>
                      </c:pt>
                      <c:pt idx="6828">
                        <c:v>45576.541666666672</c:v>
                      </c:pt>
                      <c:pt idx="6829">
                        <c:v>45576.583333333328</c:v>
                      </c:pt>
                      <c:pt idx="6830">
                        <c:v>45576.625</c:v>
                      </c:pt>
                      <c:pt idx="6831">
                        <c:v>45576.666666666672</c:v>
                      </c:pt>
                      <c:pt idx="6832">
                        <c:v>45576.708333333328</c:v>
                      </c:pt>
                      <c:pt idx="6833">
                        <c:v>45576.75</c:v>
                      </c:pt>
                      <c:pt idx="6834">
                        <c:v>45576.791666666672</c:v>
                      </c:pt>
                      <c:pt idx="6835">
                        <c:v>45576.833333333328</c:v>
                      </c:pt>
                      <c:pt idx="6836">
                        <c:v>45576.875</c:v>
                      </c:pt>
                      <c:pt idx="6837">
                        <c:v>45576.916666666672</c:v>
                      </c:pt>
                      <c:pt idx="6838">
                        <c:v>45576.958333333328</c:v>
                      </c:pt>
                      <c:pt idx="6839">
                        <c:v>45577</c:v>
                      </c:pt>
                      <c:pt idx="6840">
                        <c:v>45577.041666666672</c:v>
                      </c:pt>
                      <c:pt idx="6841">
                        <c:v>45577.083333333328</c:v>
                      </c:pt>
                      <c:pt idx="6842">
                        <c:v>45577.125</c:v>
                      </c:pt>
                      <c:pt idx="6843">
                        <c:v>45577.166666666672</c:v>
                      </c:pt>
                      <c:pt idx="6844">
                        <c:v>45577.208333333328</c:v>
                      </c:pt>
                      <c:pt idx="6845">
                        <c:v>45577.25</c:v>
                      </c:pt>
                      <c:pt idx="6846">
                        <c:v>45577.291666666672</c:v>
                      </c:pt>
                      <c:pt idx="6847">
                        <c:v>45577.333333333328</c:v>
                      </c:pt>
                      <c:pt idx="6848">
                        <c:v>45577.375</c:v>
                      </c:pt>
                      <c:pt idx="6849">
                        <c:v>45577.416666666672</c:v>
                      </c:pt>
                      <c:pt idx="6850">
                        <c:v>45577.458333333328</c:v>
                      </c:pt>
                      <c:pt idx="6851">
                        <c:v>45577.5</c:v>
                      </c:pt>
                      <c:pt idx="6852">
                        <c:v>45577.541666666672</c:v>
                      </c:pt>
                      <c:pt idx="6853">
                        <c:v>45577.583333333328</c:v>
                      </c:pt>
                      <c:pt idx="6854">
                        <c:v>45577.625</c:v>
                      </c:pt>
                      <c:pt idx="6855">
                        <c:v>45577.666666666672</c:v>
                      </c:pt>
                      <c:pt idx="6856">
                        <c:v>45577.708333333328</c:v>
                      </c:pt>
                      <c:pt idx="6857">
                        <c:v>45577.75</c:v>
                      </c:pt>
                      <c:pt idx="6858">
                        <c:v>45577.791666666672</c:v>
                      </c:pt>
                      <c:pt idx="6859">
                        <c:v>45577.833333333328</c:v>
                      </c:pt>
                      <c:pt idx="6860">
                        <c:v>45577.875</c:v>
                      </c:pt>
                      <c:pt idx="6861">
                        <c:v>45577.916666666672</c:v>
                      </c:pt>
                      <c:pt idx="6862">
                        <c:v>45577.958333333328</c:v>
                      </c:pt>
                      <c:pt idx="6863">
                        <c:v>45578</c:v>
                      </c:pt>
                      <c:pt idx="6864">
                        <c:v>45578.041666666672</c:v>
                      </c:pt>
                      <c:pt idx="6865">
                        <c:v>45578.083333333328</c:v>
                      </c:pt>
                      <c:pt idx="6866">
                        <c:v>45578.125</c:v>
                      </c:pt>
                      <c:pt idx="6867">
                        <c:v>45578.166666666672</c:v>
                      </c:pt>
                      <c:pt idx="6868">
                        <c:v>45578.208333333328</c:v>
                      </c:pt>
                      <c:pt idx="6869">
                        <c:v>45578.25</c:v>
                      </c:pt>
                      <c:pt idx="6870">
                        <c:v>45578.291666666672</c:v>
                      </c:pt>
                      <c:pt idx="6871">
                        <c:v>45578.333333333328</c:v>
                      </c:pt>
                      <c:pt idx="6872">
                        <c:v>45578.375</c:v>
                      </c:pt>
                      <c:pt idx="6873">
                        <c:v>45578.416666666672</c:v>
                      </c:pt>
                      <c:pt idx="6874">
                        <c:v>45578.458333333328</c:v>
                      </c:pt>
                      <c:pt idx="6875">
                        <c:v>45578.5</c:v>
                      </c:pt>
                      <c:pt idx="6876">
                        <c:v>45578.541666666672</c:v>
                      </c:pt>
                      <c:pt idx="6877">
                        <c:v>45578.583333333328</c:v>
                      </c:pt>
                      <c:pt idx="6878">
                        <c:v>45578.625</c:v>
                      </c:pt>
                      <c:pt idx="6879">
                        <c:v>45578.666666666672</c:v>
                      </c:pt>
                      <c:pt idx="6880">
                        <c:v>45578.708333333328</c:v>
                      </c:pt>
                      <c:pt idx="6881">
                        <c:v>45578.75</c:v>
                      </c:pt>
                      <c:pt idx="6882">
                        <c:v>45578.791666666672</c:v>
                      </c:pt>
                      <c:pt idx="6883">
                        <c:v>45578.833333333328</c:v>
                      </c:pt>
                      <c:pt idx="6884">
                        <c:v>45578.875</c:v>
                      </c:pt>
                      <c:pt idx="6885">
                        <c:v>45578.916666666672</c:v>
                      </c:pt>
                      <c:pt idx="6886">
                        <c:v>45578.958333333328</c:v>
                      </c:pt>
                      <c:pt idx="6887">
                        <c:v>45579</c:v>
                      </c:pt>
                      <c:pt idx="6888">
                        <c:v>45579.041666666672</c:v>
                      </c:pt>
                      <c:pt idx="6889">
                        <c:v>45579.083333333328</c:v>
                      </c:pt>
                      <c:pt idx="6890">
                        <c:v>45579.125</c:v>
                      </c:pt>
                      <c:pt idx="6891">
                        <c:v>45579.166666666672</c:v>
                      </c:pt>
                      <c:pt idx="6892">
                        <c:v>45579.208333333328</c:v>
                      </c:pt>
                      <c:pt idx="6893">
                        <c:v>45579.25</c:v>
                      </c:pt>
                      <c:pt idx="6894">
                        <c:v>45579.291666666672</c:v>
                      </c:pt>
                      <c:pt idx="6895">
                        <c:v>45579.333333333328</c:v>
                      </c:pt>
                      <c:pt idx="6896">
                        <c:v>45579.375</c:v>
                      </c:pt>
                      <c:pt idx="6897">
                        <c:v>45579.416666666672</c:v>
                      </c:pt>
                      <c:pt idx="6898">
                        <c:v>45579.458333333328</c:v>
                      </c:pt>
                      <c:pt idx="6899">
                        <c:v>45579.5</c:v>
                      </c:pt>
                      <c:pt idx="6900">
                        <c:v>45579.541666666672</c:v>
                      </c:pt>
                      <c:pt idx="6901">
                        <c:v>45579.583333333328</c:v>
                      </c:pt>
                      <c:pt idx="6902">
                        <c:v>45579.625</c:v>
                      </c:pt>
                      <c:pt idx="6903">
                        <c:v>45579.666666666672</c:v>
                      </c:pt>
                      <c:pt idx="6904">
                        <c:v>45579.708333333328</c:v>
                      </c:pt>
                      <c:pt idx="6905">
                        <c:v>45579.75</c:v>
                      </c:pt>
                      <c:pt idx="6906">
                        <c:v>45579.791666666672</c:v>
                      </c:pt>
                      <c:pt idx="6907">
                        <c:v>45579.833333333328</c:v>
                      </c:pt>
                      <c:pt idx="6908">
                        <c:v>45579.875</c:v>
                      </c:pt>
                      <c:pt idx="6909">
                        <c:v>45579.916666666672</c:v>
                      </c:pt>
                      <c:pt idx="6910">
                        <c:v>45579.958333333328</c:v>
                      </c:pt>
                      <c:pt idx="6911">
                        <c:v>45580</c:v>
                      </c:pt>
                      <c:pt idx="6912">
                        <c:v>45580.041666666672</c:v>
                      </c:pt>
                      <c:pt idx="6913">
                        <c:v>45580.083333333328</c:v>
                      </c:pt>
                      <c:pt idx="6914">
                        <c:v>45580.125</c:v>
                      </c:pt>
                      <c:pt idx="6915">
                        <c:v>45580.166666666672</c:v>
                      </c:pt>
                      <c:pt idx="6916">
                        <c:v>45580.208333333328</c:v>
                      </c:pt>
                      <c:pt idx="6917">
                        <c:v>45580.25</c:v>
                      </c:pt>
                      <c:pt idx="6918">
                        <c:v>45580.291666666672</c:v>
                      </c:pt>
                      <c:pt idx="6919">
                        <c:v>45580.333333333328</c:v>
                      </c:pt>
                      <c:pt idx="6920">
                        <c:v>45580.375</c:v>
                      </c:pt>
                      <c:pt idx="6921">
                        <c:v>45580.416666666672</c:v>
                      </c:pt>
                      <c:pt idx="6922">
                        <c:v>45580.458333333328</c:v>
                      </c:pt>
                      <c:pt idx="6923">
                        <c:v>45580.5</c:v>
                      </c:pt>
                      <c:pt idx="6924">
                        <c:v>45580.541666666672</c:v>
                      </c:pt>
                      <c:pt idx="6925">
                        <c:v>45580.583333333328</c:v>
                      </c:pt>
                      <c:pt idx="6926">
                        <c:v>45580.625</c:v>
                      </c:pt>
                      <c:pt idx="6927">
                        <c:v>45580.666666666672</c:v>
                      </c:pt>
                      <c:pt idx="6928">
                        <c:v>45580.708333333328</c:v>
                      </c:pt>
                      <c:pt idx="6929">
                        <c:v>45580.75</c:v>
                      </c:pt>
                      <c:pt idx="6930">
                        <c:v>45580.791666666672</c:v>
                      </c:pt>
                      <c:pt idx="6931">
                        <c:v>45580.833333333328</c:v>
                      </c:pt>
                      <c:pt idx="6932">
                        <c:v>45580.875</c:v>
                      </c:pt>
                      <c:pt idx="6933">
                        <c:v>45580.916666666672</c:v>
                      </c:pt>
                      <c:pt idx="6934">
                        <c:v>45580.958333333328</c:v>
                      </c:pt>
                      <c:pt idx="6935">
                        <c:v>45581</c:v>
                      </c:pt>
                      <c:pt idx="6936">
                        <c:v>45581.041666666672</c:v>
                      </c:pt>
                      <c:pt idx="6937">
                        <c:v>45581.083333333328</c:v>
                      </c:pt>
                      <c:pt idx="6938">
                        <c:v>45581.125</c:v>
                      </c:pt>
                      <c:pt idx="6939">
                        <c:v>45581.166666666672</c:v>
                      </c:pt>
                      <c:pt idx="6940">
                        <c:v>45581.208333333328</c:v>
                      </c:pt>
                      <c:pt idx="6941">
                        <c:v>45581.25</c:v>
                      </c:pt>
                      <c:pt idx="6942">
                        <c:v>45581.291666666672</c:v>
                      </c:pt>
                      <c:pt idx="6943">
                        <c:v>45581.333333333328</c:v>
                      </c:pt>
                      <c:pt idx="6944">
                        <c:v>45581.375</c:v>
                      </c:pt>
                      <c:pt idx="6945">
                        <c:v>45581.416666666672</c:v>
                      </c:pt>
                      <c:pt idx="6946">
                        <c:v>45581.458333333328</c:v>
                      </c:pt>
                      <c:pt idx="6947">
                        <c:v>45581.5</c:v>
                      </c:pt>
                      <c:pt idx="6948">
                        <c:v>45581.541666666672</c:v>
                      </c:pt>
                      <c:pt idx="6949">
                        <c:v>45581.583333333328</c:v>
                      </c:pt>
                      <c:pt idx="6950">
                        <c:v>45581.625</c:v>
                      </c:pt>
                      <c:pt idx="6951">
                        <c:v>45581.666666666672</c:v>
                      </c:pt>
                      <c:pt idx="6952">
                        <c:v>45581.708333333328</c:v>
                      </c:pt>
                      <c:pt idx="6953">
                        <c:v>45581.75</c:v>
                      </c:pt>
                      <c:pt idx="6954">
                        <c:v>45581.791666666672</c:v>
                      </c:pt>
                      <c:pt idx="6955">
                        <c:v>45581.833333333328</c:v>
                      </c:pt>
                      <c:pt idx="6956">
                        <c:v>45581.875</c:v>
                      </c:pt>
                      <c:pt idx="6957">
                        <c:v>45581.916666666672</c:v>
                      </c:pt>
                      <c:pt idx="6958">
                        <c:v>45581.958333333328</c:v>
                      </c:pt>
                      <c:pt idx="6959">
                        <c:v>45582</c:v>
                      </c:pt>
                      <c:pt idx="6960">
                        <c:v>45582.041666666672</c:v>
                      </c:pt>
                      <c:pt idx="6961">
                        <c:v>45582.083333333328</c:v>
                      </c:pt>
                      <c:pt idx="6962">
                        <c:v>45582.125</c:v>
                      </c:pt>
                      <c:pt idx="6963">
                        <c:v>45582.166666666672</c:v>
                      </c:pt>
                      <c:pt idx="6964">
                        <c:v>45582.208333333328</c:v>
                      </c:pt>
                      <c:pt idx="6965">
                        <c:v>45582.25</c:v>
                      </c:pt>
                      <c:pt idx="6966">
                        <c:v>45582.291666666672</c:v>
                      </c:pt>
                      <c:pt idx="6967">
                        <c:v>45582.333333333328</c:v>
                      </c:pt>
                      <c:pt idx="6968">
                        <c:v>45582.375</c:v>
                      </c:pt>
                      <c:pt idx="6969">
                        <c:v>45582.416666666672</c:v>
                      </c:pt>
                      <c:pt idx="6970">
                        <c:v>45582.458333333328</c:v>
                      </c:pt>
                      <c:pt idx="6971">
                        <c:v>45582.5</c:v>
                      </c:pt>
                      <c:pt idx="6972">
                        <c:v>45582.541666666672</c:v>
                      </c:pt>
                      <c:pt idx="6973">
                        <c:v>45582.583333333328</c:v>
                      </c:pt>
                      <c:pt idx="6974">
                        <c:v>45582.625</c:v>
                      </c:pt>
                      <c:pt idx="6975">
                        <c:v>45582.666666666672</c:v>
                      </c:pt>
                      <c:pt idx="6976">
                        <c:v>45582.708333333328</c:v>
                      </c:pt>
                      <c:pt idx="6977">
                        <c:v>45582.75</c:v>
                      </c:pt>
                      <c:pt idx="6978">
                        <c:v>45582.791666666672</c:v>
                      </c:pt>
                      <c:pt idx="6979">
                        <c:v>45582.833333333328</c:v>
                      </c:pt>
                      <c:pt idx="6980">
                        <c:v>45582.875</c:v>
                      </c:pt>
                      <c:pt idx="6981">
                        <c:v>45582.916666666672</c:v>
                      </c:pt>
                      <c:pt idx="6982">
                        <c:v>45582.958333333328</c:v>
                      </c:pt>
                      <c:pt idx="6983">
                        <c:v>45583</c:v>
                      </c:pt>
                      <c:pt idx="6984">
                        <c:v>45583.041666666672</c:v>
                      </c:pt>
                      <c:pt idx="6985">
                        <c:v>45583.083333333328</c:v>
                      </c:pt>
                      <c:pt idx="6986">
                        <c:v>45583.125</c:v>
                      </c:pt>
                      <c:pt idx="6987">
                        <c:v>45583.166666666672</c:v>
                      </c:pt>
                      <c:pt idx="6988">
                        <c:v>45583.208333333328</c:v>
                      </c:pt>
                      <c:pt idx="6989">
                        <c:v>45583.25</c:v>
                      </c:pt>
                      <c:pt idx="6990">
                        <c:v>45583.291666666672</c:v>
                      </c:pt>
                      <c:pt idx="6991">
                        <c:v>45583.333333333328</c:v>
                      </c:pt>
                      <c:pt idx="6992">
                        <c:v>45583.375</c:v>
                      </c:pt>
                      <c:pt idx="6993">
                        <c:v>45583.416666666672</c:v>
                      </c:pt>
                      <c:pt idx="6994">
                        <c:v>45583.458333333328</c:v>
                      </c:pt>
                      <c:pt idx="6995">
                        <c:v>45583.5</c:v>
                      </c:pt>
                      <c:pt idx="6996">
                        <c:v>45583.541666666672</c:v>
                      </c:pt>
                      <c:pt idx="6997">
                        <c:v>45583.583333333328</c:v>
                      </c:pt>
                      <c:pt idx="6998">
                        <c:v>45583.625</c:v>
                      </c:pt>
                      <c:pt idx="6999">
                        <c:v>45583.666666666672</c:v>
                      </c:pt>
                      <c:pt idx="7000">
                        <c:v>45583.708333333328</c:v>
                      </c:pt>
                      <c:pt idx="7001">
                        <c:v>45583.75</c:v>
                      </c:pt>
                      <c:pt idx="7002">
                        <c:v>45583.791666666672</c:v>
                      </c:pt>
                      <c:pt idx="7003">
                        <c:v>45583.833333333328</c:v>
                      </c:pt>
                      <c:pt idx="7004">
                        <c:v>45583.875</c:v>
                      </c:pt>
                      <c:pt idx="7005">
                        <c:v>45583.916666666672</c:v>
                      </c:pt>
                      <c:pt idx="7006">
                        <c:v>45583.958333333328</c:v>
                      </c:pt>
                      <c:pt idx="7007">
                        <c:v>45584</c:v>
                      </c:pt>
                      <c:pt idx="7008">
                        <c:v>45584.041666666672</c:v>
                      </c:pt>
                      <c:pt idx="7009">
                        <c:v>45584.083333333328</c:v>
                      </c:pt>
                      <c:pt idx="7010">
                        <c:v>45584.125</c:v>
                      </c:pt>
                      <c:pt idx="7011">
                        <c:v>45584.166666666672</c:v>
                      </c:pt>
                      <c:pt idx="7012">
                        <c:v>45584.208333333328</c:v>
                      </c:pt>
                      <c:pt idx="7013">
                        <c:v>45584.25</c:v>
                      </c:pt>
                      <c:pt idx="7014">
                        <c:v>45584.291666666672</c:v>
                      </c:pt>
                      <c:pt idx="7015">
                        <c:v>45584.333333333328</c:v>
                      </c:pt>
                      <c:pt idx="7016">
                        <c:v>45584.375</c:v>
                      </c:pt>
                      <c:pt idx="7017">
                        <c:v>45584.416666666672</c:v>
                      </c:pt>
                      <c:pt idx="7018">
                        <c:v>45584.458333333328</c:v>
                      </c:pt>
                      <c:pt idx="7019">
                        <c:v>45584.5</c:v>
                      </c:pt>
                      <c:pt idx="7020">
                        <c:v>45584.541666666672</c:v>
                      </c:pt>
                      <c:pt idx="7021">
                        <c:v>45584.583333333328</c:v>
                      </c:pt>
                      <c:pt idx="7022">
                        <c:v>45584.625</c:v>
                      </c:pt>
                      <c:pt idx="7023">
                        <c:v>45584.666666666672</c:v>
                      </c:pt>
                      <c:pt idx="7024">
                        <c:v>45584.708333333328</c:v>
                      </c:pt>
                      <c:pt idx="7025">
                        <c:v>45584.75</c:v>
                      </c:pt>
                      <c:pt idx="7026">
                        <c:v>45584.791666666672</c:v>
                      </c:pt>
                      <c:pt idx="7027">
                        <c:v>45584.833333333328</c:v>
                      </c:pt>
                      <c:pt idx="7028">
                        <c:v>45584.875</c:v>
                      </c:pt>
                      <c:pt idx="7029">
                        <c:v>45584.916666666672</c:v>
                      </c:pt>
                      <c:pt idx="7030">
                        <c:v>45584.958333333328</c:v>
                      </c:pt>
                      <c:pt idx="7031">
                        <c:v>45585</c:v>
                      </c:pt>
                      <c:pt idx="7032">
                        <c:v>45585.041666666672</c:v>
                      </c:pt>
                      <c:pt idx="7033">
                        <c:v>45585.083333333328</c:v>
                      </c:pt>
                      <c:pt idx="7034">
                        <c:v>45585.125</c:v>
                      </c:pt>
                      <c:pt idx="7035">
                        <c:v>45585.166666666672</c:v>
                      </c:pt>
                      <c:pt idx="7036">
                        <c:v>45585.208333333328</c:v>
                      </c:pt>
                      <c:pt idx="7037">
                        <c:v>45585.25</c:v>
                      </c:pt>
                      <c:pt idx="7038">
                        <c:v>45585.291666666672</c:v>
                      </c:pt>
                      <c:pt idx="7039">
                        <c:v>45585.333333333328</c:v>
                      </c:pt>
                      <c:pt idx="7040">
                        <c:v>45585.375</c:v>
                      </c:pt>
                      <c:pt idx="7041">
                        <c:v>45585.416666666672</c:v>
                      </c:pt>
                      <c:pt idx="7042">
                        <c:v>45585.458333333328</c:v>
                      </c:pt>
                      <c:pt idx="7043">
                        <c:v>45585.5</c:v>
                      </c:pt>
                      <c:pt idx="7044">
                        <c:v>45585.541666666672</c:v>
                      </c:pt>
                      <c:pt idx="7045">
                        <c:v>45585.583333333328</c:v>
                      </c:pt>
                      <c:pt idx="7046">
                        <c:v>45585.625</c:v>
                      </c:pt>
                      <c:pt idx="7047">
                        <c:v>45585.666666666672</c:v>
                      </c:pt>
                      <c:pt idx="7048">
                        <c:v>45585.708333333328</c:v>
                      </c:pt>
                      <c:pt idx="7049">
                        <c:v>45585.75</c:v>
                      </c:pt>
                      <c:pt idx="7050">
                        <c:v>45585.791666666672</c:v>
                      </c:pt>
                      <c:pt idx="7051">
                        <c:v>45585.833333333328</c:v>
                      </c:pt>
                      <c:pt idx="7052">
                        <c:v>45585.875</c:v>
                      </c:pt>
                      <c:pt idx="7053">
                        <c:v>45585.916666666672</c:v>
                      </c:pt>
                      <c:pt idx="7054">
                        <c:v>45585.958333333328</c:v>
                      </c:pt>
                      <c:pt idx="7055">
                        <c:v>45586</c:v>
                      </c:pt>
                      <c:pt idx="7056">
                        <c:v>45586.041666666672</c:v>
                      </c:pt>
                      <c:pt idx="7057">
                        <c:v>45586.083333333328</c:v>
                      </c:pt>
                      <c:pt idx="7058">
                        <c:v>45586.125</c:v>
                      </c:pt>
                      <c:pt idx="7059">
                        <c:v>45586.166666666672</c:v>
                      </c:pt>
                      <c:pt idx="7060">
                        <c:v>45586.208333333328</c:v>
                      </c:pt>
                      <c:pt idx="7061">
                        <c:v>45586.25</c:v>
                      </c:pt>
                      <c:pt idx="7062">
                        <c:v>45586.291666666672</c:v>
                      </c:pt>
                      <c:pt idx="7063">
                        <c:v>45586.333333333328</c:v>
                      </c:pt>
                      <c:pt idx="7064">
                        <c:v>45586.375</c:v>
                      </c:pt>
                      <c:pt idx="7065">
                        <c:v>45586.416666666672</c:v>
                      </c:pt>
                      <c:pt idx="7066">
                        <c:v>45586.458333333328</c:v>
                      </c:pt>
                      <c:pt idx="7067">
                        <c:v>45586.5</c:v>
                      </c:pt>
                      <c:pt idx="7068">
                        <c:v>45586.541666666672</c:v>
                      </c:pt>
                      <c:pt idx="7069">
                        <c:v>45586.583333333328</c:v>
                      </c:pt>
                      <c:pt idx="7070">
                        <c:v>45586.625</c:v>
                      </c:pt>
                      <c:pt idx="7071">
                        <c:v>45586.666666666672</c:v>
                      </c:pt>
                      <c:pt idx="7072">
                        <c:v>45586.708333333328</c:v>
                      </c:pt>
                      <c:pt idx="7073">
                        <c:v>45586.75</c:v>
                      </c:pt>
                      <c:pt idx="7074">
                        <c:v>45586.791666666672</c:v>
                      </c:pt>
                      <c:pt idx="7075">
                        <c:v>45586.833333333328</c:v>
                      </c:pt>
                      <c:pt idx="7076">
                        <c:v>45586.875</c:v>
                      </c:pt>
                      <c:pt idx="7077">
                        <c:v>45586.916666666672</c:v>
                      </c:pt>
                      <c:pt idx="7078">
                        <c:v>45586.958333333328</c:v>
                      </c:pt>
                      <c:pt idx="7079">
                        <c:v>45587</c:v>
                      </c:pt>
                      <c:pt idx="7080">
                        <c:v>45587.041666666672</c:v>
                      </c:pt>
                      <c:pt idx="7081">
                        <c:v>45587.083333333328</c:v>
                      </c:pt>
                      <c:pt idx="7082">
                        <c:v>45587.125</c:v>
                      </c:pt>
                      <c:pt idx="7083">
                        <c:v>45587.166666666672</c:v>
                      </c:pt>
                      <c:pt idx="7084">
                        <c:v>45587.208333333328</c:v>
                      </c:pt>
                      <c:pt idx="7085">
                        <c:v>45587.25</c:v>
                      </c:pt>
                      <c:pt idx="7086">
                        <c:v>45587.291666666672</c:v>
                      </c:pt>
                      <c:pt idx="7087">
                        <c:v>45587.333333333328</c:v>
                      </c:pt>
                      <c:pt idx="7088">
                        <c:v>45587.375</c:v>
                      </c:pt>
                      <c:pt idx="7089">
                        <c:v>45587.416666666672</c:v>
                      </c:pt>
                      <c:pt idx="7090">
                        <c:v>45587.458333333328</c:v>
                      </c:pt>
                      <c:pt idx="7091">
                        <c:v>45587.5</c:v>
                      </c:pt>
                      <c:pt idx="7092">
                        <c:v>45587.541666666672</c:v>
                      </c:pt>
                      <c:pt idx="7093">
                        <c:v>45587.583333333328</c:v>
                      </c:pt>
                      <c:pt idx="7094">
                        <c:v>45587.625</c:v>
                      </c:pt>
                      <c:pt idx="7095">
                        <c:v>45587.666666666672</c:v>
                      </c:pt>
                      <c:pt idx="7096">
                        <c:v>45587.708333333328</c:v>
                      </c:pt>
                      <c:pt idx="7097">
                        <c:v>45587.75</c:v>
                      </c:pt>
                      <c:pt idx="7098">
                        <c:v>45587.791666666672</c:v>
                      </c:pt>
                      <c:pt idx="7099">
                        <c:v>45587.833333333328</c:v>
                      </c:pt>
                      <c:pt idx="7100">
                        <c:v>45587.875</c:v>
                      </c:pt>
                      <c:pt idx="7101">
                        <c:v>45587.916666666672</c:v>
                      </c:pt>
                      <c:pt idx="7102">
                        <c:v>45587.958333333328</c:v>
                      </c:pt>
                      <c:pt idx="7103">
                        <c:v>45588</c:v>
                      </c:pt>
                      <c:pt idx="7104">
                        <c:v>45588.041666666672</c:v>
                      </c:pt>
                      <c:pt idx="7105">
                        <c:v>45588.083333333328</c:v>
                      </c:pt>
                      <c:pt idx="7106">
                        <c:v>45588.125</c:v>
                      </c:pt>
                      <c:pt idx="7107">
                        <c:v>45588.166666666672</c:v>
                      </c:pt>
                      <c:pt idx="7108">
                        <c:v>45588.208333333328</c:v>
                      </c:pt>
                      <c:pt idx="7109">
                        <c:v>45588.25</c:v>
                      </c:pt>
                      <c:pt idx="7110">
                        <c:v>45588.291666666672</c:v>
                      </c:pt>
                      <c:pt idx="7111">
                        <c:v>45588.333333333328</c:v>
                      </c:pt>
                      <c:pt idx="7112">
                        <c:v>45588.375</c:v>
                      </c:pt>
                      <c:pt idx="7113">
                        <c:v>45588.416666666672</c:v>
                      </c:pt>
                      <c:pt idx="7114">
                        <c:v>45588.458333333328</c:v>
                      </c:pt>
                      <c:pt idx="7115">
                        <c:v>45588.5</c:v>
                      </c:pt>
                      <c:pt idx="7116">
                        <c:v>45588.541666666672</c:v>
                      </c:pt>
                      <c:pt idx="7117">
                        <c:v>45588.583333333328</c:v>
                      </c:pt>
                      <c:pt idx="7118">
                        <c:v>45588.625</c:v>
                      </c:pt>
                      <c:pt idx="7119">
                        <c:v>45588.666666666672</c:v>
                      </c:pt>
                      <c:pt idx="7120">
                        <c:v>45588.708333333328</c:v>
                      </c:pt>
                      <c:pt idx="7121">
                        <c:v>45588.75</c:v>
                      </c:pt>
                      <c:pt idx="7122">
                        <c:v>45588.791666666672</c:v>
                      </c:pt>
                      <c:pt idx="7123">
                        <c:v>45588.833333333328</c:v>
                      </c:pt>
                      <c:pt idx="7124">
                        <c:v>45588.875</c:v>
                      </c:pt>
                      <c:pt idx="7125">
                        <c:v>45588.916666666672</c:v>
                      </c:pt>
                      <c:pt idx="7126">
                        <c:v>45588.958333333328</c:v>
                      </c:pt>
                      <c:pt idx="7127">
                        <c:v>45589</c:v>
                      </c:pt>
                      <c:pt idx="7128">
                        <c:v>45589.041666666672</c:v>
                      </c:pt>
                      <c:pt idx="7129">
                        <c:v>45589.083333333328</c:v>
                      </c:pt>
                      <c:pt idx="7130">
                        <c:v>45589.125</c:v>
                      </c:pt>
                      <c:pt idx="7131">
                        <c:v>45589.166666666672</c:v>
                      </c:pt>
                      <c:pt idx="7132">
                        <c:v>45589.208333333328</c:v>
                      </c:pt>
                      <c:pt idx="7133">
                        <c:v>45589.25</c:v>
                      </c:pt>
                      <c:pt idx="7134">
                        <c:v>45589.291666666672</c:v>
                      </c:pt>
                      <c:pt idx="7135">
                        <c:v>45589.333333333328</c:v>
                      </c:pt>
                      <c:pt idx="7136">
                        <c:v>45589.375</c:v>
                      </c:pt>
                      <c:pt idx="7137">
                        <c:v>45589.416666666672</c:v>
                      </c:pt>
                      <c:pt idx="7138">
                        <c:v>45589.458333333328</c:v>
                      </c:pt>
                      <c:pt idx="7139">
                        <c:v>45589.5</c:v>
                      </c:pt>
                      <c:pt idx="7140">
                        <c:v>45589.541666666672</c:v>
                      </c:pt>
                      <c:pt idx="7141">
                        <c:v>45589.583333333328</c:v>
                      </c:pt>
                      <c:pt idx="7142">
                        <c:v>45589.625</c:v>
                      </c:pt>
                      <c:pt idx="7143">
                        <c:v>45589.666666666672</c:v>
                      </c:pt>
                      <c:pt idx="7144">
                        <c:v>45589.708333333328</c:v>
                      </c:pt>
                      <c:pt idx="7145">
                        <c:v>45589.75</c:v>
                      </c:pt>
                      <c:pt idx="7146">
                        <c:v>45589.791666666672</c:v>
                      </c:pt>
                      <c:pt idx="7147">
                        <c:v>45589.833333333328</c:v>
                      </c:pt>
                      <c:pt idx="7148">
                        <c:v>45589.875</c:v>
                      </c:pt>
                      <c:pt idx="7149">
                        <c:v>45589.916666666672</c:v>
                      </c:pt>
                      <c:pt idx="7150">
                        <c:v>45589.958333333328</c:v>
                      </c:pt>
                      <c:pt idx="7151">
                        <c:v>45590</c:v>
                      </c:pt>
                      <c:pt idx="7152">
                        <c:v>45590.041666666672</c:v>
                      </c:pt>
                      <c:pt idx="7153">
                        <c:v>45590.083333333328</c:v>
                      </c:pt>
                      <c:pt idx="7154">
                        <c:v>45590.125</c:v>
                      </c:pt>
                      <c:pt idx="7155">
                        <c:v>45590.166666666672</c:v>
                      </c:pt>
                      <c:pt idx="7156">
                        <c:v>45590.208333333328</c:v>
                      </c:pt>
                      <c:pt idx="7157">
                        <c:v>45590.25</c:v>
                      </c:pt>
                      <c:pt idx="7158">
                        <c:v>45590.291666666672</c:v>
                      </c:pt>
                      <c:pt idx="7159">
                        <c:v>45590.333333333328</c:v>
                      </c:pt>
                      <c:pt idx="7160">
                        <c:v>45590.375</c:v>
                      </c:pt>
                      <c:pt idx="7161">
                        <c:v>45590.416666666672</c:v>
                      </c:pt>
                      <c:pt idx="7162">
                        <c:v>45590.458333333328</c:v>
                      </c:pt>
                      <c:pt idx="7163">
                        <c:v>45590.5</c:v>
                      </c:pt>
                      <c:pt idx="7164">
                        <c:v>45590.541666666672</c:v>
                      </c:pt>
                      <c:pt idx="7165">
                        <c:v>45590.583333333328</c:v>
                      </c:pt>
                      <c:pt idx="7166">
                        <c:v>45590.625</c:v>
                      </c:pt>
                      <c:pt idx="7167">
                        <c:v>45590.666666666672</c:v>
                      </c:pt>
                      <c:pt idx="7168">
                        <c:v>45590.708333333328</c:v>
                      </c:pt>
                      <c:pt idx="7169">
                        <c:v>45590.75</c:v>
                      </c:pt>
                      <c:pt idx="7170">
                        <c:v>45590.791666666672</c:v>
                      </c:pt>
                      <c:pt idx="7171">
                        <c:v>45590.833333333328</c:v>
                      </c:pt>
                      <c:pt idx="7172">
                        <c:v>45590.875</c:v>
                      </c:pt>
                      <c:pt idx="7173">
                        <c:v>45590.916666666672</c:v>
                      </c:pt>
                      <c:pt idx="7174">
                        <c:v>45590.958333333328</c:v>
                      </c:pt>
                      <c:pt idx="7175">
                        <c:v>45591</c:v>
                      </c:pt>
                      <c:pt idx="7176">
                        <c:v>45591.041666666672</c:v>
                      </c:pt>
                      <c:pt idx="7177">
                        <c:v>45591.083333333328</c:v>
                      </c:pt>
                      <c:pt idx="7178">
                        <c:v>45591.125</c:v>
                      </c:pt>
                      <c:pt idx="7179">
                        <c:v>45591.166666666672</c:v>
                      </c:pt>
                      <c:pt idx="7180">
                        <c:v>45591.208333333328</c:v>
                      </c:pt>
                      <c:pt idx="7181">
                        <c:v>45591.25</c:v>
                      </c:pt>
                      <c:pt idx="7182">
                        <c:v>45591.291666666672</c:v>
                      </c:pt>
                      <c:pt idx="7183">
                        <c:v>45591.333333333328</c:v>
                      </c:pt>
                      <c:pt idx="7184">
                        <c:v>45591.375</c:v>
                      </c:pt>
                      <c:pt idx="7185">
                        <c:v>45591.416666666672</c:v>
                      </c:pt>
                      <c:pt idx="7186">
                        <c:v>45591.458333333328</c:v>
                      </c:pt>
                      <c:pt idx="7187">
                        <c:v>45591.5</c:v>
                      </c:pt>
                      <c:pt idx="7188">
                        <c:v>45591.541666666672</c:v>
                      </c:pt>
                      <c:pt idx="7189">
                        <c:v>45591.583333333328</c:v>
                      </c:pt>
                      <c:pt idx="7190">
                        <c:v>45591.625</c:v>
                      </c:pt>
                      <c:pt idx="7191">
                        <c:v>45591.666666666672</c:v>
                      </c:pt>
                      <c:pt idx="7192">
                        <c:v>45591.708333333328</c:v>
                      </c:pt>
                      <c:pt idx="7193">
                        <c:v>45591.75</c:v>
                      </c:pt>
                      <c:pt idx="7194">
                        <c:v>45591.791666666672</c:v>
                      </c:pt>
                      <c:pt idx="7195">
                        <c:v>45591.833333333328</c:v>
                      </c:pt>
                      <c:pt idx="7196">
                        <c:v>45591.875</c:v>
                      </c:pt>
                      <c:pt idx="7197">
                        <c:v>45591.916666666672</c:v>
                      </c:pt>
                      <c:pt idx="7198">
                        <c:v>45591.958333333328</c:v>
                      </c:pt>
                      <c:pt idx="7199">
                        <c:v>45592</c:v>
                      </c:pt>
                      <c:pt idx="7200">
                        <c:v>45592.041666666672</c:v>
                      </c:pt>
                      <c:pt idx="7201">
                        <c:v>45592.083333333328</c:v>
                      </c:pt>
                      <c:pt idx="7202">
                        <c:v>45592.083333333328</c:v>
                      </c:pt>
                      <c:pt idx="7203">
                        <c:v>45592.125</c:v>
                      </c:pt>
                      <c:pt idx="7204">
                        <c:v>45592.166666666672</c:v>
                      </c:pt>
                      <c:pt idx="7205">
                        <c:v>45592.208333333328</c:v>
                      </c:pt>
                      <c:pt idx="7206">
                        <c:v>45592.25</c:v>
                      </c:pt>
                      <c:pt idx="7207">
                        <c:v>45592.291666666672</c:v>
                      </c:pt>
                      <c:pt idx="7208">
                        <c:v>45592.333333333328</c:v>
                      </c:pt>
                      <c:pt idx="7209">
                        <c:v>45592.375</c:v>
                      </c:pt>
                      <c:pt idx="7210">
                        <c:v>45592.416666666672</c:v>
                      </c:pt>
                      <c:pt idx="7211">
                        <c:v>45592.458333333328</c:v>
                      </c:pt>
                      <c:pt idx="7212">
                        <c:v>45592.5</c:v>
                      </c:pt>
                      <c:pt idx="7213">
                        <c:v>45592.541666666672</c:v>
                      </c:pt>
                      <c:pt idx="7214">
                        <c:v>45592.583333333328</c:v>
                      </c:pt>
                      <c:pt idx="7215">
                        <c:v>45592.625</c:v>
                      </c:pt>
                      <c:pt idx="7216">
                        <c:v>45592.666666666672</c:v>
                      </c:pt>
                      <c:pt idx="7217">
                        <c:v>45592.708333333328</c:v>
                      </c:pt>
                      <c:pt idx="7218">
                        <c:v>45592.75</c:v>
                      </c:pt>
                      <c:pt idx="7219">
                        <c:v>45592.791666666672</c:v>
                      </c:pt>
                      <c:pt idx="7220">
                        <c:v>45592.833333333328</c:v>
                      </c:pt>
                      <c:pt idx="7221">
                        <c:v>45592.875</c:v>
                      </c:pt>
                      <c:pt idx="7222">
                        <c:v>45592.916666666672</c:v>
                      </c:pt>
                      <c:pt idx="7223">
                        <c:v>45592.958333333328</c:v>
                      </c:pt>
                      <c:pt idx="7224">
                        <c:v>45593</c:v>
                      </c:pt>
                      <c:pt idx="7225">
                        <c:v>45593.041666666672</c:v>
                      </c:pt>
                      <c:pt idx="7226">
                        <c:v>45593.083333333328</c:v>
                      </c:pt>
                      <c:pt idx="7227">
                        <c:v>45593.125</c:v>
                      </c:pt>
                      <c:pt idx="7228">
                        <c:v>45593.166666666672</c:v>
                      </c:pt>
                      <c:pt idx="7229">
                        <c:v>45593.208333333328</c:v>
                      </c:pt>
                      <c:pt idx="7230">
                        <c:v>45593.25</c:v>
                      </c:pt>
                      <c:pt idx="7231">
                        <c:v>45593.291666666672</c:v>
                      </c:pt>
                      <c:pt idx="7232">
                        <c:v>45593.333333333328</c:v>
                      </c:pt>
                      <c:pt idx="7233">
                        <c:v>45593.375</c:v>
                      </c:pt>
                      <c:pt idx="7234">
                        <c:v>45593.416666666672</c:v>
                      </c:pt>
                      <c:pt idx="7235">
                        <c:v>45593.458333333328</c:v>
                      </c:pt>
                      <c:pt idx="7236">
                        <c:v>45593.5</c:v>
                      </c:pt>
                      <c:pt idx="7237">
                        <c:v>45593.541666666672</c:v>
                      </c:pt>
                      <c:pt idx="7238">
                        <c:v>45593.583333333328</c:v>
                      </c:pt>
                      <c:pt idx="7239">
                        <c:v>45593.625</c:v>
                      </c:pt>
                      <c:pt idx="7240">
                        <c:v>45593.666666666672</c:v>
                      </c:pt>
                      <c:pt idx="7241">
                        <c:v>45593.708333333328</c:v>
                      </c:pt>
                      <c:pt idx="7242">
                        <c:v>45593.75</c:v>
                      </c:pt>
                      <c:pt idx="7243">
                        <c:v>45593.791666666672</c:v>
                      </c:pt>
                      <c:pt idx="7244">
                        <c:v>45593.833333333328</c:v>
                      </c:pt>
                      <c:pt idx="7245">
                        <c:v>45593.875</c:v>
                      </c:pt>
                      <c:pt idx="7246">
                        <c:v>45593.916666666672</c:v>
                      </c:pt>
                      <c:pt idx="7247">
                        <c:v>45593.958333333328</c:v>
                      </c:pt>
                      <c:pt idx="7248">
                        <c:v>45594</c:v>
                      </c:pt>
                      <c:pt idx="7249">
                        <c:v>45594.041666666672</c:v>
                      </c:pt>
                      <c:pt idx="7250">
                        <c:v>45594.083333333328</c:v>
                      </c:pt>
                      <c:pt idx="7251">
                        <c:v>45594.125</c:v>
                      </c:pt>
                      <c:pt idx="7252">
                        <c:v>45594.166666666672</c:v>
                      </c:pt>
                      <c:pt idx="7253">
                        <c:v>45594.208333333328</c:v>
                      </c:pt>
                      <c:pt idx="7254">
                        <c:v>45594.25</c:v>
                      </c:pt>
                      <c:pt idx="7255">
                        <c:v>45594.291666666672</c:v>
                      </c:pt>
                      <c:pt idx="7256">
                        <c:v>45594.333333333328</c:v>
                      </c:pt>
                      <c:pt idx="7257">
                        <c:v>45594.375</c:v>
                      </c:pt>
                      <c:pt idx="7258">
                        <c:v>45594.416666666672</c:v>
                      </c:pt>
                      <c:pt idx="7259">
                        <c:v>45594.458333333328</c:v>
                      </c:pt>
                      <c:pt idx="7260">
                        <c:v>45594.5</c:v>
                      </c:pt>
                      <c:pt idx="7261">
                        <c:v>45594.541666666672</c:v>
                      </c:pt>
                      <c:pt idx="7262">
                        <c:v>45594.583333333328</c:v>
                      </c:pt>
                      <c:pt idx="7263">
                        <c:v>45594.625</c:v>
                      </c:pt>
                      <c:pt idx="7264">
                        <c:v>45594.666666666672</c:v>
                      </c:pt>
                      <c:pt idx="7265">
                        <c:v>45594.708333333328</c:v>
                      </c:pt>
                      <c:pt idx="7266">
                        <c:v>45594.75</c:v>
                      </c:pt>
                      <c:pt idx="7267">
                        <c:v>45594.791666666672</c:v>
                      </c:pt>
                      <c:pt idx="7268">
                        <c:v>45594.833333333328</c:v>
                      </c:pt>
                      <c:pt idx="7269">
                        <c:v>45594.875</c:v>
                      </c:pt>
                      <c:pt idx="7270">
                        <c:v>45594.916666666672</c:v>
                      </c:pt>
                      <c:pt idx="7271">
                        <c:v>45594.958333333328</c:v>
                      </c:pt>
                      <c:pt idx="7272">
                        <c:v>45595</c:v>
                      </c:pt>
                      <c:pt idx="7273">
                        <c:v>45595.041666666672</c:v>
                      </c:pt>
                      <c:pt idx="7274">
                        <c:v>45595.083333333328</c:v>
                      </c:pt>
                      <c:pt idx="7275">
                        <c:v>45595.125</c:v>
                      </c:pt>
                      <c:pt idx="7276">
                        <c:v>45595.166666666672</c:v>
                      </c:pt>
                      <c:pt idx="7277">
                        <c:v>45595.208333333328</c:v>
                      </c:pt>
                      <c:pt idx="7278">
                        <c:v>45595.25</c:v>
                      </c:pt>
                      <c:pt idx="7279">
                        <c:v>45595.291666666672</c:v>
                      </c:pt>
                      <c:pt idx="7280">
                        <c:v>45595.333333333328</c:v>
                      </c:pt>
                      <c:pt idx="7281">
                        <c:v>45595.375</c:v>
                      </c:pt>
                      <c:pt idx="7282">
                        <c:v>45595.416666666672</c:v>
                      </c:pt>
                      <c:pt idx="7283">
                        <c:v>45595.458333333328</c:v>
                      </c:pt>
                      <c:pt idx="7284">
                        <c:v>45595.5</c:v>
                      </c:pt>
                      <c:pt idx="7285">
                        <c:v>45595.541666666672</c:v>
                      </c:pt>
                      <c:pt idx="7286">
                        <c:v>45595.583333333328</c:v>
                      </c:pt>
                      <c:pt idx="7287">
                        <c:v>45595.625</c:v>
                      </c:pt>
                      <c:pt idx="7288">
                        <c:v>45595.666666666672</c:v>
                      </c:pt>
                      <c:pt idx="7289">
                        <c:v>45595.708333333328</c:v>
                      </c:pt>
                      <c:pt idx="7290">
                        <c:v>45595.75</c:v>
                      </c:pt>
                      <c:pt idx="7291">
                        <c:v>45595.791666666672</c:v>
                      </c:pt>
                      <c:pt idx="7292">
                        <c:v>45595.833333333328</c:v>
                      </c:pt>
                      <c:pt idx="7293">
                        <c:v>45595.875</c:v>
                      </c:pt>
                      <c:pt idx="7294">
                        <c:v>45595.916666666672</c:v>
                      </c:pt>
                      <c:pt idx="7295">
                        <c:v>45595.958333333328</c:v>
                      </c:pt>
                      <c:pt idx="7296">
                        <c:v>45596</c:v>
                      </c:pt>
                      <c:pt idx="7297">
                        <c:v>45596.041666666672</c:v>
                      </c:pt>
                      <c:pt idx="7298">
                        <c:v>45596.083333333328</c:v>
                      </c:pt>
                      <c:pt idx="7299">
                        <c:v>45596.125</c:v>
                      </c:pt>
                      <c:pt idx="7300">
                        <c:v>45596.166666666672</c:v>
                      </c:pt>
                      <c:pt idx="7301">
                        <c:v>45596.208333333328</c:v>
                      </c:pt>
                      <c:pt idx="7302">
                        <c:v>45596.25</c:v>
                      </c:pt>
                      <c:pt idx="7303">
                        <c:v>45596.291666666672</c:v>
                      </c:pt>
                      <c:pt idx="7304">
                        <c:v>45596.333333333328</c:v>
                      </c:pt>
                      <c:pt idx="7305">
                        <c:v>45596.375</c:v>
                      </c:pt>
                      <c:pt idx="7306">
                        <c:v>45596.416666666672</c:v>
                      </c:pt>
                      <c:pt idx="7307">
                        <c:v>45596.458333333328</c:v>
                      </c:pt>
                      <c:pt idx="7308">
                        <c:v>45596.5</c:v>
                      </c:pt>
                      <c:pt idx="7309">
                        <c:v>45596.541666666672</c:v>
                      </c:pt>
                      <c:pt idx="7310">
                        <c:v>45596.583333333328</c:v>
                      </c:pt>
                      <c:pt idx="7311">
                        <c:v>45596.625</c:v>
                      </c:pt>
                      <c:pt idx="7312">
                        <c:v>45596.666666666672</c:v>
                      </c:pt>
                      <c:pt idx="7313">
                        <c:v>45596.708333333328</c:v>
                      </c:pt>
                      <c:pt idx="7314">
                        <c:v>45596.75</c:v>
                      </c:pt>
                      <c:pt idx="7315">
                        <c:v>45596.791666666672</c:v>
                      </c:pt>
                      <c:pt idx="7316">
                        <c:v>45596.833333333328</c:v>
                      </c:pt>
                      <c:pt idx="7317">
                        <c:v>45596.875</c:v>
                      </c:pt>
                      <c:pt idx="7318">
                        <c:v>45596.916666666672</c:v>
                      </c:pt>
                      <c:pt idx="7319">
                        <c:v>45596.958333333328</c:v>
                      </c:pt>
                      <c:pt idx="7320">
                        <c:v>45597</c:v>
                      </c:pt>
                      <c:pt idx="7321">
                        <c:v>45597.041666666672</c:v>
                      </c:pt>
                      <c:pt idx="7322">
                        <c:v>45597.083333333328</c:v>
                      </c:pt>
                      <c:pt idx="7323">
                        <c:v>45597.125</c:v>
                      </c:pt>
                      <c:pt idx="7324">
                        <c:v>45597.166666666672</c:v>
                      </c:pt>
                      <c:pt idx="7325">
                        <c:v>45597.208333333328</c:v>
                      </c:pt>
                      <c:pt idx="7326">
                        <c:v>45597.25</c:v>
                      </c:pt>
                      <c:pt idx="7327">
                        <c:v>45597.291666666672</c:v>
                      </c:pt>
                      <c:pt idx="7328">
                        <c:v>45597.333333333328</c:v>
                      </c:pt>
                      <c:pt idx="7329">
                        <c:v>45597.375</c:v>
                      </c:pt>
                      <c:pt idx="7330">
                        <c:v>45597.416666666672</c:v>
                      </c:pt>
                      <c:pt idx="7331">
                        <c:v>45597.458333333328</c:v>
                      </c:pt>
                      <c:pt idx="7332">
                        <c:v>45597.5</c:v>
                      </c:pt>
                      <c:pt idx="7333">
                        <c:v>45597.541666666672</c:v>
                      </c:pt>
                      <c:pt idx="7334">
                        <c:v>45597.583333333328</c:v>
                      </c:pt>
                      <c:pt idx="7335">
                        <c:v>45597.625</c:v>
                      </c:pt>
                      <c:pt idx="7336">
                        <c:v>45597.666666666672</c:v>
                      </c:pt>
                      <c:pt idx="7337">
                        <c:v>45597.708333333328</c:v>
                      </c:pt>
                      <c:pt idx="7338">
                        <c:v>45597.75</c:v>
                      </c:pt>
                      <c:pt idx="7339">
                        <c:v>45597.791666666672</c:v>
                      </c:pt>
                      <c:pt idx="7340">
                        <c:v>45597.833333333328</c:v>
                      </c:pt>
                      <c:pt idx="7341">
                        <c:v>45597.875</c:v>
                      </c:pt>
                      <c:pt idx="7342">
                        <c:v>45597.916666666672</c:v>
                      </c:pt>
                      <c:pt idx="7343">
                        <c:v>45597.958333333328</c:v>
                      </c:pt>
                      <c:pt idx="7344">
                        <c:v>45598</c:v>
                      </c:pt>
                      <c:pt idx="7345">
                        <c:v>45598.041666666672</c:v>
                      </c:pt>
                      <c:pt idx="7346">
                        <c:v>45598.083333333328</c:v>
                      </c:pt>
                      <c:pt idx="7347">
                        <c:v>45598.125</c:v>
                      </c:pt>
                      <c:pt idx="7348">
                        <c:v>45598.166666666672</c:v>
                      </c:pt>
                      <c:pt idx="7349">
                        <c:v>45598.208333333328</c:v>
                      </c:pt>
                      <c:pt idx="7350">
                        <c:v>45598.25</c:v>
                      </c:pt>
                      <c:pt idx="7351">
                        <c:v>45598.291666666672</c:v>
                      </c:pt>
                      <c:pt idx="7352">
                        <c:v>45598.333333333328</c:v>
                      </c:pt>
                      <c:pt idx="7353">
                        <c:v>45598.375</c:v>
                      </c:pt>
                      <c:pt idx="7354">
                        <c:v>45598.416666666672</c:v>
                      </c:pt>
                      <c:pt idx="7355">
                        <c:v>45598.458333333328</c:v>
                      </c:pt>
                      <c:pt idx="7356">
                        <c:v>45598.5</c:v>
                      </c:pt>
                      <c:pt idx="7357">
                        <c:v>45598.541666666672</c:v>
                      </c:pt>
                      <c:pt idx="7358">
                        <c:v>45598.583333333328</c:v>
                      </c:pt>
                      <c:pt idx="7359">
                        <c:v>45598.625</c:v>
                      </c:pt>
                      <c:pt idx="7360">
                        <c:v>45598.666666666672</c:v>
                      </c:pt>
                      <c:pt idx="7361">
                        <c:v>45598.708333333328</c:v>
                      </c:pt>
                      <c:pt idx="7362">
                        <c:v>45598.75</c:v>
                      </c:pt>
                      <c:pt idx="7363">
                        <c:v>45598.791666666672</c:v>
                      </c:pt>
                      <c:pt idx="7364">
                        <c:v>45598.833333333328</c:v>
                      </c:pt>
                      <c:pt idx="7365">
                        <c:v>45598.875</c:v>
                      </c:pt>
                      <c:pt idx="7366">
                        <c:v>45598.916666666672</c:v>
                      </c:pt>
                      <c:pt idx="7367">
                        <c:v>45598.958333333328</c:v>
                      </c:pt>
                      <c:pt idx="7368">
                        <c:v>45599</c:v>
                      </c:pt>
                      <c:pt idx="7369">
                        <c:v>45599.041666666672</c:v>
                      </c:pt>
                      <c:pt idx="7370">
                        <c:v>45599.083333333328</c:v>
                      </c:pt>
                      <c:pt idx="7371">
                        <c:v>45599.125</c:v>
                      </c:pt>
                      <c:pt idx="7372">
                        <c:v>45599.166666666672</c:v>
                      </c:pt>
                      <c:pt idx="7373">
                        <c:v>45599.208333333328</c:v>
                      </c:pt>
                      <c:pt idx="7374">
                        <c:v>45599.25</c:v>
                      </c:pt>
                      <c:pt idx="7375">
                        <c:v>45599.291666666672</c:v>
                      </c:pt>
                      <c:pt idx="7376">
                        <c:v>45599.333333333328</c:v>
                      </c:pt>
                      <c:pt idx="7377">
                        <c:v>45599.375</c:v>
                      </c:pt>
                      <c:pt idx="7378">
                        <c:v>45599.416666666672</c:v>
                      </c:pt>
                      <c:pt idx="7379">
                        <c:v>45599.458333333328</c:v>
                      </c:pt>
                      <c:pt idx="7380">
                        <c:v>45599.5</c:v>
                      </c:pt>
                      <c:pt idx="7381">
                        <c:v>45599.541666666672</c:v>
                      </c:pt>
                      <c:pt idx="7382">
                        <c:v>45599.583333333328</c:v>
                      </c:pt>
                      <c:pt idx="7383">
                        <c:v>45599.625</c:v>
                      </c:pt>
                      <c:pt idx="7384">
                        <c:v>45599.666666666672</c:v>
                      </c:pt>
                      <c:pt idx="7385">
                        <c:v>45599.708333333328</c:v>
                      </c:pt>
                      <c:pt idx="7386">
                        <c:v>45599.75</c:v>
                      </c:pt>
                      <c:pt idx="7387">
                        <c:v>45599.791666666672</c:v>
                      </c:pt>
                      <c:pt idx="7388">
                        <c:v>45599.833333333328</c:v>
                      </c:pt>
                      <c:pt idx="7389">
                        <c:v>45599.875</c:v>
                      </c:pt>
                      <c:pt idx="7390">
                        <c:v>45599.916666666672</c:v>
                      </c:pt>
                      <c:pt idx="7391">
                        <c:v>45599.958333333328</c:v>
                      </c:pt>
                      <c:pt idx="7392">
                        <c:v>45600</c:v>
                      </c:pt>
                      <c:pt idx="7393">
                        <c:v>45600.041666666672</c:v>
                      </c:pt>
                      <c:pt idx="7394">
                        <c:v>45600.083333333328</c:v>
                      </c:pt>
                      <c:pt idx="7395">
                        <c:v>45600.125</c:v>
                      </c:pt>
                      <c:pt idx="7396">
                        <c:v>45600.166666666672</c:v>
                      </c:pt>
                      <c:pt idx="7397">
                        <c:v>45600.208333333328</c:v>
                      </c:pt>
                      <c:pt idx="7398">
                        <c:v>45600.25</c:v>
                      </c:pt>
                      <c:pt idx="7399">
                        <c:v>45600.291666666672</c:v>
                      </c:pt>
                      <c:pt idx="7400">
                        <c:v>45600.333333333328</c:v>
                      </c:pt>
                      <c:pt idx="7401">
                        <c:v>45600.375</c:v>
                      </c:pt>
                      <c:pt idx="7402">
                        <c:v>45600.416666666672</c:v>
                      </c:pt>
                      <c:pt idx="7403">
                        <c:v>45600.458333333328</c:v>
                      </c:pt>
                      <c:pt idx="7404">
                        <c:v>45600.5</c:v>
                      </c:pt>
                      <c:pt idx="7405">
                        <c:v>45600.541666666672</c:v>
                      </c:pt>
                      <c:pt idx="7406">
                        <c:v>45600.583333333328</c:v>
                      </c:pt>
                      <c:pt idx="7407">
                        <c:v>45600.625</c:v>
                      </c:pt>
                      <c:pt idx="7408">
                        <c:v>45600.666666666672</c:v>
                      </c:pt>
                      <c:pt idx="7409">
                        <c:v>45600.708333333328</c:v>
                      </c:pt>
                      <c:pt idx="7410">
                        <c:v>45600.75</c:v>
                      </c:pt>
                      <c:pt idx="7411">
                        <c:v>45600.791666666672</c:v>
                      </c:pt>
                      <c:pt idx="7412">
                        <c:v>45600.833333333328</c:v>
                      </c:pt>
                      <c:pt idx="7413">
                        <c:v>45600.875</c:v>
                      </c:pt>
                      <c:pt idx="7414">
                        <c:v>45600.916666666672</c:v>
                      </c:pt>
                      <c:pt idx="7415">
                        <c:v>45600.958333333328</c:v>
                      </c:pt>
                      <c:pt idx="7416">
                        <c:v>45601</c:v>
                      </c:pt>
                      <c:pt idx="7417">
                        <c:v>45601.041666666672</c:v>
                      </c:pt>
                      <c:pt idx="7418">
                        <c:v>45601.083333333328</c:v>
                      </c:pt>
                      <c:pt idx="7419">
                        <c:v>45601.125</c:v>
                      </c:pt>
                      <c:pt idx="7420">
                        <c:v>45601.166666666672</c:v>
                      </c:pt>
                      <c:pt idx="7421">
                        <c:v>45601.208333333328</c:v>
                      </c:pt>
                      <c:pt idx="7422">
                        <c:v>45601.25</c:v>
                      </c:pt>
                      <c:pt idx="7423">
                        <c:v>45601.291666666672</c:v>
                      </c:pt>
                      <c:pt idx="7424">
                        <c:v>45601.333333333328</c:v>
                      </c:pt>
                      <c:pt idx="7425">
                        <c:v>45601.375</c:v>
                      </c:pt>
                      <c:pt idx="7426">
                        <c:v>45601.416666666672</c:v>
                      </c:pt>
                      <c:pt idx="7427">
                        <c:v>45601.458333333328</c:v>
                      </c:pt>
                      <c:pt idx="7428">
                        <c:v>45601.5</c:v>
                      </c:pt>
                      <c:pt idx="7429">
                        <c:v>45601.541666666672</c:v>
                      </c:pt>
                      <c:pt idx="7430">
                        <c:v>45601.583333333328</c:v>
                      </c:pt>
                      <c:pt idx="7431">
                        <c:v>45601.625</c:v>
                      </c:pt>
                      <c:pt idx="7432">
                        <c:v>45601.666666666672</c:v>
                      </c:pt>
                      <c:pt idx="7433">
                        <c:v>45601.708333333328</c:v>
                      </c:pt>
                      <c:pt idx="7434">
                        <c:v>45601.75</c:v>
                      </c:pt>
                      <c:pt idx="7435">
                        <c:v>45601.791666666672</c:v>
                      </c:pt>
                      <c:pt idx="7436">
                        <c:v>45601.833333333328</c:v>
                      </c:pt>
                      <c:pt idx="7437">
                        <c:v>45601.875</c:v>
                      </c:pt>
                      <c:pt idx="7438">
                        <c:v>45601.916666666672</c:v>
                      </c:pt>
                      <c:pt idx="7439">
                        <c:v>45601.958333333328</c:v>
                      </c:pt>
                      <c:pt idx="7440">
                        <c:v>45602</c:v>
                      </c:pt>
                      <c:pt idx="7441">
                        <c:v>45602.041666666672</c:v>
                      </c:pt>
                      <c:pt idx="7442">
                        <c:v>45602.083333333328</c:v>
                      </c:pt>
                      <c:pt idx="7443">
                        <c:v>45602.125</c:v>
                      </c:pt>
                      <c:pt idx="7444">
                        <c:v>45602.166666666672</c:v>
                      </c:pt>
                      <c:pt idx="7445">
                        <c:v>45602.208333333328</c:v>
                      </c:pt>
                      <c:pt idx="7446">
                        <c:v>45602.25</c:v>
                      </c:pt>
                      <c:pt idx="7447">
                        <c:v>45602.291666666672</c:v>
                      </c:pt>
                      <c:pt idx="7448">
                        <c:v>45602.333333333328</c:v>
                      </c:pt>
                      <c:pt idx="7449">
                        <c:v>45602.375</c:v>
                      </c:pt>
                      <c:pt idx="7450">
                        <c:v>45602.416666666672</c:v>
                      </c:pt>
                      <c:pt idx="7451">
                        <c:v>45602.458333333328</c:v>
                      </c:pt>
                      <c:pt idx="7452">
                        <c:v>45602.5</c:v>
                      </c:pt>
                      <c:pt idx="7453">
                        <c:v>45602.541666666672</c:v>
                      </c:pt>
                      <c:pt idx="7454">
                        <c:v>45602.583333333328</c:v>
                      </c:pt>
                      <c:pt idx="7455">
                        <c:v>45602.625</c:v>
                      </c:pt>
                      <c:pt idx="7456">
                        <c:v>45602.666666666672</c:v>
                      </c:pt>
                      <c:pt idx="7457">
                        <c:v>45602.708333333328</c:v>
                      </c:pt>
                      <c:pt idx="7458">
                        <c:v>45602.75</c:v>
                      </c:pt>
                      <c:pt idx="7459">
                        <c:v>45602.791666666672</c:v>
                      </c:pt>
                      <c:pt idx="7460">
                        <c:v>45602.833333333328</c:v>
                      </c:pt>
                      <c:pt idx="7461">
                        <c:v>45602.875</c:v>
                      </c:pt>
                      <c:pt idx="7462">
                        <c:v>45602.916666666672</c:v>
                      </c:pt>
                      <c:pt idx="7463">
                        <c:v>45602.958333333328</c:v>
                      </c:pt>
                      <c:pt idx="7464">
                        <c:v>45603</c:v>
                      </c:pt>
                      <c:pt idx="7465">
                        <c:v>45603.041666666672</c:v>
                      </c:pt>
                      <c:pt idx="7466">
                        <c:v>45603.083333333328</c:v>
                      </c:pt>
                      <c:pt idx="7467">
                        <c:v>45603.125</c:v>
                      </c:pt>
                      <c:pt idx="7468">
                        <c:v>45603.166666666672</c:v>
                      </c:pt>
                      <c:pt idx="7469">
                        <c:v>45603.208333333328</c:v>
                      </c:pt>
                      <c:pt idx="7470">
                        <c:v>45603.25</c:v>
                      </c:pt>
                      <c:pt idx="7471">
                        <c:v>45603.291666666672</c:v>
                      </c:pt>
                      <c:pt idx="7472">
                        <c:v>45603.333333333328</c:v>
                      </c:pt>
                      <c:pt idx="7473">
                        <c:v>45603.375</c:v>
                      </c:pt>
                      <c:pt idx="7474">
                        <c:v>45603.416666666672</c:v>
                      </c:pt>
                      <c:pt idx="7475">
                        <c:v>45603.458333333328</c:v>
                      </c:pt>
                      <c:pt idx="7476">
                        <c:v>45603.5</c:v>
                      </c:pt>
                      <c:pt idx="7477">
                        <c:v>45603.541666666672</c:v>
                      </c:pt>
                      <c:pt idx="7478">
                        <c:v>45603.583333333328</c:v>
                      </c:pt>
                      <c:pt idx="7479">
                        <c:v>45603.625</c:v>
                      </c:pt>
                      <c:pt idx="7480">
                        <c:v>45603.666666666672</c:v>
                      </c:pt>
                      <c:pt idx="7481">
                        <c:v>45603.708333333328</c:v>
                      </c:pt>
                      <c:pt idx="7482">
                        <c:v>45603.75</c:v>
                      </c:pt>
                      <c:pt idx="7483">
                        <c:v>45603.791666666672</c:v>
                      </c:pt>
                      <c:pt idx="7484">
                        <c:v>45603.833333333328</c:v>
                      </c:pt>
                      <c:pt idx="7485">
                        <c:v>45603.875</c:v>
                      </c:pt>
                      <c:pt idx="7486">
                        <c:v>45603.916666666672</c:v>
                      </c:pt>
                      <c:pt idx="7487">
                        <c:v>45603.958333333328</c:v>
                      </c:pt>
                      <c:pt idx="7488">
                        <c:v>45604</c:v>
                      </c:pt>
                      <c:pt idx="7489">
                        <c:v>45604.041666666672</c:v>
                      </c:pt>
                      <c:pt idx="7490">
                        <c:v>45604.083333333328</c:v>
                      </c:pt>
                      <c:pt idx="7491">
                        <c:v>45604.125</c:v>
                      </c:pt>
                      <c:pt idx="7492">
                        <c:v>45604.166666666672</c:v>
                      </c:pt>
                      <c:pt idx="7493">
                        <c:v>45604.208333333328</c:v>
                      </c:pt>
                      <c:pt idx="7494">
                        <c:v>45604.25</c:v>
                      </c:pt>
                      <c:pt idx="7495">
                        <c:v>45604.291666666672</c:v>
                      </c:pt>
                      <c:pt idx="7496">
                        <c:v>45604.333333333328</c:v>
                      </c:pt>
                      <c:pt idx="7497">
                        <c:v>45604.375</c:v>
                      </c:pt>
                      <c:pt idx="7498">
                        <c:v>45604.416666666672</c:v>
                      </c:pt>
                      <c:pt idx="7499">
                        <c:v>45604.458333333328</c:v>
                      </c:pt>
                      <c:pt idx="7500">
                        <c:v>45604.5</c:v>
                      </c:pt>
                      <c:pt idx="7501">
                        <c:v>45604.541666666672</c:v>
                      </c:pt>
                      <c:pt idx="7502">
                        <c:v>45604.583333333328</c:v>
                      </c:pt>
                      <c:pt idx="7503">
                        <c:v>45604.625</c:v>
                      </c:pt>
                      <c:pt idx="7504">
                        <c:v>45604.666666666672</c:v>
                      </c:pt>
                      <c:pt idx="7505">
                        <c:v>45604.708333333328</c:v>
                      </c:pt>
                      <c:pt idx="7506">
                        <c:v>45604.75</c:v>
                      </c:pt>
                      <c:pt idx="7507">
                        <c:v>45604.791666666672</c:v>
                      </c:pt>
                      <c:pt idx="7508">
                        <c:v>45604.833333333328</c:v>
                      </c:pt>
                      <c:pt idx="7509">
                        <c:v>45604.875</c:v>
                      </c:pt>
                      <c:pt idx="7510">
                        <c:v>45604.916666666672</c:v>
                      </c:pt>
                      <c:pt idx="7511">
                        <c:v>45604.958333333328</c:v>
                      </c:pt>
                      <c:pt idx="7512">
                        <c:v>45605</c:v>
                      </c:pt>
                      <c:pt idx="7513">
                        <c:v>45605.041666666672</c:v>
                      </c:pt>
                      <c:pt idx="7514">
                        <c:v>45605.083333333328</c:v>
                      </c:pt>
                      <c:pt idx="7515">
                        <c:v>45605.125</c:v>
                      </c:pt>
                      <c:pt idx="7516">
                        <c:v>45605.166666666672</c:v>
                      </c:pt>
                      <c:pt idx="7517">
                        <c:v>45605.208333333328</c:v>
                      </c:pt>
                      <c:pt idx="7518">
                        <c:v>45605.25</c:v>
                      </c:pt>
                      <c:pt idx="7519">
                        <c:v>45605.291666666672</c:v>
                      </c:pt>
                      <c:pt idx="7520">
                        <c:v>45605.333333333328</c:v>
                      </c:pt>
                      <c:pt idx="7521">
                        <c:v>45605.375</c:v>
                      </c:pt>
                      <c:pt idx="7522">
                        <c:v>45605.416666666672</c:v>
                      </c:pt>
                      <c:pt idx="7523">
                        <c:v>45605.458333333328</c:v>
                      </c:pt>
                      <c:pt idx="7524">
                        <c:v>45605.5</c:v>
                      </c:pt>
                      <c:pt idx="7525">
                        <c:v>45605.541666666672</c:v>
                      </c:pt>
                      <c:pt idx="7526">
                        <c:v>45605.583333333328</c:v>
                      </c:pt>
                      <c:pt idx="7527">
                        <c:v>45605.625</c:v>
                      </c:pt>
                      <c:pt idx="7528">
                        <c:v>45605.666666666672</c:v>
                      </c:pt>
                      <c:pt idx="7529">
                        <c:v>45605.708333333328</c:v>
                      </c:pt>
                      <c:pt idx="7530">
                        <c:v>45605.75</c:v>
                      </c:pt>
                      <c:pt idx="7531">
                        <c:v>45605.791666666672</c:v>
                      </c:pt>
                      <c:pt idx="7532">
                        <c:v>45605.833333333328</c:v>
                      </c:pt>
                      <c:pt idx="7533">
                        <c:v>45605.875</c:v>
                      </c:pt>
                      <c:pt idx="7534">
                        <c:v>45605.916666666672</c:v>
                      </c:pt>
                      <c:pt idx="7535">
                        <c:v>45605.958333333328</c:v>
                      </c:pt>
                      <c:pt idx="7536">
                        <c:v>45606</c:v>
                      </c:pt>
                      <c:pt idx="7537">
                        <c:v>45606.041666666672</c:v>
                      </c:pt>
                      <c:pt idx="7538">
                        <c:v>45606.083333333328</c:v>
                      </c:pt>
                      <c:pt idx="7539">
                        <c:v>45606.125</c:v>
                      </c:pt>
                      <c:pt idx="7540">
                        <c:v>45606.166666666672</c:v>
                      </c:pt>
                      <c:pt idx="7541">
                        <c:v>45606.208333333328</c:v>
                      </c:pt>
                      <c:pt idx="7542">
                        <c:v>45606.25</c:v>
                      </c:pt>
                      <c:pt idx="7543">
                        <c:v>45606.291666666672</c:v>
                      </c:pt>
                      <c:pt idx="7544">
                        <c:v>45606.333333333328</c:v>
                      </c:pt>
                      <c:pt idx="7545">
                        <c:v>45606.375</c:v>
                      </c:pt>
                      <c:pt idx="7546">
                        <c:v>45606.416666666672</c:v>
                      </c:pt>
                      <c:pt idx="7547">
                        <c:v>45606.458333333328</c:v>
                      </c:pt>
                      <c:pt idx="7548">
                        <c:v>45606.5</c:v>
                      </c:pt>
                      <c:pt idx="7549">
                        <c:v>45606.541666666672</c:v>
                      </c:pt>
                      <c:pt idx="7550">
                        <c:v>45606.583333333328</c:v>
                      </c:pt>
                      <c:pt idx="7551">
                        <c:v>45606.625</c:v>
                      </c:pt>
                      <c:pt idx="7552">
                        <c:v>45606.666666666672</c:v>
                      </c:pt>
                      <c:pt idx="7553">
                        <c:v>45606.708333333328</c:v>
                      </c:pt>
                      <c:pt idx="7554">
                        <c:v>45606.75</c:v>
                      </c:pt>
                      <c:pt idx="7555">
                        <c:v>45606.791666666672</c:v>
                      </c:pt>
                      <c:pt idx="7556">
                        <c:v>45606.833333333328</c:v>
                      </c:pt>
                      <c:pt idx="7557">
                        <c:v>45606.875</c:v>
                      </c:pt>
                      <c:pt idx="7558">
                        <c:v>45606.916666666672</c:v>
                      </c:pt>
                      <c:pt idx="7559">
                        <c:v>45606.958333333328</c:v>
                      </c:pt>
                      <c:pt idx="7560">
                        <c:v>45607</c:v>
                      </c:pt>
                      <c:pt idx="7561">
                        <c:v>45607.041666666672</c:v>
                      </c:pt>
                      <c:pt idx="7562">
                        <c:v>45607.083333333328</c:v>
                      </c:pt>
                      <c:pt idx="7563">
                        <c:v>45607.125</c:v>
                      </c:pt>
                      <c:pt idx="7564">
                        <c:v>45607.166666666672</c:v>
                      </c:pt>
                      <c:pt idx="7565">
                        <c:v>45607.208333333328</c:v>
                      </c:pt>
                      <c:pt idx="7566">
                        <c:v>45607.25</c:v>
                      </c:pt>
                      <c:pt idx="7567">
                        <c:v>45607.291666666672</c:v>
                      </c:pt>
                      <c:pt idx="7568">
                        <c:v>45607.333333333328</c:v>
                      </c:pt>
                      <c:pt idx="7569">
                        <c:v>45607.375</c:v>
                      </c:pt>
                      <c:pt idx="7570">
                        <c:v>45607.416666666672</c:v>
                      </c:pt>
                      <c:pt idx="7571">
                        <c:v>45607.458333333328</c:v>
                      </c:pt>
                      <c:pt idx="7572">
                        <c:v>45607.5</c:v>
                      </c:pt>
                      <c:pt idx="7573">
                        <c:v>45607.541666666672</c:v>
                      </c:pt>
                      <c:pt idx="7574">
                        <c:v>45607.583333333328</c:v>
                      </c:pt>
                      <c:pt idx="7575">
                        <c:v>45607.625</c:v>
                      </c:pt>
                      <c:pt idx="7576">
                        <c:v>45607.666666666672</c:v>
                      </c:pt>
                      <c:pt idx="7577">
                        <c:v>45607.708333333328</c:v>
                      </c:pt>
                      <c:pt idx="7578">
                        <c:v>45607.75</c:v>
                      </c:pt>
                      <c:pt idx="7579">
                        <c:v>45607.791666666672</c:v>
                      </c:pt>
                      <c:pt idx="7580">
                        <c:v>45607.833333333328</c:v>
                      </c:pt>
                      <c:pt idx="7581">
                        <c:v>45607.875</c:v>
                      </c:pt>
                      <c:pt idx="7582">
                        <c:v>45607.916666666672</c:v>
                      </c:pt>
                      <c:pt idx="7583">
                        <c:v>45607.958333333328</c:v>
                      </c:pt>
                      <c:pt idx="7584">
                        <c:v>45608</c:v>
                      </c:pt>
                      <c:pt idx="7585">
                        <c:v>45608.041666666672</c:v>
                      </c:pt>
                      <c:pt idx="7586">
                        <c:v>45608.083333333328</c:v>
                      </c:pt>
                      <c:pt idx="7587">
                        <c:v>45608.125</c:v>
                      </c:pt>
                      <c:pt idx="7588">
                        <c:v>45608.166666666672</c:v>
                      </c:pt>
                      <c:pt idx="7589">
                        <c:v>45608.208333333328</c:v>
                      </c:pt>
                      <c:pt idx="7590">
                        <c:v>45608.25</c:v>
                      </c:pt>
                      <c:pt idx="7591">
                        <c:v>45608.291666666672</c:v>
                      </c:pt>
                      <c:pt idx="7592">
                        <c:v>45608.333333333328</c:v>
                      </c:pt>
                      <c:pt idx="7593">
                        <c:v>45608.375</c:v>
                      </c:pt>
                      <c:pt idx="7594">
                        <c:v>45608.416666666672</c:v>
                      </c:pt>
                      <c:pt idx="7595">
                        <c:v>45608.458333333328</c:v>
                      </c:pt>
                      <c:pt idx="7596">
                        <c:v>45608.5</c:v>
                      </c:pt>
                      <c:pt idx="7597">
                        <c:v>45608.541666666672</c:v>
                      </c:pt>
                      <c:pt idx="7598">
                        <c:v>45608.583333333328</c:v>
                      </c:pt>
                      <c:pt idx="7599">
                        <c:v>45608.625</c:v>
                      </c:pt>
                      <c:pt idx="7600">
                        <c:v>45608.666666666672</c:v>
                      </c:pt>
                      <c:pt idx="7601">
                        <c:v>45608.708333333328</c:v>
                      </c:pt>
                      <c:pt idx="7602">
                        <c:v>45608.75</c:v>
                      </c:pt>
                      <c:pt idx="7603">
                        <c:v>45608.791666666672</c:v>
                      </c:pt>
                      <c:pt idx="7604">
                        <c:v>45608.833333333328</c:v>
                      </c:pt>
                      <c:pt idx="7605">
                        <c:v>45608.875</c:v>
                      </c:pt>
                      <c:pt idx="7606">
                        <c:v>45608.916666666672</c:v>
                      </c:pt>
                      <c:pt idx="7607">
                        <c:v>45608.958333333328</c:v>
                      </c:pt>
                      <c:pt idx="7608">
                        <c:v>45609</c:v>
                      </c:pt>
                      <c:pt idx="7609">
                        <c:v>45609.041666666672</c:v>
                      </c:pt>
                      <c:pt idx="7610">
                        <c:v>45609.083333333328</c:v>
                      </c:pt>
                      <c:pt idx="7611">
                        <c:v>45609.125</c:v>
                      </c:pt>
                      <c:pt idx="7612">
                        <c:v>45609.166666666672</c:v>
                      </c:pt>
                      <c:pt idx="7613">
                        <c:v>45609.208333333328</c:v>
                      </c:pt>
                      <c:pt idx="7614">
                        <c:v>45609.25</c:v>
                      </c:pt>
                      <c:pt idx="7615">
                        <c:v>45609.291666666672</c:v>
                      </c:pt>
                      <c:pt idx="7616">
                        <c:v>45609.333333333328</c:v>
                      </c:pt>
                      <c:pt idx="7617">
                        <c:v>45609.375</c:v>
                      </c:pt>
                      <c:pt idx="7618">
                        <c:v>45609.416666666672</c:v>
                      </c:pt>
                      <c:pt idx="7619">
                        <c:v>45609.458333333328</c:v>
                      </c:pt>
                      <c:pt idx="7620">
                        <c:v>45609.5</c:v>
                      </c:pt>
                      <c:pt idx="7621">
                        <c:v>45609.541666666672</c:v>
                      </c:pt>
                      <c:pt idx="7622">
                        <c:v>45609.583333333328</c:v>
                      </c:pt>
                      <c:pt idx="7623">
                        <c:v>45609.625</c:v>
                      </c:pt>
                      <c:pt idx="7624">
                        <c:v>45609.666666666672</c:v>
                      </c:pt>
                      <c:pt idx="7625">
                        <c:v>45609.708333333328</c:v>
                      </c:pt>
                      <c:pt idx="7626">
                        <c:v>45609.75</c:v>
                      </c:pt>
                      <c:pt idx="7627">
                        <c:v>45609.791666666672</c:v>
                      </c:pt>
                      <c:pt idx="7628">
                        <c:v>45609.833333333328</c:v>
                      </c:pt>
                      <c:pt idx="7629">
                        <c:v>45609.875</c:v>
                      </c:pt>
                      <c:pt idx="7630">
                        <c:v>45609.916666666672</c:v>
                      </c:pt>
                      <c:pt idx="7631">
                        <c:v>45609.958333333328</c:v>
                      </c:pt>
                      <c:pt idx="7632">
                        <c:v>45610</c:v>
                      </c:pt>
                      <c:pt idx="7633">
                        <c:v>45610.041666666672</c:v>
                      </c:pt>
                      <c:pt idx="7634">
                        <c:v>45610.083333333328</c:v>
                      </c:pt>
                      <c:pt idx="7635">
                        <c:v>45610.125</c:v>
                      </c:pt>
                      <c:pt idx="7636">
                        <c:v>45610.166666666672</c:v>
                      </c:pt>
                      <c:pt idx="7637">
                        <c:v>45610.208333333328</c:v>
                      </c:pt>
                      <c:pt idx="7638">
                        <c:v>45610.25</c:v>
                      </c:pt>
                      <c:pt idx="7639">
                        <c:v>45610.291666666672</c:v>
                      </c:pt>
                      <c:pt idx="7640">
                        <c:v>45610.333333333328</c:v>
                      </c:pt>
                      <c:pt idx="7641">
                        <c:v>45610.375</c:v>
                      </c:pt>
                      <c:pt idx="7642">
                        <c:v>45610.416666666672</c:v>
                      </c:pt>
                      <c:pt idx="7643">
                        <c:v>45610.458333333328</c:v>
                      </c:pt>
                      <c:pt idx="7644">
                        <c:v>45610.5</c:v>
                      </c:pt>
                      <c:pt idx="7645">
                        <c:v>45610.541666666672</c:v>
                      </c:pt>
                      <c:pt idx="7646">
                        <c:v>45610.583333333328</c:v>
                      </c:pt>
                      <c:pt idx="7647">
                        <c:v>45610.625</c:v>
                      </c:pt>
                      <c:pt idx="7648">
                        <c:v>45610.666666666672</c:v>
                      </c:pt>
                      <c:pt idx="7649">
                        <c:v>45610.708333333328</c:v>
                      </c:pt>
                      <c:pt idx="7650">
                        <c:v>45610.75</c:v>
                      </c:pt>
                      <c:pt idx="7651">
                        <c:v>45610.791666666672</c:v>
                      </c:pt>
                      <c:pt idx="7652">
                        <c:v>45610.833333333328</c:v>
                      </c:pt>
                      <c:pt idx="7653">
                        <c:v>45610.875</c:v>
                      </c:pt>
                      <c:pt idx="7654">
                        <c:v>45610.916666666672</c:v>
                      </c:pt>
                      <c:pt idx="7655">
                        <c:v>45610.958333333328</c:v>
                      </c:pt>
                      <c:pt idx="7656">
                        <c:v>45611</c:v>
                      </c:pt>
                      <c:pt idx="7657">
                        <c:v>45611.041666666672</c:v>
                      </c:pt>
                      <c:pt idx="7658">
                        <c:v>45611.083333333328</c:v>
                      </c:pt>
                      <c:pt idx="7659">
                        <c:v>45611.125</c:v>
                      </c:pt>
                      <c:pt idx="7660">
                        <c:v>45611.166666666672</c:v>
                      </c:pt>
                      <c:pt idx="7661">
                        <c:v>45611.208333333328</c:v>
                      </c:pt>
                      <c:pt idx="7662">
                        <c:v>45611.25</c:v>
                      </c:pt>
                      <c:pt idx="7663">
                        <c:v>45611.291666666672</c:v>
                      </c:pt>
                      <c:pt idx="7664">
                        <c:v>45611.333333333328</c:v>
                      </c:pt>
                      <c:pt idx="7665">
                        <c:v>45611.375</c:v>
                      </c:pt>
                      <c:pt idx="7666">
                        <c:v>45611.416666666672</c:v>
                      </c:pt>
                      <c:pt idx="7667">
                        <c:v>45611.458333333328</c:v>
                      </c:pt>
                      <c:pt idx="7668">
                        <c:v>45611.5</c:v>
                      </c:pt>
                      <c:pt idx="7669">
                        <c:v>45611.541666666672</c:v>
                      </c:pt>
                      <c:pt idx="7670">
                        <c:v>45611.583333333328</c:v>
                      </c:pt>
                      <c:pt idx="7671">
                        <c:v>45611.625</c:v>
                      </c:pt>
                      <c:pt idx="7672">
                        <c:v>45611.666666666672</c:v>
                      </c:pt>
                      <c:pt idx="7673">
                        <c:v>45611.708333333328</c:v>
                      </c:pt>
                      <c:pt idx="7674">
                        <c:v>45611.75</c:v>
                      </c:pt>
                      <c:pt idx="7675">
                        <c:v>45611.791666666672</c:v>
                      </c:pt>
                      <c:pt idx="7676">
                        <c:v>45611.833333333328</c:v>
                      </c:pt>
                      <c:pt idx="7677">
                        <c:v>45611.875</c:v>
                      </c:pt>
                      <c:pt idx="7678">
                        <c:v>45611.916666666672</c:v>
                      </c:pt>
                      <c:pt idx="7679">
                        <c:v>45611.958333333328</c:v>
                      </c:pt>
                      <c:pt idx="7680">
                        <c:v>45612</c:v>
                      </c:pt>
                      <c:pt idx="7681">
                        <c:v>45612.041666666672</c:v>
                      </c:pt>
                      <c:pt idx="7682">
                        <c:v>45612.083333333328</c:v>
                      </c:pt>
                      <c:pt idx="7683">
                        <c:v>45612.125</c:v>
                      </c:pt>
                      <c:pt idx="7684">
                        <c:v>45612.166666666672</c:v>
                      </c:pt>
                      <c:pt idx="7685">
                        <c:v>45612.208333333328</c:v>
                      </c:pt>
                      <c:pt idx="7686">
                        <c:v>45612.25</c:v>
                      </c:pt>
                      <c:pt idx="7687">
                        <c:v>45612.291666666672</c:v>
                      </c:pt>
                      <c:pt idx="7688">
                        <c:v>45612.333333333328</c:v>
                      </c:pt>
                      <c:pt idx="7689">
                        <c:v>45612.375</c:v>
                      </c:pt>
                      <c:pt idx="7690">
                        <c:v>45612.416666666672</c:v>
                      </c:pt>
                      <c:pt idx="7691">
                        <c:v>45612.458333333328</c:v>
                      </c:pt>
                      <c:pt idx="7692">
                        <c:v>45612.5</c:v>
                      </c:pt>
                      <c:pt idx="7693">
                        <c:v>45612.541666666672</c:v>
                      </c:pt>
                      <c:pt idx="7694">
                        <c:v>45612.583333333328</c:v>
                      </c:pt>
                      <c:pt idx="7695">
                        <c:v>45612.625</c:v>
                      </c:pt>
                      <c:pt idx="7696">
                        <c:v>45612.666666666672</c:v>
                      </c:pt>
                      <c:pt idx="7697">
                        <c:v>45612.708333333328</c:v>
                      </c:pt>
                      <c:pt idx="7698">
                        <c:v>45612.75</c:v>
                      </c:pt>
                      <c:pt idx="7699">
                        <c:v>45612.791666666672</c:v>
                      </c:pt>
                      <c:pt idx="7700">
                        <c:v>45612.833333333328</c:v>
                      </c:pt>
                      <c:pt idx="7701">
                        <c:v>45612.875</c:v>
                      </c:pt>
                      <c:pt idx="7702">
                        <c:v>45612.916666666672</c:v>
                      </c:pt>
                      <c:pt idx="7703">
                        <c:v>45612.958333333328</c:v>
                      </c:pt>
                      <c:pt idx="7704">
                        <c:v>45613</c:v>
                      </c:pt>
                      <c:pt idx="7705">
                        <c:v>45613.041666666672</c:v>
                      </c:pt>
                      <c:pt idx="7706">
                        <c:v>45613.083333333328</c:v>
                      </c:pt>
                      <c:pt idx="7707">
                        <c:v>45613.125</c:v>
                      </c:pt>
                      <c:pt idx="7708">
                        <c:v>45613.166666666672</c:v>
                      </c:pt>
                      <c:pt idx="7709">
                        <c:v>45613.208333333328</c:v>
                      </c:pt>
                      <c:pt idx="7710">
                        <c:v>45613.25</c:v>
                      </c:pt>
                      <c:pt idx="7711">
                        <c:v>45613.291666666672</c:v>
                      </c:pt>
                      <c:pt idx="7712">
                        <c:v>45613.333333333328</c:v>
                      </c:pt>
                      <c:pt idx="7713">
                        <c:v>45613.375</c:v>
                      </c:pt>
                      <c:pt idx="7714">
                        <c:v>45613.416666666672</c:v>
                      </c:pt>
                      <c:pt idx="7715">
                        <c:v>45613.458333333328</c:v>
                      </c:pt>
                      <c:pt idx="7716">
                        <c:v>45613.5</c:v>
                      </c:pt>
                      <c:pt idx="7717">
                        <c:v>45613.541666666672</c:v>
                      </c:pt>
                      <c:pt idx="7718">
                        <c:v>45613.583333333328</c:v>
                      </c:pt>
                      <c:pt idx="7719">
                        <c:v>45613.625</c:v>
                      </c:pt>
                      <c:pt idx="7720">
                        <c:v>45613.666666666672</c:v>
                      </c:pt>
                      <c:pt idx="7721">
                        <c:v>45613.708333333328</c:v>
                      </c:pt>
                      <c:pt idx="7722">
                        <c:v>45613.75</c:v>
                      </c:pt>
                      <c:pt idx="7723">
                        <c:v>45613.791666666672</c:v>
                      </c:pt>
                      <c:pt idx="7724">
                        <c:v>45613.833333333328</c:v>
                      </c:pt>
                      <c:pt idx="7725">
                        <c:v>45613.875</c:v>
                      </c:pt>
                      <c:pt idx="7726">
                        <c:v>45613.916666666672</c:v>
                      </c:pt>
                      <c:pt idx="7727">
                        <c:v>45613.958333333328</c:v>
                      </c:pt>
                      <c:pt idx="7728">
                        <c:v>45614</c:v>
                      </c:pt>
                      <c:pt idx="7729">
                        <c:v>45614.041666666672</c:v>
                      </c:pt>
                      <c:pt idx="7730">
                        <c:v>45614.083333333328</c:v>
                      </c:pt>
                      <c:pt idx="7731">
                        <c:v>45614.125</c:v>
                      </c:pt>
                      <c:pt idx="7732">
                        <c:v>45614.166666666672</c:v>
                      </c:pt>
                      <c:pt idx="7733">
                        <c:v>45614.208333333328</c:v>
                      </c:pt>
                      <c:pt idx="7734">
                        <c:v>45614.25</c:v>
                      </c:pt>
                      <c:pt idx="7735">
                        <c:v>45614.291666666672</c:v>
                      </c:pt>
                      <c:pt idx="7736">
                        <c:v>45614.333333333328</c:v>
                      </c:pt>
                      <c:pt idx="7737">
                        <c:v>45614.375</c:v>
                      </c:pt>
                      <c:pt idx="7738">
                        <c:v>45614.416666666672</c:v>
                      </c:pt>
                      <c:pt idx="7739">
                        <c:v>45614.458333333328</c:v>
                      </c:pt>
                      <c:pt idx="7740">
                        <c:v>45614.5</c:v>
                      </c:pt>
                      <c:pt idx="7741">
                        <c:v>45614.541666666672</c:v>
                      </c:pt>
                      <c:pt idx="7742">
                        <c:v>45614.583333333328</c:v>
                      </c:pt>
                      <c:pt idx="7743">
                        <c:v>45614.625</c:v>
                      </c:pt>
                      <c:pt idx="7744">
                        <c:v>45614.666666666672</c:v>
                      </c:pt>
                      <c:pt idx="7745">
                        <c:v>45614.708333333328</c:v>
                      </c:pt>
                      <c:pt idx="7746">
                        <c:v>45614.75</c:v>
                      </c:pt>
                      <c:pt idx="7747">
                        <c:v>45614.791666666672</c:v>
                      </c:pt>
                      <c:pt idx="7748">
                        <c:v>45614.833333333328</c:v>
                      </c:pt>
                      <c:pt idx="7749">
                        <c:v>45614.875</c:v>
                      </c:pt>
                      <c:pt idx="7750">
                        <c:v>45614.916666666672</c:v>
                      </c:pt>
                      <c:pt idx="7751">
                        <c:v>45614.958333333328</c:v>
                      </c:pt>
                      <c:pt idx="7752">
                        <c:v>45615</c:v>
                      </c:pt>
                      <c:pt idx="7753">
                        <c:v>45615.041666666672</c:v>
                      </c:pt>
                      <c:pt idx="7754">
                        <c:v>45615.083333333328</c:v>
                      </c:pt>
                      <c:pt idx="7755">
                        <c:v>45615.125</c:v>
                      </c:pt>
                      <c:pt idx="7756">
                        <c:v>45615.166666666672</c:v>
                      </c:pt>
                      <c:pt idx="7757">
                        <c:v>45615.208333333328</c:v>
                      </c:pt>
                      <c:pt idx="7758">
                        <c:v>45615.25</c:v>
                      </c:pt>
                      <c:pt idx="7759">
                        <c:v>45615.291666666672</c:v>
                      </c:pt>
                      <c:pt idx="7760">
                        <c:v>45615.333333333328</c:v>
                      </c:pt>
                      <c:pt idx="7761">
                        <c:v>45615.375</c:v>
                      </c:pt>
                      <c:pt idx="7762">
                        <c:v>45615.416666666672</c:v>
                      </c:pt>
                      <c:pt idx="7763">
                        <c:v>45615.458333333328</c:v>
                      </c:pt>
                      <c:pt idx="7764">
                        <c:v>45615.5</c:v>
                      </c:pt>
                      <c:pt idx="7765">
                        <c:v>45615.541666666672</c:v>
                      </c:pt>
                      <c:pt idx="7766">
                        <c:v>45615.583333333328</c:v>
                      </c:pt>
                      <c:pt idx="7767">
                        <c:v>45615.625</c:v>
                      </c:pt>
                      <c:pt idx="7768">
                        <c:v>45615.666666666672</c:v>
                      </c:pt>
                      <c:pt idx="7769">
                        <c:v>45615.708333333328</c:v>
                      </c:pt>
                      <c:pt idx="7770">
                        <c:v>45615.75</c:v>
                      </c:pt>
                      <c:pt idx="7771">
                        <c:v>45615.791666666672</c:v>
                      </c:pt>
                      <c:pt idx="7772">
                        <c:v>45615.833333333328</c:v>
                      </c:pt>
                      <c:pt idx="7773">
                        <c:v>45615.875</c:v>
                      </c:pt>
                      <c:pt idx="7774">
                        <c:v>45615.916666666672</c:v>
                      </c:pt>
                      <c:pt idx="7775">
                        <c:v>45615.958333333328</c:v>
                      </c:pt>
                      <c:pt idx="7776">
                        <c:v>45616</c:v>
                      </c:pt>
                      <c:pt idx="7777">
                        <c:v>45616.041666666672</c:v>
                      </c:pt>
                      <c:pt idx="7778">
                        <c:v>45616.083333333328</c:v>
                      </c:pt>
                      <c:pt idx="7779">
                        <c:v>45616.125</c:v>
                      </c:pt>
                      <c:pt idx="7780">
                        <c:v>45616.166666666672</c:v>
                      </c:pt>
                      <c:pt idx="7781">
                        <c:v>45616.208333333328</c:v>
                      </c:pt>
                      <c:pt idx="7782">
                        <c:v>45616.25</c:v>
                      </c:pt>
                      <c:pt idx="7783">
                        <c:v>45616.291666666672</c:v>
                      </c:pt>
                      <c:pt idx="7784">
                        <c:v>45616.333333333328</c:v>
                      </c:pt>
                      <c:pt idx="7785">
                        <c:v>45616.375</c:v>
                      </c:pt>
                      <c:pt idx="7786">
                        <c:v>45616.416666666672</c:v>
                      </c:pt>
                      <c:pt idx="7787">
                        <c:v>45616.458333333328</c:v>
                      </c:pt>
                      <c:pt idx="7788">
                        <c:v>45616.5</c:v>
                      </c:pt>
                      <c:pt idx="7789">
                        <c:v>45616.541666666672</c:v>
                      </c:pt>
                      <c:pt idx="7790">
                        <c:v>45616.583333333328</c:v>
                      </c:pt>
                      <c:pt idx="7791">
                        <c:v>45616.625</c:v>
                      </c:pt>
                      <c:pt idx="7792">
                        <c:v>45616.666666666672</c:v>
                      </c:pt>
                      <c:pt idx="7793">
                        <c:v>45616.708333333328</c:v>
                      </c:pt>
                      <c:pt idx="7794">
                        <c:v>45616.75</c:v>
                      </c:pt>
                      <c:pt idx="7795">
                        <c:v>45616.791666666672</c:v>
                      </c:pt>
                      <c:pt idx="7796">
                        <c:v>45616.833333333328</c:v>
                      </c:pt>
                      <c:pt idx="7797">
                        <c:v>45616.875</c:v>
                      </c:pt>
                      <c:pt idx="7798">
                        <c:v>45616.916666666672</c:v>
                      </c:pt>
                      <c:pt idx="7799">
                        <c:v>45616.958333333328</c:v>
                      </c:pt>
                      <c:pt idx="7800">
                        <c:v>45617</c:v>
                      </c:pt>
                      <c:pt idx="7801">
                        <c:v>45617.041666666672</c:v>
                      </c:pt>
                      <c:pt idx="7802">
                        <c:v>45617.083333333328</c:v>
                      </c:pt>
                      <c:pt idx="7803">
                        <c:v>45617.125</c:v>
                      </c:pt>
                      <c:pt idx="7804">
                        <c:v>45617.166666666672</c:v>
                      </c:pt>
                      <c:pt idx="7805">
                        <c:v>45617.208333333328</c:v>
                      </c:pt>
                      <c:pt idx="7806">
                        <c:v>45617.25</c:v>
                      </c:pt>
                      <c:pt idx="7807">
                        <c:v>45617.291666666672</c:v>
                      </c:pt>
                      <c:pt idx="7808">
                        <c:v>45617.333333333328</c:v>
                      </c:pt>
                      <c:pt idx="7809">
                        <c:v>45617.375</c:v>
                      </c:pt>
                      <c:pt idx="7810">
                        <c:v>45617.416666666672</c:v>
                      </c:pt>
                      <c:pt idx="7811">
                        <c:v>45617.458333333328</c:v>
                      </c:pt>
                      <c:pt idx="7812">
                        <c:v>45617.5</c:v>
                      </c:pt>
                      <c:pt idx="7813">
                        <c:v>45617.541666666672</c:v>
                      </c:pt>
                      <c:pt idx="7814">
                        <c:v>45617.583333333328</c:v>
                      </c:pt>
                      <c:pt idx="7815">
                        <c:v>45617.625</c:v>
                      </c:pt>
                      <c:pt idx="7816">
                        <c:v>45617.666666666672</c:v>
                      </c:pt>
                      <c:pt idx="7817">
                        <c:v>45617.708333333328</c:v>
                      </c:pt>
                      <c:pt idx="7818">
                        <c:v>45617.75</c:v>
                      </c:pt>
                      <c:pt idx="7819">
                        <c:v>45617.791666666672</c:v>
                      </c:pt>
                      <c:pt idx="7820">
                        <c:v>45617.833333333328</c:v>
                      </c:pt>
                      <c:pt idx="7821">
                        <c:v>45617.875</c:v>
                      </c:pt>
                      <c:pt idx="7822">
                        <c:v>45617.916666666672</c:v>
                      </c:pt>
                      <c:pt idx="7823">
                        <c:v>45617.958333333328</c:v>
                      </c:pt>
                      <c:pt idx="7824">
                        <c:v>45618</c:v>
                      </c:pt>
                      <c:pt idx="7825">
                        <c:v>45618.041666666672</c:v>
                      </c:pt>
                      <c:pt idx="7826">
                        <c:v>45618.083333333328</c:v>
                      </c:pt>
                      <c:pt idx="7827">
                        <c:v>45618.125</c:v>
                      </c:pt>
                      <c:pt idx="7828">
                        <c:v>45618.166666666672</c:v>
                      </c:pt>
                      <c:pt idx="7829">
                        <c:v>45618.208333333328</c:v>
                      </c:pt>
                      <c:pt idx="7830">
                        <c:v>45618.25</c:v>
                      </c:pt>
                      <c:pt idx="7831">
                        <c:v>45618.291666666672</c:v>
                      </c:pt>
                      <c:pt idx="7832">
                        <c:v>45618.333333333328</c:v>
                      </c:pt>
                      <c:pt idx="7833">
                        <c:v>45618.375</c:v>
                      </c:pt>
                      <c:pt idx="7834">
                        <c:v>45618.416666666672</c:v>
                      </c:pt>
                      <c:pt idx="7835">
                        <c:v>45618.458333333328</c:v>
                      </c:pt>
                      <c:pt idx="7836">
                        <c:v>45618.5</c:v>
                      </c:pt>
                      <c:pt idx="7837">
                        <c:v>45618.541666666672</c:v>
                      </c:pt>
                      <c:pt idx="7838">
                        <c:v>45618.583333333328</c:v>
                      </c:pt>
                      <c:pt idx="7839">
                        <c:v>45618.625</c:v>
                      </c:pt>
                      <c:pt idx="7840">
                        <c:v>45618.666666666672</c:v>
                      </c:pt>
                      <c:pt idx="7841">
                        <c:v>45618.708333333328</c:v>
                      </c:pt>
                      <c:pt idx="7842">
                        <c:v>45618.75</c:v>
                      </c:pt>
                      <c:pt idx="7843">
                        <c:v>45618.791666666672</c:v>
                      </c:pt>
                      <c:pt idx="7844">
                        <c:v>45618.833333333328</c:v>
                      </c:pt>
                      <c:pt idx="7845">
                        <c:v>45618.875</c:v>
                      </c:pt>
                      <c:pt idx="7846">
                        <c:v>45618.916666666672</c:v>
                      </c:pt>
                      <c:pt idx="7847">
                        <c:v>45618.958333333328</c:v>
                      </c:pt>
                      <c:pt idx="7848">
                        <c:v>45619</c:v>
                      </c:pt>
                      <c:pt idx="7849">
                        <c:v>45619.041666666672</c:v>
                      </c:pt>
                      <c:pt idx="7850">
                        <c:v>45619.083333333328</c:v>
                      </c:pt>
                      <c:pt idx="7851">
                        <c:v>45619.125</c:v>
                      </c:pt>
                      <c:pt idx="7852">
                        <c:v>45619.166666666672</c:v>
                      </c:pt>
                      <c:pt idx="7853">
                        <c:v>45619.208333333328</c:v>
                      </c:pt>
                      <c:pt idx="7854">
                        <c:v>45619.25</c:v>
                      </c:pt>
                      <c:pt idx="7855">
                        <c:v>45619.291666666672</c:v>
                      </c:pt>
                      <c:pt idx="7856">
                        <c:v>45619.333333333328</c:v>
                      </c:pt>
                      <c:pt idx="7857">
                        <c:v>45619.375</c:v>
                      </c:pt>
                      <c:pt idx="7858">
                        <c:v>45619.416666666672</c:v>
                      </c:pt>
                      <c:pt idx="7859">
                        <c:v>45619.458333333328</c:v>
                      </c:pt>
                      <c:pt idx="7860">
                        <c:v>45619.5</c:v>
                      </c:pt>
                      <c:pt idx="7861">
                        <c:v>45619.541666666672</c:v>
                      </c:pt>
                      <c:pt idx="7862">
                        <c:v>45619.583333333328</c:v>
                      </c:pt>
                      <c:pt idx="7863">
                        <c:v>45619.625</c:v>
                      </c:pt>
                      <c:pt idx="7864">
                        <c:v>45619.666666666672</c:v>
                      </c:pt>
                      <c:pt idx="7865">
                        <c:v>45619.708333333328</c:v>
                      </c:pt>
                      <c:pt idx="7866">
                        <c:v>45619.75</c:v>
                      </c:pt>
                      <c:pt idx="7867">
                        <c:v>45619.791666666672</c:v>
                      </c:pt>
                      <c:pt idx="7868">
                        <c:v>45619.833333333328</c:v>
                      </c:pt>
                      <c:pt idx="7869">
                        <c:v>45619.875</c:v>
                      </c:pt>
                      <c:pt idx="7870">
                        <c:v>45619.916666666672</c:v>
                      </c:pt>
                      <c:pt idx="7871">
                        <c:v>45619.958333333328</c:v>
                      </c:pt>
                      <c:pt idx="7872">
                        <c:v>45620</c:v>
                      </c:pt>
                      <c:pt idx="7873">
                        <c:v>45620.041666666672</c:v>
                      </c:pt>
                      <c:pt idx="7874">
                        <c:v>45620.083333333328</c:v>
                      </c:pt>
                      <c:pt idx="7875">
                        <c:v>45620.125</c:v>
                      </c:pt>
                      <c:pt idx="7876">
                        <c:v>45620.166666666672</c:v>
                      </c:pt>
                      <c:pt idx="7877">
                        <c:v>45620.208333333328</c:v>
                      </c:pt>
                      <c:pt idx="7878">
                        <c:v>45620.25</c:v>
                      </c:pt>
                      <c:pt idx="7879">
                        <c:v>45620.291666666672</c:v>
                      </c:pt>
                      <c:pt idx="7880">
                        <c:v>45620.333333333328</c:v>
                      </c:pt>
                      <c:pt idx="7881">
                        <c:v>45620.375</c:v>
                      </c:pt>
                      <c:pt idx="7882">
                        <c:v>45620.416666666672</c:v>
                      </c:pt>
                      <c:pt idx="7883">
                        <c:v>45620.458333333328</c:v>
                      </c:pt>
                      <c:pt idx="7884">
                        <c:v>45620.5</c:v>
                      </c:pt>
                      <c:pt idx="7885">
                        <c:v>45620.541666666672</c:v>
                      </c:pt>
                      <c:pt idx="7886">
                        <c:v>45620.583333333328</c:v>
                      </c:pt>
                      <c:pt idx="7887">
                        <c:v>45620.625</c:v>
                      </c:pt>
                      <c:pt idx="7888">
                        <c:v>45620.666666666672</c:v>
                      </c:pt>
                      <c:pt idx="7889">
                        <c:v>45620.708333333328</c:v>
                      </c:pt>
                      <c:pt idx="7890">
                        <c:v>45620.75</c:v>
                      </c:pt>
                      <c:pt idx="7891">
                        <c:v>45620.791666666672</c:v>
                      </c:pt>
                      <c:pt idx="7892">
                        <c:v>45620.833333333328</c:v>
                      </c:pt>
                      <c:pt idx="7893">
                        <c:v>45620.875</c:v>
                      </c:pt>
                      <c:pt idx="7894">
                        <c:v>45620.916666666672</c:v>
                      </c:pt>
                      <c:pt idx="7895">
                        <c:v>45620.958333333328</c:v>
                      </c:pt>
                      <c:pt idx="7896">
                        <c:v>45621</c:v>
                      </c:pt>
                      <c:pt idx="7897">
                        <c:v>45621.041666666672</c:v>
                      </c:pt>
                      <c:pt idx="7898">
                        <c:v>45621.083333333328</c:v>
                      </c:pt>
                      <c:pt idx="7899">
                        <c:v>45621.125</c:v>
                      </c:pt>
                      <c:pt idx="7900">
                        <c:v>45621.166666666672</c:v>
                      </c:pt>
                      <c:pt idx="7901">
                        <c:v>45621.208333333328</c:v>
                      </c:pt>
                      <c:pt idx="7902">
                        <c:v>45621.25</c:v>
                      </c:pt>
                      <c:pt idx="7903">
                        <c:v>45621.291666666672</c:v>
                      </c:pt>
                      <c:pt idx="7904">
                        <c:v>45621.333333333328</c:v>
                      </c:pt>
                      <c:pt idx="7905">
                        <c:v>45621.375</c:v>
                      </c:pt>
                      <c:pt idx="7906">
                        <c:v>45621.416666666672</c:v>
                      </c:pt>
                      <c:pt idx="7907">
                        <c:v>45621.458333333328</c:v>
                      </c:pt>
                      <c:pt idx="7908">
                        <c:v>45621.5</c:v>
                      </c:pt>
                      <c:pt idx="7909">
                        <c:v>45621.541666666672</c:v>
                      </c:pt>
                      <c:pt idx="7910">
                        <c:v>45621.583333333328</c:v>
                      </c:pt>
                      <c:pt idx="7911">
                        <c:v>45621.625</c:v>
                      </c:pt>
                      <c:pt idx="7912">
                        <c:v>45621.666666666672</c:v>
                      </c:pt>
                      <c:pt idx="7913">
                        <c:v>45621.708333333328</c:v>
                      </c:pt>
                      <c:pt idx="7914">
                        <c:v>45621.75</c:v>
                      </c:pt>
                      <c:pt idx="7915">
                        <c:v>45621.791666666672</c:v>
                      </c:pt>
                      <c:pt idx="7916">
                        <c:v>45621.833333333328</c:v>
                      </c:pt>
                      <c:pt idx="7917">
                        <c:v>45621.875</c:v>
                      </c:pt>
                      <c:pt idx="7918">
                        <c:v>45621.916666666672</c:v>
                      </c:pt>
                      <c:pt idx="7919">
                        <c:v>45621.958333333328</c:v>
                      </c:pt>
                      <c:pt idx="7920">
                        <c:v>45622</c:v>
                      </c:pt>
                      <c:pt idx="7921">
                        <c:v>45622.041666666672</c:v>
                      </c:pt>
                      <c:pt idx="7922">
                        <c:v>45622.083333333328</c:v>
                      </c:pt>
                      <c:pt idx="7923">
                        <c:v>45622.125</c:v>
                      </c:pt>
                      <c:pt idx="7924">
                        <c:v>45622.166666666672</c:v>
                      </c:pt>
                      <c:pt idx="7925">
                        <c:v>45622.208333333328</c:v>
                      </c:pt>
                      <c:pt idx="7926">
                        <c:v>45622.25</c:v>
                      </c:pt>
                      <c:pt idx="7927">
                        <c:v>45622.291666666672</c:v>
                      </c:pt>
                      <c:pt idx="7928">
                        <c:v>45622.333333333328</c:v>
                      </c:pt>
                      <c:pt idx="7929">
                        <c:v>45622.375</c:v>
                      </c:pt>
                      <c:pt idx="7930">
                        <c:v>45622.416666666672</c:v>
                      </c:pt>
                      <c:pt idx="7931">
                        <c:v>45622.458333333328</c:v>
                      </c:pt>
                      <c:pt idx="7932">
                        <c:v>45622.5</c:v>
                      </c:pt>
                      <c:pt idx="7933">
                        <c:v>45622.541666666672</c:v>
                      </c:pt>
                      <c:pt idx="7934">
                        <c:v>45622.583333333328</c:v>
                      </c:pt>
                      <c:pt idx="7935">
                        <c:v>45622.625</c:v>
                      </c:pt>
                      <c:pt idx="7936">
                        <c:v>45622.666666666672</c:v>
                      </c:pt>
                      <c:pt idx="7937">
                        <c:v>45622.708333333328</c:v>
                      </c:pt>
                      <c:pt idx="7938">
                        <c:v>45622.75</c:v>
                      </c:pt>
                      <c:pt idx="7939">
                        <c:v>45622.791666666672</c:v>
                      </c:pt>
                      <c:pt idx="7940">
                        <c:v>45622.833333333328</c:v>
                      </c:pt>
                      <c:pt idx="7941">
                        <c:v>45622.875</c:v>
                      </c:pt>
                      <c:pt idx="7942">
                        <c:v>45622.916666666672</c:v>
                      </c:pt>
                      <c:pt idx="7943">
                        <c:v>45622.958333333328</c:v>
                      </c:pt>
                      <c:pt idx="7944">
                        <c:v>45623</c:v>
                      </c:pt>
                      <c:pt idx="7945">
                        <c:v>45623.041666666672</c:v>
                      </c:pt>
                      <c:pt idx="7946">
                        <c:v>45623.083333333328</c:v>
                      </c:pt>
                      <c:pt idx="7947">
                        <c:v>45623.125</c:v>
                      </c:pt>
                      <c:pt idx="7948">
                        <c:v>45623.166666666672</c:v>
                      </c:pt>
                      <c:pt idx="7949">
                        <c:v>45623.208333333328</c:v>
                      </c:pt>
                      <c:pt idx="7950">
                        <c:v>45623.25</c:v>
                      </c:pt>
                      <c:pt idx="7951">
                        <c:v>45623.291666666672</c:v>
                      </c:pt>
                      <c:pt idx="7952">
                        <c:v>45623.333333333328</c:v>
                      </c:pt>
                      <c:pt idx="7953">
                        <c:v>45623.375</c:v>
                      </c:pt>
                      <c:pt idx="7954">
                        <c:v>45623.416666666672</c:v>
                      </c:pt>
                      <c:pt idx="7955">
                        <c:v>45623.458333333328</c:v>
                      </c:pt>
                      <c:pt idx="7956">
                        <c:v>45623.5</c:v>
                      </c:pt>
                      <c:pt idx="7957">
                        <c:v>45623.541666666672</c:v>
                      </c:pt>
                      <c:pt idx="7958">
                        <c:v>45623.583333333328</c:v>
                      </c:pt>
                      <c:pt idx="7959">
                        <c:v>45623.625</c:v>
                      </c:pt>
                      <c:pt idx="7960">
                        <c:v>45623.666666666672</c:v>
                      </c:pt>
                      <c:pt idx="7961">
                        <c:v>45623.708333333328</c:v>
                      </c:pt>
                      <c:pt idx="7962">
                        <c:v>45623.75</c:v>
                      </c:pt>
                      <c:pt idx="7963">
                        <c:v>45623.791666666672</c:v>
                      </c:pt>
                      <c:pt idx="7964">
                        <c:v>45623.833333333328</c:v>
                      </c:pt>
                      <c:pt idx="7965">
                        <c:v>45623.875</c:v>
                      </c:pt>
                      <c:pt idx="7966">
                        <c:v>45623.916666666672</c:v>
                      </c:pt>
                      <c:pt idx="7967">
                        <c:v>45623.958333333328</c:v>
                      </c:pt>
                      <c:pt idx="7968">
                        <c:v>45624</c:v>
                      </c:pt>
                      <c:pt idx="7969">
                        <c:v>45624.041666666672</c:v>
                      </c:pt>
                      <c:pt idx="7970">
                        <c:v>45624.083333333328</c:v>
                      </c:pt>
                      <c:pt idx="7971">
                        <c:v>45624.125</c:v>
                      </c:pt>
                      <c:pt idx="7972">
                        <c:v>45624.166666666672</c:v>
                      </c:pt>
                      <c:pt idx="7973">
                        <c:v>45624.208333333328</c:v>
                      </c:pt>
                      <c:pt idx="7974">
                        <c:v>45624.25</c:v>
                      </c:pt>
                      <c:pt idx="7975">
                        <c:v>45624.291666666672</c:v>
                      </c:pt>
                      <c:pt idx="7976">
                        <c:v>45624.333333333328</c:v>
                      </c:pt>
                      <c:pt idx="7977">
                        <c:v>45624.375</c:v>
                      </c:pt>
                      <c:pt idx="7978">
                        <c:v>45624.416666666672</c:v>
                      </c:pt>
                      <c:pt idx="7979">
                        <c:v>45624.458333333328</c:v>
                      </c:pt>
                      <c:pt idx="7980">
                        <c:v>45624.5</c:v>
                      </c:pt>
                      <c:pt idx="7981">
                        <c:v>45624.541666666672</c:v>
                      </c:pt>
                      <c:pt idx="7982">
                        <c:v>45624.583333333328</c:v>
                      </c:pt>
                      <c:pt idx="7983">
                        <c:v>45624.625</c:v>
                      </c:pt>
                      <c:pt idx="7984">
                        <c:v>45624.666666666672</c:v>
                      </c:pt>
                      <c:pt idx="7985">
                        <c:v>45624.708333333328</c:v>
                      </c:pt>
                      <c:pt idx="7986">
                        <c:v>45624.75</c:v>
                      </c:pt>
                      <c:pt idx="7987">
                        <c:v>45624.791666666672</c:v>
                      </c:pt>
                      <c:pt idx="7988">
                        <c:v>45624.833333333328</c:v>
                      </c:pt>
                      <c:pt idx="7989">
                        <c:v>45624.875</c:v>
                      </c:pt>
                      <c:pt idx="7990">
                        <c:v>45624.916666666672</c:v>
                      </c:pt>
                      <c:pt idx="7991">
                        <c:v>45624.958333333328</c:v>
                      </c:pt>
                      <c:pt idx="7992">
                        <c:v>45625</c:v>
                      </c:pt>
                      <c:pt idx="7993">
                        <c:v>45625.041666666672</c:v>
                      </c:pt>
                      <c:pt idx="7994">
                        <c:v>45625.083333333328</c:v>
                      </c:pt>
                      <c:pt idx="7995">
                        <c:v>45625.125</c:v>
                      </c:pt>
                      <c:pt idx="7996">
                        <c:v>45625.166666666672</c:v>
                      </c:pt>
                      <c:pt idx="7997">
                        <c:v>45625.208333333328</c:v>
                      </c:pt>
                      <c:pt idx="7998">
                        <c:v>45625.25</c:v>
                      </c:pt>
                      <c:pt idx="7999">
                        <c:v>45625.291666666672</c:v>
                      </c:pt>
                      <c:pt idx="8000">
                        <c:v>45625.333333333328</c:v>
                      </c:pt>
                      <c:pt idx="8001">
                        <c:v>45625.375</c:v>
                      </c:pt>
                      <c:pt idx="8002">
                        <c:v>45625.416666666672</c:v>
                      </c:pt>
                      <c:pt idx="8003">
                        <c:v>45625.458333333328</c:v>
                      </c:pt>
                      <c:pt idx="8004">
                        <c:v>45625.5</c:v>
                      </c:pt>
                      <c:pt idx="8005">
                        <c:v>45625.541666666672</c:v>
                      </c:pt>
                      <c:pt idx="8006">
                        <c:v>45625.583333333328</c:v>
                      </c:pt>
                      <c:pt idx="8007">
                        <c:v>45625.625</c:v>
                      </c:pt>
                      <c:pt idx="8008">
                        <c:v>45625.666666666672</c:v>
                      </c:pt>
                      <c:pt idx="8009">
                        <c:v>45625.708333333328</c:v>
                      </c:pt>
                      <c:pt idx="8010">
                        <c:v>45625.75</c:v>
                      </c:pt>
                      <c:pt idx="8011">
                        <c:v>45625.791666666672</c:v>
                      </c:pt>
                      <c:pt idx="8012">
                        <c:v>45625.833333333328</c:v>
                      </c:pt>
                      <c:pt idx="8013">
                        <c:v>45625.875</c:v>
                      </c:pt>
                      <c:pt idx="8014">
                        <c:v>45625.916666666672</c:v>
                      </c:pt>
                      <c:pt idx="8015">
                        <c:v>45625.958333333328</c:v>
                      </c:pt>
                      <c:pt idx="8016">
                        <c:v>45626</c:v>
                      </c:pt>
                      <c:pt idx="8017">
                        <c:v>45626.041666666672</c:v>
                      </c:pt>
                      <c:pt idx="8018">
                        <c:v>45626.083333333328</c:v>
                      </c:pt>
                      <c:pt idx="8019">
                        <c:v>45626.125</c:v>
                      </c:pt>
                      <c:pt idx="8020">
                        <c:v>45626.166666666672</c:v>
                      </c:pt>
                      <c:pt idx="8021">
                        <c:v>45626.208333333328</c:v>
                      </c:pt>
                      <c:pt idx="8022">
                        <c:v>45626.25</c:v>
                      </c:pt>
                      <c:pt idx="8023">
                        <c:v>45626.291666666672</c:v>
                      </c:pt>
                      <c:pt idx="8024">
                        <c:v>45626.333333333328</c:v>
                      </c:pt>
                      <c:pt idx="8025">
                        <c:v>45626.375</c:v>
                      </c:pt>
                      <c:pt idx="8026">
                        <c:v>45626.416666666672</c:v>
                      </c:pt>
                      <c:pt idx="8027">
                        <c:v>45626.458333333328</c:v>
                      </c:pt>
                      <c:pt idx="8028">
                        <c:v>45626.5</c:v>
                      </c:pt>
                      <c:pt idx="8029">
                        <c:v>45626.541666666672</c:v>
                      </c:pt>
                      <c:pt idx="8030">
                        <c:v>45626.583333333328</c:v>
                      </c:pt>
                      <c:pt idx="8031">
                        <c:v>45626.625</c:v>
                      </c:pt>
                      <c:pt idx="8032">
                        <c:v>45626.666666666672</c:v>
                      </c:pt>
                      <c:pt idx="8033">
                        <c:v>45626.708333333328</c:v>
                      </c:pt>
                      <c:pt idx="8034">
                        <c:v>45626.75</c:v>
                      </c:pt>
                      <c:pt idx="8035">
                        <c:v>45626.791666666672</c:v>
                      </c:pt>
                      <c:pt idx="8036">
                        <c:v>45626.833333333328</c:v>
                      </c:pt>
                      <c:pt idx="8037">
                        <c:v>45626.875</c:v>
                      </c:pt>
                      <c:pt idx="8038">
                        <c:v>45626.916666666672</c:v>
                      </c:pt>
                      <c:pt idx="8039">
                        <c:v>45626.958333333328</c:v>
                      </c:pt>
                      <c:pt idx="8040">
                        <c:v>45627</c:v>
                      </c:pt>
                      <c:pt idx="8041">
                        <c:v>45627.041666666672</c:v>
                      </c:pt>
                      <c:pt idx="8042">
                        <c:v>45627.083333333328</c:v>
                      </c:pt>
                      <c:pt idx="8043">
                        <c:v>45627.125</c:v>
                      </c:pt>
                      <c:pt idx="8044">
                        <c:v>45627.166666666672</c:v>
                      </c:pt>
                      <c:pt idx="8045">
                        <c:v>45627.208333333328</c:v>
                      </c:pt>
                      <c:pt idx="8046">
                        <c:v>45627.25</c:v>
                      </c:pt>
                      <c:pt idx="8047">
                        <c:v>45627.291666666672</c:v>
                      </c:pt>
                      <c:pt idx="8048">
                        <c:v>45627.333333333328</c:v>
                      </c:pt>
                      <c:pt idx="8049">
                        <c:v>45627.375</c:v>
                      </c:pt>
                      <c:pt idx="8050">
                        <c:v>45627.416666666672</c:v>
                      </c:pt>
                      <c:pt idx="8051">
                        <c:v>45627.458333333328</c:v>
                      </c:pt>
                      <c:pt idx="8052">
                        <c:v>45627.5</c:v>
                      </c:pt>
                      <c:pt idx="8053">
                        <c:v>45627.541666666672</c:v>
                      </c:pt>
                      <c:pt idx="8054">
                        <c:v>45627.583333333328</c:v>
                      </c:pt>
                      <c:pt idx="8055">
                        <c:v>45627.625</c:v>
                      </c:pt>
                      <c:pt idx="8056">
                        <c:v>45627.666666666672</c:v>
                      </c:pt>
                      <c:pt idx="8057">
                        <c:v>45627.708333333328</c:v>
                      </c:pt>
                      <c:pt idx="8058">
                        <c:v>45627.75</c:v>
                      </c:pt>
                      <c:pt idx="8059">
                        <c:v>45627.791666666672</c:v>
                      </c:pt>
                      <c:pt idx="8060">
                        <c:v>45627.833333333328</c:v>
                      </c:pt>
                      <c:pt idx="8061">
                        <c:v>45627.875</c:v>
                      </c:pt>
                      <c:pt idx="8062">
                        <c:v>45627.916666666672</c:v>
                      </c:pt>
                      <c:pt idx="8063">
                        <c:v>45627.958333333328</c:v>
                      </c:pt>
                      <c:pt idx="8064">
                        <c:v>45628</c:v>
                      </c:pt>
                      <c:pt idx="8065">
                        <c:v>45628.041666666672</c:v>
                      </c:pt>
                      <c:pt idx="8066">
                        <c:v>45628.083333333328</c:v>
                      </c:pt>
                      <c:pt idx="8067">
                        <c:v>45628.125</c:v>
                      </c:pt>
                      <c:pt idx="8068">
                        <c:v>45628.166666666672</c:v>
                      </c:pt>
                      <c:pt idx="8069">
                        <c:v>45628.208333333328</c:v>
                      </c:pt>
                      <c:pt idx="8070">
                        <c:v>45628.25</c:v>
                      </c:pt>
                      <c:pt idx="8071">
                        <c:v>45628.291666666672</c:v>
                      </c:pt>
                      <c:pt idx="8072">
                        <c:v>45628.333333333328</c:v>
                      </c:pt>
                      <c:pt idx="8073">
                        <c:v>45628.375</c:v>
                      </c:pt>
                      <c:pt idx="8074">
                        <c:v>45628.416666666672</c:v>
                      </c:pt>
                      <c:pt idx="8075">
                        <c:v>45628.458333333328</c:v>
                      </c:pt>
                      <c:pt idx="8076">
                        <c:v>45628.5</c:v>
                      </c:pt>
                      <c:pt idx="8077">
                        <c:v>45628.541666666672</c:v>
                      </c:pt>
                      <c:pt idx="8078">
                        <c:v>45628.583333333328</c:v>
                      </c:pt>
                      <c:pt idx="8079">
                        <c:v>45628.625</c:v>
                      </c:pt>
                      <c:pt idx="8080">
                        <c:v>45628.666666666672</c:v>
                      </c:pt>
                      <c:pt idx="8081">
                        <c:v>45628.708333333328</c:v>
                      </c:pt>
                      <c:pt idx="8082">
                        <c:v>45628.75</c:v>
                      </c:pt>
                      <c:pt idx="8083">
                        <c:v>45628.791666666672</c:v>
                      </c:pt>
                      <c:pt idx="8084">
                        <c:v>45628.833333333328</c:v>
                      </c:pt>
                      <c:pt idx="8085">
                        <c:v>45628.875</c:v>
                      </c:pt>
                      <c:pt idx="8086">
                        <c:v>45628.916666666672</c:v>
                      </c:pt>
                      <c:pt idx="8087">
                        <c:v>45628.958333333328</c:v>
                      </c:pt>
                      <c:pt idx="8088">
                        <c:v>45629</c:v>
                      </c:pt>
                      <c:pt idx="8089">
                        <c:v>45629.041666666672</c:v>
                      </c:pt>
                      <c:pt idx="8090">
                        <c:v>45629.083333333328</c:v>
                      </c:pt>
                      <c:pt idx="8091">
                        <c:v>45629.125</c:v>
                      </c:pt>
                      <c:pt idx="8092">
                        <c:v>45629.166666666672</c:v>
                      </c:pt>
                      <c:pt idx="8093">
                        <c:v>45629.208333333328</c:v>
                      </c:pt>
                      <c:pt idx="8094">
                        <c:v>45629.25</c:v>
                      </c:pt>
                      <c:pt idx="8095">
                        <c:v>45629.291666666672</c:v>
                      </c:pt>
                      <c:pt idx="8096">
                        <c:v>45629.333333333328</c:v>
                      </c:pt>
                      <c:pt idx="8097">
                        <c:v>45629.375</c:v>
                      </c:pt>
                      <c:pt idx="8098">
                        <c:v>45629.416666666672</c:v>
                      </c:pt>
                      <c:pt idx="8099">
                        <c:v>45629.458333333328</c:v>
                      </c:pt>
                      <c:pt idx="8100">
                        <c:v>45629.5</c:v>
                      </c:pt>
                      <c:pt idx="8101">
                        <c:v>45629.541666666672</c:v>
                      </c:pt>
                      <c:pt idx="8102">
                        <c:v>45629.583333333328</c:v>
                      </c:pt>
                      <c:pt idx="8103">
                        <c:v>45629.625</c:v>
                      </c:pt>
                      <c:pt idx="8104">
                        <c:v>45629.666666666672</c:v>
                      </c:pt>
                      <c:pt idx="8105">
                        <c:v>45629.708333333328</c:v>
                      </c:pt>
                      <c:pt idx="8106">
                        <c:v>45629.75</c:v>
                      </c:pt>
                      <c:pt idx="8107">
                        <c:v>45629.791666666672</c:v>
                      </c:pt>
                      <c:pt idx="8108">
                        <c:v>45629.833333333328</c:v>
                      </c:pt>
                      <c:pt idx="8109">
                        <c:v>45629.875</c:v>
                      </c:pt>
                      <c:pt idx="8110">
                        <c:v>45629.916666666672</c:v>
                      </c:pt>
                      <c:pt idx="8111">
                        <c:v>45629.958333333328</c:v>
                      </c:pt>
                      <c:pt idx="8112">
                        <c:v>45630</c:v>
                      </c:pt>
                      <c:pt idx="8113">
                        <c:v>45630.041666666672</c:v>
                      </c:pt>
                      <c:pt idx="8114">
                        <c:v>45630.083333333328</c:v>
                      </c:pt>
                      <c:pt idx="8115">
                        <c:v>45630.125</c:v>
                      </c:pt>
                      <c:pt idx="8116">
                        <c:v>45630.166666666672</c:v>
                      </c:pt>
                      <c:pt idx="8117">
                        <c:v>45630.208333333328</c:v>
                      </c:pt>
                      <c:pt idx="8118">
                        <c:v>45630.25</c:v>
                      </c:pt>
                      <c:pt idx="8119">
                        <c:v>45630.291666666672</c:v>
                      </c:pt>
                      <c:pt idx="8120">
                        <c:v>45630.333333333328</c:v>
                      </c:pt>
                      <c:pt idx="8121">
                        <c:v>45630.375</c:v>
                      </c:pt>
                      <c:pt idx="8122">
                        <c:v>45630.416666666672</c:v>
                      </c:pt>
                      <c:pt idx="8123">
                        <c:v>45630.458333333328</c:v>
                      </c:pt>
                      <c:pt idx="8124">
                        <c:v>45630.5</c:v>
                      </c:pt>
                      <c:pt idx="8125">
                        <c:v>45630.541666666672</c:v>
                      </c:pt>
                      <c:pt idx="8126">
                        <c:v>45630.583333333328</c:v>
                      </c:pt>
                      <c:pt idx="8127">
                        <c:v>45630.625</c:v>
                      </c:pt>
                      <c:pt idx="8128">
                        <c:v>45630.666666666672</c:v>
                      </c:pt>
                      <c:pt idx="8129">
                        <c:v>45630.708333333328</c:v>
                      </c:pt>
                      <c:pt idx="8130">
                        <c:v>45630.75</c:v>
                      </c:pt>
                      <c:pt idx="8131">
                        <c:v>45630.791666666672</c:v>
                      </c:pt>
                      <c:pt idx="8132">
                        <c:v>45630.833333333328</c:v>
                      </c:pt>
                      <c:pt idx="8133">
                        <c:v>45630.875</c:v>
                      </c:pt>
                      <c:pt idx="8134">
                        <c:v>45630.916666666672</c:v>
                      </c:pt>
                      <c:pt idx="8135">
                        <c:v>45630.958333333328</c:v>
                      </c:pt>
                      <c:pt idx="8136">
                        <c:v>45631</c:v>
                      </c:pt>
                      <c:pt idx="8137">
                        <c:v>45631.041666666672</c:v>
                      </c:pt>
                      <c:pt idx="8138">
                        <c:v>45631.083333333328</c:v>
                      </c:pt>
                      <c:pt idx="8139">
                        <c:v>45631.125</c:v>
                      </c:pt>
                      <c:pt idx="8140">
                        <c:v>45631.166666666672</c:v>
                      </c:pt>
                      <c:pt idx="8141">
                        <c:v>45631.208333333328</c:v>
                      </c:pt>
                      <c:pt idx="8142">
                        <c:v>45631.25</c:v>
                      </c:pt>
                      <c:pt idx="8143">
                        <c:v>45631.291666666672</c:v>
                      </c:pt>
                      <c:pt idx="8144">
                        <c:v>45631.333333333328</c:v>
                      </c:pt>
                      <c:pt idx="8145">
                        <c:v>45631.375</c:v>
                      </c:pt>
                      <c:pt idx="8146">
                        <c:v>45631.416666666672</c:v>
                      </c:pt>
                      <c:pt idx="8147">
                        <c:v>45631.458333333328</c:v>
                      </c:pt>
                      <c:pt idx="8148">
                        <c:v>45631.5</c:v>
                      </c:pt>
                      <c:pt idx="8149">
                        <c:v>45631.541666666672</c:v>
                      </c:pt>
                      <c:pt idx="8150">
                        <c:v>45631.583333333328</c:v>
                      </c:pt>
                      <c:pt idx="8151">
                        <c:v>45631.625</c:v>
                      </c:pt>
                      <c:pt idx="8152">
                        <c:v>45631.666666666672</c:v>
                      </c:pt>
                      <c:pt idx="8153">
                        <c:v>45631.708333333328</c:v>
                      </c:pt>
                      <c:pt idx="8154">
                        <c:v>45631.75</c:v>
                      </c:pt>
                      <c:pt idx="8155">
                        <c:v>45631.791666666672</c:v>
                      </c:pt>
                      <c:pt idx="8156">
                        <c:v>45631.833333333328</c:v>
                      </c:pt>
                      <c:pt idx="8157">
                        <c:v>45631.875</c:v>
                      </c:pt>
                      <c:pt idx="8158">
                        <c:v>45631.916666666672</c:v>
                      </c:pt>
                      <c:pt idx="8159">
                        <c:v>45631.958333333328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2024'!$B$3:$B$8162</c15:sqref>
                        </c15:formulaRef>
                      </c:ext>
                    </c:extLst>
                    <c:numCache>
                      <c:formatCode>General</c:formatCode>
                      <c:ptCount val="8160"/>
                      <c:pt idx="0">
                        <c:v>0.1</c:v>
                      </c:pt>
                      <c:pt idx="1">
                        <c:v>0.01</c:v>
                      </c:pt>
                      <c:pt idx="2">
                        <c:v>0</c:v>
                      </c:pt>
                      <c:pt idx="3">
                        <c:v>-0.01</c:v>
                      </c:pt>
                      <c:pt idx="4">
                        <c:v>-0.03</c:v>
                      </c:pt>
                      <c:pt idx="5">
                        <c:v>-0.02</c:v>
                      </c:pt>
                      <c:pt idx="6">
                        <c:v>-0.05</c:v>
                      </c:pt>
                      <c:pt idx="7">
                        <c:v>-0.02</c:v>
                      </c:pt>
                      <c:pt idx="8">
                        <c:v>0</c:v>
                      </c:pt>
                      <c:pt idx="9">
                        <c:v>0.04</c:v>
                      </c:pt>
                      <c:pt idx="10">
                        <c:v>0.06</c:v>
                      </c:pt>
                      <c:pt idx="11">
                        <c:v>0.54</c:v>
                      </c:pt>
                      <c:pt idx="12">
                        <c:v>2.2400000000000002</c:v>
                      </c:pt>
                      <c:pt idx="13">
                        <c:v>1.96</c:v>
                      </c:pt>
                      <c:pt idx="14">
                        <c:v>1.04</c:v>
                      </c:pt>
                      <c:pt idx="15">
                        <c:v>3.66</c:v>
                      </c:pt>
                      <c:pt idx="16">
                        <c:v>43.06</c:v>
                      </c:pt>
                      <c:pt idx="17">
                        <c:v>49.93</c:v>
                      </c:pt>
                      <c:pt idx="18">
                        <c:v>58</c:v>
                      </c:pt>
                      <c:pt idx="19">
                        <c:v>54.25</c:v>
                      </c:pt>
                      <c:pt idx="20">
                        <c:v>48.01</c:v>
                      </c:pt>
                      <c:pt idx="21">
                        <c:v>42.95</c:v>
                      </c:pt>
                      <c:pt idx="22">
                        <c:v>47.09</c:v>
                      </c:pt>
                      <c:pt idx="23">
                        <c:v>35.549999999999997</c:v>
                      </c:pt>
                      <c:pt idx="24">
                        <c:v>30.59</c:v>
                      </c:pt>
                      <c:pt idx="25">
                        <c:v>20.07</c:v>
                      </c:pt>
                      <c:pt idx="26">
                        <c:v>31.03</c:v>
                      </c:pt>
                      <c:pt idx="27">
                        <c:v>18.39</c:v>
                      </c:pt>
                      <c:pt idx="28">
                        <c:v>11.08</c:v>
                      </c:pt>
                      <c:pt idx="29">
                        <c:v>13.78</c:v>
                      </c:pt>
                      <c:pt idx="30">
                        <c:v>47.63</c:v>
                      </c:pt>
                      <c:pt idx="31">
                        <c:v>58.1</c:v>
                      </c:pt>
                      <c:pt idx="32">
                        <c:v>65.67</c:v>
                      </c:pt>
                      <c:pt idx="33">
                        <c:v>64.73</c:v>
                      </c:pt>
                      <c:pt idx="34">
                        <c:v>68.98</c:v>
                      </c:pt>
                      <c:pt idx="35">
                        <c:v>73.540000000000006</c:v>
                      </c:pt>
                      <c:pt idx="36">
                        <c:v>78.16</c:v>
                      </c:pt>
                      <c:pt idx="37">
                        <c:v>78.87</c:v>
                      </c:pt>
                      <c:pt idx="38">
                        <c:v>79.239999999999995</c:v>
                      </c:pt>
                      <c:pt idx="39">
                        <c:v>79.959999999999994</c:v>
                      </c:pt>
                      <c:pt idx="40">
                        <c:v>83.46</c:v>
                      </c:pt>
                      <c:pt idx="41">
                        <c:v>80.92</c:v>
                      </c:pt>
                      <c:pt idx="42">
                        <c:v>74.95</c:v>
                      </c:pt>
                      <c:pt idx="43">
                        <c:v>63.18</c:v>
                      </c:pt>
                      <c:pt idx="44">
                        <c:v>57.11</c:v>
                      </c:pt>
                      <c:pt idx="45">
                        <c:v>46.89</c:v>
                      </c:pt>
                      <c:pt idx="46">
                        <c:v>40</c:v>
                      </c:pt>
                      <c:pt idx="47">
                        <c:v>7.43</c:v>
                      </c:pt>
                      <c:pt idx="48">
                        <c:v>-0.08</c:v>
                      </c:pt>
                      <c:pt idx="49">
                        <c:v>-1.23</c:v>
                      </c:pt>
                      <c:pt idx="50">
                        <c:v>-1.3</c:v>
                      </c:pt>
                      <c:pt idx="51">
                        <c:v>-1.31</c:v>
                      </c:pt>
                      <c:pt idx="52">
                        <c:v>-1.31</c:v>
                      </c:pt>
                      <c:pt idx="53">
                        <c:v>-1.38</c:v>
                      </c:pt>
                      <c:pt idx="54">
                        <c:v>1.0900000000000001</c:v>
                      </c:pt>
                      <c:pt idx="55">
                        <c:v>40.590000000000003</c:v>
                      </c:pt>
                      <c:pt idx="56">
                        <c:v>59.61</c:v>
                      </c:pt>
                      <c:pt idx="57">
                        <c:v>60.61</c:v>
                      </c:pt>
                      <c:pt idx="58">
                        <c:v>57</c:v>
                      </c:pt>
                      <c:pt idx="59">
                        <c:v>54.89</c:v>
                      </c:pt>
                      <c:pt idx="60">
                        <c:v>53.89</c:v>
                      </c:pt>
                      <c:pt idx="61">
                        <c:v>54.42</c:v>
                      </c:pt>
                      <c:pt idx="62">
                        <c:v>60.86</c:v>
                      </c:pt>
                      <c:pt idx="63">
                        <c:v>67.180000000000007</c:v>
                      </c:pt>
                      <c:pt idx="64">
                        <c:v>73.59</c:v>
                      </c:pt>
                      <c:pt idx="65">
                        <c:v>82.28</c:v>
                      </c:pt>
                      <c:pt idx="66">
                        <c:v>82.97</c:v>
                      </c:pt>
                      <c:pt idx="67">
                        <c:v>79.03</c:v>
                      </c:pt>
                      <c:pt idx="68">
                        <c:v>73.23</c:v>
                      </c:pt>
                      <c:pt idx="69">
                        <c:v>67.41</c:v>
                      </c:pt>
                      <c:pt idx="70">
                        <c:v>65</c:v>
                      </c:pt>
                      <c:pt idx="71">
                        <c:v>58.12</c:v>
                      </c:pt>
                      <c:pt idx="72">
                        <c:v>57.3</c:v>
                      </c:pt>
                      <c:pt idx="73">
                        <c:v>50.46</c:v>
                      </c:pt>
                      <c:pt idx="74">
                        <c:v>40</c:v>
                      </c:pt>
                      <c:pt idx="75">
                        <c:v>25.48</c:v>
                      </c:pt>
                      <c:pt idx="76">
                        <c:v>35</c:v>
                      </c:pt>
                      <c:pt idx="77">
                        <c:v>57.73</c:v>
                      </c:pt>
                      <c:pt idx="78">
                        <c:v>72.650000000000006</c:v>
                      </c:pt>
                      <c:pt idx="79">
                        <c:v>85.02</c:v>
                      </c:pt>
                      <c:pt idx="80">
                        <c:v>91.47</c:v>
                      </c:pt>
                      <c:pt idx="81">
                        <c:v>94.2</c:v>
                      </c:pt>
                      <c:pt idx="82">
                        <c:v>91.61</c:v>
                      </c:pt>
                      <c:pt idx="83">
                        <c:v>90.03</c:v>
                      </c:pt>
                      <c:pt idx="84">
                        <c:v>86.3</c:v>
                      </c:pt>
                      <c:pt idx="85">
                        <c:v>85.96</c:v>
                      </c:pt>
                      <c:pt idx="86">
                        <c:v>92.11</c:v>
                      </c:pt>
                      <c:pt idx="87">
                        <c:v>98.62</c:v>
                      </c:pt>
                      <c:pt idx="88">
                        <c:v>105.73</c:v>
                      </c:pt>
                      <c:pt idx="89">
                        <c:v>133.22999999999999</c:v>
                      </c:pt>
                      <c:pt idx="90">
                        <c:v>144.65</c:v>
                      </c:pt>
                      <c:pt idx="91">
                        <c:v>125</c:v>
                      </c:pt>
                      <c:pt idx="92">
                        <c:v>103.59</c:v>
                      </c:pt>
                      <c:pt idx="93">
                        <c:v>100.01</c:v>
                      </c:pt>
                      <c:pt idx="94">
                        <c:v>94.86</c:v>
                      </c:pt>
                      <c:pt idx="95">
                        <c:v>88.83</c:v>
                      </c:pt>
                      <c:pt idx="96">
                        <c:v>86.08</c:v>
                      </c:pt>
                      <c:pt idx="97">
                        <c:v>80.510000000000005</c:v>
                      </c:pt>
                      <c:pt idx="98">
                        <c:v>77.010000000000005</c:v>
                      </c:pt>
                      <c:pt idx="99">
                        <c:v>73.209999999999994</c:v>
                      </c:pt>
                      <c:pt idx="100">
                        <c:v>74.05</c:v>
                      </c:pt>
                      <c:pt idx="101">
                        <c:v>76.03</c:v>
                      </c:pt>
                      <c:pt idx="102">
                        <c:v>81</c:v>
                      </c:pt>
                      <c:pt idx="103">
                        <c:v>87</c:v>
                      </c:pt>
                      <c:pt idx="104">
                        <c:v>89.57</c:v>
                      </c:pt>
                      <c:pt idx="105">
                        <c:v>94.93</c:v>
                      </c:pt>
                      <c:pt idx="106">
                        <c:v>96.28</c:v>
                      </c:pt>
                      <c:pt idx="107">
                        <c:v>98.22</c:v>
                      </c:pt>
                      <c:pt idx="108">
                        <c:v>92.24</c:v>
                      </c:pt>
                      <c:pt idx="109">
                        <c:v>91.54</c:v>
                      </c:pt>
                      <c:pt idx="110">
                        <c:v>96.41</c:v>
                      </c:pt>
                      <c:pt idx="111">
                        <c:v>100.05</c:v>
                      </c:pt>
                      <c:pt idx="112">
                        <c:v>102.97</c:v>
                      </c:pt>
                      <c:pt idx="113">
                        <c:v>107.38</c:v>
                      </c:pt>
                      <c:pt idx="114">
                        <c:v>108.45</c:v>
                      </c:pt>
                      <c:pt idx="115">
                        <c:v>103.96</c:v>
                      </c:pt>
                      <c:pt idx="116">
                        <c:v>100.09</c:v>
                      </c:pt>
                      <c:pt idx="117">
                        <c:v>94.19</c:v>
                      </c:pt>
                      <c:pt idx="118">
                        <c:v>94.92</c:v>
                      </c:pt>
                      <c:pt idx="119">
                        <c:v>86.8</c:v>
                      </c:pt>
                      <c:pt idx="120">
                        <c:v>82.25</c:v>
                      </c:pt>
                      <c:pt idx="121">
                        <c:v>80.2</c:v>
                      </c:pt>
                      <c:pt idx="122">
                        <c:v>76.13</c:v>
                      </c:pt>
                      <c:pt idx="123">
                        <c:v>73.010000000000005</c:v>
                      </c:pt>
                      <c:pt idx="124">
                        <c:v>73.010000000000005</c:v>
                      </c:pt>
                      <c:pt idx="125">
                        <c:v>74.59</c:v>
                      </c:pt>
                      <c:pt idx="126">
                        <c:v>75.099999999999994</c:v>
                      </c:pt>
                      <c:pt idx="127">
                        <c:v>81.39</c:v>
                      </c:pt>
                      <c:pt idx="128">
                        <c:v>88.4</c:v>
                      </c:pt>
                      <c:pt idx="129">
                        <c:v>92.23</c:v>
                      </c:pt>
                      <c:pt idx="130">
                        <c:v>97.3</c:v>
                      </c:pt>
                      <c:pt idx="131">
                        <c:v>100.43</c:v>
                      </c:pt>
                      <c:pt idx="132">
                        <c:v>99.16</c:v>
                      </c:pt>
                      <c:pt idx="133">
                        <c:v>95.22</c:v>
                      </c:pt>
                      <c:pt idx="134">
                        <c:v>92.55</c:v>
                      </c:pt>
                      <c:pt idx="135">
                        <c:v>95.09</c:v>
                      </c:pt>
                      <c:pt idx="136">
                        <c:v>99.85</c:v>
                      </c:pt>
                      <c:pt idx="137">
                        <c:v>104.27</c:v>
                      </c:pt>
                      <c:pt idx="138">
                        <c:v>103.63</c:v>
                      </c:pt>
                      <c:pt idx="139">
                        <c:v>99</c:v>
                      </c:pt>
                      <c:pt idx="140">
                        <c:v>92.14</c:v>
                      </c:pt>
                      <c:pt idx="141">
                        <c:v>88</c:v>
                      </c:pt>
                      <c:pt idx="142">
                        <c:v>86.57</c:v>
                      </c:pt>
                      <c:pt idx="143">
                        <c:v>79.87</c:v>
                      </c:pt>
                      <c:pt idx="144">
                        <c:v>84.08</c:v>
                      </c:pt>
                      <c:pt idx="145">
                        <c:v>79.819999999999993</c:v>
                      </c:pt>
                      <c:pt idx="146">
                        <c:v>76.760000000000005</c:v>
                      </c:pt>
                      <c:pt idx="147">
                        <c:v>73.459999999999994</c:v>
                      </c:pt>
                      <c:pt idx="148">
                        <c:v>71.86</c:v>
                      </c:pt>
                      <c:pt idx="149">
                        <c:v>72.08</c:v>
                      </c:pt>
                      <c:pt idx="150">
                        <c:v>74.900000000000006</c:v>
                      </c:pt>
                      <c:pt idx="151">
                        <c:v>77.69</c:v>
                      </c:pt>
                      <c:pt idx="152">
                        <c:v>81.790000000000006</c:v>
                      </c:pt>
                      <c:pt idx="153">
                        <c:v>84.86</c:v>
                      </c:pt>
                      <c:pt idx="154">
                        <c:v>87.15</c:v>
                      </c:pt>
                      <c:pt idx="155">
                        <c:v>89.14</c:v>
                      </c:pt>
                      <c:pt idx="156">
                        <c:v>88.66</c:v>
                      </c:pt>
                      <c:pt idx="157">
                        <c:v>84.81</c:v>
                      </c:pt>
                      <c:pt idx="158">
                        <c:v>84.34</c:v>
                      </c:pt>
                      <c:pt idx="159">
                        <c:v>88.01</c:v>
                      </c:pt>
                      <c:pt idx="160">
                        <c:v>93.42</c:v>
                      </c:pt>
                      <c:pt idx="161">
                        <c:v>101.77</c:v>
                      </c:pt>
                      <c:pt idx="162">
                        <c:v>104.85</c:v>
                      </c:pt>
                      <c:pt idx="163">
                        <c:v>103.55</c:v>
                      </c:pt>
                      <c:pt idx="164">
                        <c:v>100.5</c:v>
                      </c:pt>
                      <c:pt idx="165">
                        <c:v>93.31</c:v>
                      </c:pt>
                      <c:pt idx="166">
                        <c:v>91.17</c:v>
                      </c:pt>
                      <c:pt idx="167">
                        <c:v>83.86</c:v>
                      </c:pt>
                      <c:pt idx="168">
                        <c:v>87.02</c:v>
                      </c:pt>
                      <c:pt idx="169">
                        <c:v>84.32</c:v>
                      </c:pt>
                      <c:pt idx="170">
                        <c:v>81.819999999999993</c:v>
                      </c:pt>
                      <c:pt idx="171">
                        <c:v>79.11</c:v>
                      </c:pt>
                      <c:pt idx="172">
                        <c:v>78.48</c:v>
                      </c:pt>
                      <c:pt idx="173">
                        <c:v>82.1</c:v>
                      </c:pt>
                      <c:pt idx="174">
                        <c:v>94.3</c:v>
                      </c:pt>
                      <c:pt idx="175">
                        <c:v>111.1</c:v>
                      </c:pt>
                      <c:pt idx="176">
                        <c:v>121.11</c:v>
                      </c:pt>
                      <c:pt idx="177">
                        <c:v>117.83</c:v>
                      </c:pt>
                      <c:pt idx="178">
                        <c:v>110.6</c:v>
                      </c:pt>
                      <c:pt idx="179">
                        <c:v>103</c:v>
                      </c:pt>
                      <c:pt idx="180">
                        <c:v>95.5</c:v>
                      </c:pt>
                      <c:pt idx="181">
                        <c:v>92.6</c:v>
                      </c:pt>
                      <c:pt idx="182">
                        <c:v>100</c:v>
                      </c:pt>
                      <c:pt idx="183">
                        <c:v>107.98</c:v>
                      </c:pt>
                      <c:pt idx="184">
                        <c:v>116.87</c:v>
                      </c:pt>
                      <c:pt idx="185">
                        <c:v>129.13</c:v>
                      </c:pt>
                      <c:pt idx="186">
                        <c:v>130.01</c:v>
                      </c:pt>
                      <c:pt idx="187">
                        <c:v>122.12</c:v>
                      </c:pt>
                      <c:pt idx="188">
                        <c:v>114.21</c:v>
                      </c:pt>
                      <c:pt idx="189">
                        <c:v>102.83</c:v>
                      </c:pt>
                      <c:pt idx="190">
                        <c:v>99.98</c:v>
                      </c:pt>
                      <c:pt idx="191">
                        <c:v>91.49</c:v>
                      </c:pt>
                      <c:pt idx="192">
                        <c:v>88.16</c:v>
                      </c:pt>
                      <c:pt idx="193">
                        <c:v>87.04</c:v>
                      </c:pt>
                      <c:pt idx="194">
                        <c:v>85</c:v>
                      </c:pt>
                      <c:pt idx="195">
                        <c:v>84.14</c:v>
                      </c:pt>
                      <c:pt idx="196">
                        <c:v>85.72</c:v>
                      </c:pt>
                      <c:pt idx="197">
                        <c:v>89.28</c:v>
                      </c:pt>
                      <c:pt idx="198">
                        <c:v>108.51</c:v>
                      </c:pt>
                      <c:pt idx="199">
                        <c:v>124.06</c:v>
                      </c:pt>
                      <c:pt idx="200">
                        <c:v>133.24</c:v>
                      </c:pt>
                      <c:pt idx="201">
                        <c:v>120.91</c:v>
                      </c:pt>
                      <c:pt idx="202">
                        <c:v>113.19</c:v>
                      </c:pt>
                      <c:pt idx="203">
                        <c:v>105.78</c:v>
                      </c:pt>
                      <c:pt idx="204">
                        <c:v>100.22</c:v>
                      </c:pt>
                      <c:pt idx="205">
                        <c:v>100.82</c:v>
                      </c:pt>
                      <c:pt idx="206">
                        <c:v>110.89</c:v>
                      </c:pt>
                      <c:pt idx="207">
                        <c:v>119.4</c:v>
                      </c:pt>
                      <c:pt idx="208">
                        <c:v>127.85</c:v>
                      </c:pt>
                      <c:pt idx="209">
                        <c:v>137.84</c:v>
                      </c:pt>
                      <c:pt idx="210">
                        <c:v>137.80000000000001</c:v>
                      </c:pt>
                      <c:pt idx="211">
                        <c:v>130.43</c:v>
                      </c:pt>
                      <c:pt idx="212">
                        <c:v>120.24</c:v>
                      </c:pt>
                      <c:pt idx="213">
                        <c:v>111.68</c:v>
                      </c:pt>
                      <c:pt idx="214">
                        <c:v>106.18</c:v>
                      </c:pt>
                      <c:pt idx="215">
                        <c:v>97.09</c:v>
                      </c:pt>
                      <c:pt idx="216">
                        <c:v>89.29</c:v>
                      </c:pt>
                      <c:pt idx="217">
                        <c:v>86.76</c:v>
                      </c:pt>
                      <c:pt idx="218">
                        <c:v>86.73</c:v>
                      </c:pt>
                      <c:pt idx="219">
                        <c:v>86.09</c:v>
                      </c:pt>
                      <c:pt idx="220">
                        <c:v>86.3</c:v>
                      </c:pt>
                      <c:pt idx="221">
                        <c:v>89.05</c:v>
                      </c:pt>
                      <c:pt idx="222">
                        <c:v>108.88</c:v>
                      </c:pt>
                      <c:pt idx="223">
                        <c:v>126.29</c:v>
                      </c:pt>
                      <c:pt idx="224">
                        <c:v>141.28</c:v>
                      </c:pt>
                      <c:pt idx="225">
                        <c:v>130.38999999999999</c:v>
                      </c:pt>
                      <c:pt idx="226">
                        <c:v>118.56</c:v>
                      </c:pt>
                      <c:pt idx="227">
                        <c:v>109.13</c:v>
                      </c:pt>
                      <c:pt idx="228">
                        <c:v>102.21</c:v>
                      </c:pt>
                      <c:pt idx="229">
                        <c:v>105.61</c:v>
                      </c:pt>
                      <c:pt idx="230">
                        <c:v>112.91</c:v>
                      </c:pt>
                      <c:pt idx="231">
                        <c:v>123.8</c:v>
                      </c:pt>
                      <c:pt idx="232">
                        <c:v>134.63999999999999</c:v>
                      </c:pt>
                      <c:pt idx="233">
                        <c:v>143.79</c:v>
                      </c:pt>
                      <c:pt idx="234">
                        <c:v>140</c:v>
                      </c:pt>
                      <c:pt idx="235">
                        <c:v>132.15</c:v>
                      </c:pt>
                      <c:pt idx="236">
                        <c:v>120</c:v>
                      </c:pt>
                      <c:pt idx="237">
                        <c:v>109.76</c:v>
                      </c:pt>
                      <c:pt idx="238">
                        <c:v>104.49</c:v>
                      </c:pt>
                      <c:pt idx="239">
                        <c:v>96.03</c:v>
                      </c:pt>
                      <c:pt idx="240">
                        <c:v>91.75</c:v>
                      </c:pt>
                      <c:pt idx="241">
                        <c:v>88.59</c:v>
                      </c:pt>
                      <c:pt idx="242">
                        <c:v>87.25</c:v>
                      </c:pt>
                      <c:pt idx="243">
                        <c:v>82.38</c:v>
                      </c:pt>
                      <c:pt idx="244">
                        <c:v>81.95</c:v>
                      </c:pt>
                      <c:pt idx="245">
                        <c:v>89.36</c:v>
                      </c:pt>
                      <c:pt idx="246">
                        <c:v>102.07</c:v>
                      </c:pt>
                      <c:pt idx="247">
                        <c:v>116.86</c:v>
                      </c:pt>
                      <c:pt idx="248">
                        <c:v>141</c:v>
                      </c:pt>
                      <c:pt idx="249">
                        <c:v>129.16</c:v>
                      </c:pt>
                      <c:pt idx="250">
                        <c:v>113.65</c:v>
                      </c:pt>
                      <c:pt idx="251">
                        <c:v>106.48</c:v>
                      </c:pt>
                      <c:pt idx="252">
                        <c:v>99.38</c:v>
                      </c:pt>
                      <c:pt idx="253">
                        <c:v>99</c:v>
                      </c:pt>
                      <c:pt idx="254">
                        <c:v>105.98</c:v>
                      </c:pt>
                      <c:pt idx="255">
                        <c:v>117.96</c:v>
                      </c:pt>
                      <c:pt idx="256">
                        <c:v>137.35</c:v>
                      </c:pt>
                      <c:pt idx="257">
                        <c:v>150.09</c:v>
                      </c:pt>
                      <c:pt idx="258">
                        <c:v>136.69</c:v>
                      </c:pt>
                      <c:pt idx="259">
                        <c:v>132.31</c:v>
                      </c:pt>
                      <c:pt idx="260">
                        <c:v>117.88</c:v>
                      </c:pt>
                      <c:pt idx="261">
                        <c:v>107.19</c:v>
                      </c:pt>
                      <c:pt idx="262">
                        <c:v>100</c:v>
                      </c:pt>
                      <c:pt idx="263">
                        <c:v>97.22</c:v>
                      </c:pt>
                      <c:pt idx="264">
                        <c:v>91.04</c:v>
                      </c:pt>
                      <c:pt idx="265">
                        <c:v>88.22</c:v>
                      </c:pt>
                      <c:pt idx="266">
                        <c:v>85.22</c:v>
                      </c:pt>
                      <c:pt idx="267">
                        <c:v>84.63</c:v>
                      </c:pt>
                      <c:pt idx="268">
                        <c:v>84.34</c:v>
                      </c:pt>
                      <c:pt idx="269">
                        <c:v>85.32</c:v>
                      </c:pt>
                      <c:pt idx="270">
                        <c:v>92.11</c:v>
                      </c:pt>
                      <c:pt idx="271">
                        <c:v>118.16</c:v>
                      </c:pt>
                      <c:pt idx="272">
                        <c:v>140.74</c:v>
                      </c:pt>
                      <c:pt idx="273">
                        <c:v>134.96</c:v>
                      </c:pt>
                      <c:pt idx="274">
                        <c:v>122.01</c:v>
                      </c:pt>
                      <c:pt idx="275">
                        <c:v>114.73</c:v>
                      </c:pt>
                      <c:pt idx="276">
                        <c:v>106.98</c:v>
                      </c:pt>
                      <c:pt idx="277">
                        <c:v>103.08</c:v>
                      </c:pt>
                      <c:pt idx="278">
                        <c:v>104.54</c:v>
                      </c:pt>
                      <c:pt idx="279">
                        <c:v>110</c:v>
                      </c:pt>
                      <c:pt idx="280">
                        <c:v>120</c:v>
                      </c:pt>
                      <c:pt idx="281">
                        <c:v>127.5</c:v>
                      </c:pt>
                      <c:pt idx="282">
                        <c:v>126</c:v>
                      </c:pt>
                      <c:pt idx="283">
                        <c:v>119.47</c:v>
                      </c:pt>
                      <c:pt idx="284">
                        <c:v>108.79</c:v>
                      </c:pt>
                      <c:pt idx="285">
                        <c:v>98.48</c:v>
                      </c:pt>
                      <c:pt idx="286">
                        <c:v>93.37</c:v>
                      </c:pt>
                      <c:pt idx="287">
                        <c:v>85.38</c:v>
                      </c:pt>
                      <c:pt idx="288">
                        <c:v>90</c:v>
                      </c:pt>
                      <c:pt idx="289">
                        <c:v>85</c:v>
                      </c:pt>
                      <c:pt idx="290">
                        <c:v>82</c:v>
                      </c:pt>
                      <c:pt idx="291">
                        <c:v>78.47</c:v>
                      </c:pt>
                      <c:pt idx="292">
                        <c:v>75</c:v>
                      </c:pt>
                      <c:pt idx="293">
                        <c:v>74.92</c:v>
                      </c:pt>
                      <c:pt idx="294">
                        <c:v>78.099999999999994</c:v>
                      </c:pt>
                      <c:pt idx="295">
                        <c:v>82.22</c:v>
                      </c:pt>
                      <c:pt idx="296">
                        <c:v>85.26</c:v>
                      </c:pt>
                      <c:pt idx="297">
                        <c:v>75.11</c:v>
                      </c:pt>
                      <c:pt idx="298">
                        <c:v>74.209999999999994</c:v>
                      </c:pt>
                      <c:pt idx="299">
                        <c:v>72.72</c:v>
                      </c:pt>
                      <c:pt idx="300">
                        <c:v>70.349999999999994</c:v>
                      </c:pt>
                      <c:pt idx="301">
                        <c:v>63.67</c:v>
                      </c:pt>
                      <c:pt idx="302">
                        <c:v>67.91</c:v>
                      </c:pt>
                      <c:pt idx="303">
                        <c:v>68.61</c:v>
                      </c:pt>
                      <c:pt idx="304">
                        <c:v>70.78</c:v>
                      </c:pt>
                      <c:pt idx="305">
                        <c:v>74.22</c:v>
                      </c:pt>
                      <c:pt idx="306">
                        <c:v>75.81</c:v>
                      </c:pt>
                      <c:pt idx="307">
                        <c:v>73.819999999999993</c:v>
                      </c:pt>
                      <c:pt idx="308">
                        <c:v>73.06</c:v>
                      </c:pt>
                      <c:pt idx="309">
                        <c:v>70.930000000000007</c:v>
                      </c:pt>
                      <c:pt idx="310">
                        <c:v>64.3</c:v>
                      </c:pt>
                      <c:pt idx="311">
                        <c:v>63.16</c:v>
                      </c:pt>
                      <c:pt idx="312">
                        <c:v>64.02</c:v>
                      </c:pt>
                      <c:pt idx="313">
                        <c:v>62.11</c:v>
                      </c:pt>
                      <c:pt idx="314">
                        <c:v>62.93</c:v>
                      </c:pt>
                      <c:pt idx="315">
                        <c:v>64.010000000000005</c:v>
                      </c:pt>
                      <c:pt idx="316">
                        <c:v>64.67</c:v>
                      </c:pt>
                      <c:pt idx="317">
                        <c:v>65.2</c:v>
                      </c:pt>
                      <c:pt idx="318">
                        <c:v>67.31</c:v>
                      </c:pt>
                      <c:pt idx="319">
                        <c:v>71.66</c:v>
                      </c:pt>
                      <c:pt idx="320">
                        <c:v>76.739999999999995</c:v>
                      </c:pt>
                      <c:pt idx="321">
                        <c:v>81.14</c:v>
                      </c:pt>
                      <c:pt idx="322">
                        <c:v>80.63</c:v>
                      </c:pt>
                      <c:pt idx="323">
                        <c:v>81.84</c:v>
                      </c:pt>
                      <c:pt idx="324">
                        <c:v>80.39</c:v>
                      </c:pt>
                      <c:pt idx="325">
                        <c:v>77.040000000000006</c:v>
                      </c:pt>
                      <c:pt idx="326">
                        <c:v>79.150000000000006</c:v>
                      </c:pt>
                      <c:pt idx="327">
                        <c:v>82.32</c:v>
                      </c:pt>
                      <c:pt idx="328">
                        <c:v>86.62</c:v>
                      </c:pt>
                      <c:pt idx="329">
                        <c:v>91.86</c:v>
                      </c:pt>
                      <c:pt idx="330">
                        <c:v>96.97</c:v>
                      </c:pt>
                      <c:pt idx="331">
                        <c:v>88.91</c:v>
                      </c:pt>
                      <c:pt idx="332">
                        <c:v>81</c:v>
                      </c:pt>
                      <c:pt idx="333">
                        <c:v>78.599999999999994</c:v>
                      </c:pt>
                      <c:pt idx="334">
                        <c:v>75.39</c:v>
                      </c:pt>
                      <c:pt idx="335">
                        <c:v>67.19</c:v>
                      </c:pt>
                      <c:pt idx="336">
                        <c:v>67.900000000000006</c:v>
                      </c:pt>
                      <c:pt idx="337">
                        <c:v>65</c:v>
                      </c:pt>
                      <c:pt idx="338">
                        <c:v>63.94</c:v>
                      </c:pt>
                      <c:pt idx="339">
                        <c:v>62.04</c:v>
                      </c:pt>
                      <c:pt idx="340">
                        <c:v>62.04</c:v>
                      </c:pt>
                      <c:pt idx="341">
                        <c:v>69.25</c:v>
                      </c:pt>
                      <c:pt idx="342">
                        <c:v>79.95</c:v>
                      </c:pt>
                      <c:pt idx="343">
                        <c:v>83.84</c:v>
                      </c:pt>
                      <c:pt idx="344">
                        <c:v>99.3</c:v>
                      </c:pt>
                      <c:pt idx="345">
                        <c:v>100.29</c:v>
                      </c:pt>
                      <c:pt idx="346">
                        <c:v>94.88</c:v>
                      </c:pt>
                      <c:pt idx="347">
                        <c:v>90.26</c:v>
                      </c:pt>
                      <c:pt idx="348">
                        <c:v>83.86</c:v>
                      </c:pt>
                      <c:pt idx="349">
                        <c:v>82.15</c:v>
                      </c:pt>
                      <c:pt idx="350">
                        <c:v>84.5</c:v>
                      </c:pt>
                      <c:pt idx="351">
                        <c:v>89.44</c:v>
                      </c:pt>
                      <c:pt idx="352">
                        <c:v>97.52</c:v>
                      </c:pt>
                      <c:pt idx="353">
                        <c:v>106.46</c:v>
                      </c:pt>
                      <c:pt idx="354">
                        <c:v>112.8</c:v>
                      </c:pt>
                      <c:pt idx="355">
                        <c:v>110.38</c:v>
                      </c:pt>
                      <c:pt idx="356">
                        <c:v>102.42</c:v>
                      </c:pt>
                      <c:pt idx="357">
                        <c:v>91.78</c:v>
                      </c:pt>
                      <c:pt idx="358">
                        <c:v>89.49</c:v>
                      </c:pt>
                      <c:pt idx="359">
                        <c:v>86.43</c:v>
                      </c:pt>
                      <c:pt idx="360">
                        <c:v>81.45</c:v>
                      </c:pt>
                      <c:pt idx="361">
                        <c:v>81.069999999999993</c:v>
                      </c:pt>
                      <c:pt idx="362">
                        <c:v>79.92</c:v>
                      </c:pt>
                      <c:pt idx="363">
                        <c:v>78.19</c:v>
                      </c:pt>
                      <c:pt idx="364">
                        <c:v>76.97</c:v>
                      </c:pt>
                      <c:pt idx="365">
                        <c:v>81.45</c:v>
                      </c:pt>
                      <c:pt idx="366">
                        <c:v>94.07</c:v>
                      </c:pt>
                      <c:pt idx="367">
                        <c:v>114.77</c:v>
                      </c:pt>
                      <c:pt idx="368">
                        <c:v>144.11000000000001</c:v>
                      </c:pt>
                      <c:pt idx="369">
                        <c:v>138.6</c:v>
                      </c:pt>
                      <c:pt idx="370">
                        <c:v>122</c:v>
                      </c:pt>
                      <c:pt idx="371">
                        <c:v>110</c:v>
                      </c:pt>
                      <c:pt idx="372">
                        <c:v>103.43</c:v>
                      </c:pt>
                      <c:pt idx="373">
                        <c:v>94.98</c:v>
                      </c:pt>
                      <c:pt idx="374">
                        <c:v>96</c:v>
                      </c:pt>
                      <c:pt idx="375">
                        <c:v>110.25</c:v>
                      </c:pt>
                      <c:pt idx="376">
                        <c:v>111.39</c:v>
                      </c:pt>
                      <c:pt idx="377">
                        <c:v>128.15</c:v>
                      </c:pt>
                      <c:pt idx="378">
                        <c:v>127.31</c:v>
                      </c:pt>
                      <c:pt idx="379">
                        <c:v>111.77</c:v>
                      </c:pt>
                      <c:pt idx="380">
                        <c:v>95.49</c:v>
                      </c:pt>
                      <c:pt idx="381">
                        <c:v>86.21</c:v>
                      </c:pt>
                      <c:pt idx="382">
                        <c:v>82.04</c:v>
                      </c:pt>
                      <c:pt idx="383">
                        <c:v>77.69</c:v>
                      </c:pt>
                      <c:pt idx="384">
                        <c:v>71.61</c:v>
                      </c:pt>
                      <c:pt idx="385">
                        <c:v>71.52</c:v>
                      </c:pt>
                      <c:pt idx="386">
                        <c:v>70.69</c:v>
                      </c:pt>
                      <c:pt idx="387">
                        <c:v>69.739999999999995</c:v>
                      </c:pt>
                      <c:pt idx="388">
                        <c:v>69.47</c:v>
                      </c:pt>
                      <c:pt idx="389">
                        <c:v>71.06</c:v>
                      </c:pt>
                      <c:pt idx="390">
                        <c:v>75.09</c:v>
                      </c:pt>
                      <c:pt idx="391">
                        <c:v>84.39</c:v>
                      </c:pt>
                      <c:pt idx="392">
                        <c:v>96.5</c:v>
                      </c:pt>
                      <c:pt idx="393">
                        <c:v>106.16</c:v>
                      </c:pt>
                      <c:pt idx="394">
                        <c:v>110.33</c:v>
                      </c:pt>
                      <c:pt idx="395">
                        <c:v>111.1</c:v>
                      </c:pt>
                      <c:pt idx="396">
                        <c:v>117.71</c:v>
                      </c:pt>
                      <c:pt idx="397">
                        <c:v>121.7</c:v>
                      </c:pt>
                      <c:pt idx="398">
                        <c:v>121.74</c:v>
                      </c:pt>
                      <c:pt idx="399">
                        <c:v>125.46</c:v>
                      </c:pt>
                      <c:pt idx="400">
                        <c:v>128.56</c:v>
                      </c:pt>
                      <c:pt idx="401">
                        <c:v>140.52000000000001</c:v>
                      </c:pt>
                      <c:pt idx="402">
                        <c:v>123.59</c:v>
                      </c:pt>
                      <c:pt idx="403">
                        <c:v>114.28</c:v>
                      </c:pt>
                      <c:pt idx="404">
                        <c:v>109.8</c:v>
                      </c:pt>
                      <c:pt idx="405">
                        <c:v>101.09</c:v>
                      </c:pt>
                      <c:pt idx="406">
                        <c:v>94.28</c:v>
                      </c:pt>
                      <c:pt idx="407">
                        <c:v>84.17</c:v>
                      </c:pt>
                      <c:pt idx="408">
                        <c:v>81.33</c:v>
                      </c:pt>
                      <c:pt idx="409">
                        <c:v>77.2</c:v>
                      </c:pt>
                      <c:pt idx="410">
                        <c:v>75.290000000000006</c:v>
                      </c:pt>
                      <c:pt idx="411">
                        <c:v>74.91</c:v>
                      </c:pt>
                      <c:pt idx="412">
                        <c:v>77.569999999999993</c:v>
                      </c:pt>
                      <c:pt idx="413">
                        <c:v>81</c:v>
                      </c:pt>
                      <c:pt idx="414">
                        <c:v>91.44</c:v>
                      </c:pt>
                      <c:pt idx="415">
                        <c:v>111.55</c:v>
                      </c:pt>
                      <c:pt idx="416">
                        <c:v>125.89</c:v>
                      </c:pt>
                      <c:pt idx="417">
                        <c:v>122.17</c:v>
                      </c:pt>
                      <c:pt idx="418">
                        <c:v>110.9</c:v>
                      </c:pt>
                      <c:pt idx="419">
                        <c:v>107.95</c:v>
                      </c:pt>
                      <c:pt idx="420">
                        <c:v>93.55</c:v>
                      </c:pt>
                      <c:pt idx="421">
                        <c:v>87.62</c:v>
                      </c:pt>
                      <c:pt idx="422">
                        <c:v>86.43</c:v>
                      </c:pt>
                      <c:pt idx="423">
                        <c:v>94.25</c:v>
                      </c:pt>
                      <c:pt idx="424">
                        <c:v>99.52</c:v>
                      </c:pt>
                      <c:pt idx="425">
                        <c:v>104.68</c:v>
                      </c:pt>
                      <c:pt idx="426">
                        <c:v>103.26</c:v>
                      </c:pt>
                      <c:pt idx="427">
                        <c:v>94.53</c:v>
                      </c:pt>
                      <c:pt idx="428">
                        <c:v>86.97</c:v>
                      </c:pt>
                      <c:pt idx="429">
                        <c:v>83.12</c:v>
                      </c:pt>
                      <c:pt idx="430">
                        <c:v>80.930000000000007</c:v>
                      </c:pt>
                      <c:pt idx="431">
                        <c:v>73.61</c:v>
                      </c:pt>
                      <c:pt idx="432">
                        <c:v>70.58</c:v>
                      </c:pt>
                      <c:pt idx="433">
                        <c:v>66.95</c:v>
                      </c:pt>
                      <c:pt idx="434">
                        <c:v>65.63</c:v>
                      </c:pt>
                      <c:pt idx="435">
                        <c:v>62.76</c:v>
                      </c:pt>
                      <c:pt idx="436">
                        <c:v>63.32</c:v>
                      </c:pt>
                      <c:pt idx="437">
                        <c:v>67.47</c:v>
                      </c:pt>
                      <c:pt idx="438">
                        <c:v>77.94</c:v>
                      </c:pt>
                      <c:pt idx="439">
                        <c:v>87.17</c:v>
                      </c:pt>
                      <c:pt idx="440">
                        <c:v>104.27</c:v>
                      </c:pt>
                      <c:pt idx="441">
                        <c:v>103.06</c:v>
                      </c:pt>
                      <c:pt idx="442">
                        <c:v>95.15</c:v>
                      </c:pt>
                      <c:pt idx="443">
                        <c:v>86.36</c:v>
                      </c:pt>
                      <c:pt idx="444">
                        <c:v>76.83</c:v>
                      </c:pt>
                      <c:pt idx="445">
                        <c:v>73.349999999999994</c:v>
                      </c:pt>
                      <c:pt idx="446">
                        <c:v>75.209999999999994</c:v>
                      </c:pt>
                      <c:pt idx="447">
                        <c:v>77.45</c:v>
                      </c:pt>
                      <c:pt idx="448">
                        <c:v>84.69</c:v>
                      </c:pt>
                      <c:pt idx="449">
                        <c:v>93.6</c:v>
                      </c:pt>
                      <c:pt idx="450">
                        <c:v>91.7</c:v>
                      </c:pt>
                      <c:pt idx="451">
                        <c:v>82.23</c:v>
                      </c:pt>
                      <c:pt idx="452">
                        <c:v>74</c:v>
                      </c:pt>
                      <c:pt idx="453">
                        <c:v>71.12</c:v>
                      </c:pt>
                      <c:pt idx="454">
                        <c:v>68.64</c:v>
                      </c:pt>
                      <c:pt idx="455">
                        <c:v>64.75</c:v>
                      </c:pt>
                      <c:pt idx="456">
                        <c:v>66</c:v>
                      </c:pt>
                      <c:pt idx="457">
                        <c:v>63.45</c:v>
                      </c:pt>
                      <c:pt idx="458">
                        <c:v>63.54</c:v>
                      </c:pt>
                      <c:pt idx="459">
                        <c:v>61.82</c:v>
                      </c:pt>
                      <c:pt idx="460">
                        <c:v>61.85</c:v>
                      </c:pt>
                      <c:pt idx="461">
                        <c:v>61.75</c:v>
                      </c:pt>
                      <c:pt idx="462">
                        <c:v>62.59</c:v>
                      </c:pt>
                      <c:pt idx="463">
                        <c:v>66.900000000000006</c:v>
                      </c:pt>
                      <c:pt idx="464">
                        <c:v>74.819999999999993</c:v>
                      </c:pt>
                      <c:pt idx="465">
                        <c:v>77.900000000000006</c:v>
                      </c:pt>
                      <c:pt idx="466">
                        <c:v>71.8</c:v>
                      </c:pt>
                      <c:pt idx="467">
                        <c:v>70.77</c:v>
                      </c:pt>
                      <c:pt idx="468">
                        <c:v>67.73</c:v>
                      </c:pt>
                      <c:pt idx="469">
                        <c:v>68.78</c:v>
                      </c:pt>
                      <c:pt idx="470">
                        <c:v>73.39</c:v>
                      </c:pt>
                      <c:pt idx="471">
                        <c:v>79.11</c:v>
                      </c:pt>
                      <c:pt idx="472">
                        <c:v>87.8</c:v>
                      </c:pt>
                      <c:pt idx="473">
                        <c:v>94.93</c:v>
                      </c:pt>
                      <c:pt idx="474">
                        <c:v>99.87</c:v>
                      </c:pt>
                      <c:pt idx="475">
                        <c:v>91.57</c:v>
                      </c:pt>
                      <c:pt idx="476">
                        <c:v>81.97</c:v>
                      </c:pt>
                      <c:pt idx="477">
                        <c:v>75.739999999999995</c:v>
                      </c:pt>
                      <c:pt idx="478">
                        <c:v>74.680000000000007</c:v>
                      </c:pt>
                      <c:pt idx="479">
                        <c:v>69.13</c:v>
                      </c:pt>
                      <c:pt idx="480">
                        <c:v>66.83</c:v>
                      </c:pt>
                      <c:pt idx="481">
                        <c:v>57.55</c:v>
                      </c:pt>
                      <c:pt idx="482">
                        <c:v>55.15</c:v>
                      </c:pt>
                      <c:pt idx="483">
                        <c:v>50.89</c:v>
                      </c:pt>
                      <c:pt idx="484">
                        <c:v>48.51</c:v>
                      </c:pt>
                      <c:pt idx="485">
                        <c:v>47.45</c:v>
                      </c:pt>
                      <c:pt idx="486">
                        <c:v>45.53</c:v>
                      </c:pt>
                      <c:pt idx="487">
                        <c:v>43.96</c:v>
                      </c:pt>
                      <c:pt idx="488">
                        <c:v>51.36</c:v>
                      </c:pt>
                      <c:pt idx="489">
                        <c:v>54.36</c:v>
                      </c:pt>
                      <c:pt idx="490">
                        <c:v>46.06</c:v>
                      </c:pt>
                      <c:pt idx="491">
                        <c:v>48.67</c:v>
                      </c:pt>
                      <c:pt idx="492">
                        <c:v>38.479999999999997</c:v>
                      </c:pt>
                      <c:pt idx="493">
                        <c:v>37.69</c:v>
                      </c:pt>
                      <c:pt idx="494">
                        <c:v>44.3</c:v>
                      </c:pt>
                      <c:pt idx="495">
                        <c:v>49.04</c:v>
                      </c:pt>
                      <c:pt idx="496">
                        <c:v>49.83</c:v>
                      </c:pt>
                      <c:pt idx="497">
                        <c:v>56.65</c:v>
                      </c:pt>
                      <c:pt idx="498">
                        <c:v>61.45</c:v>
                      </c:pt>
                      <c:pt idx="499">
                        <c:v>58.64</c:v>
                      </c:pt>
                      <c:pt idx="500">
                        <c:v>51.5</c:v>
                      </c:pt>
                      <c:pt idx="501">
                        <c:v>52.46</c:v>
                      </c:pt>
                      <c:pt idx="502">
                        <c:v>50.39</c:v>
                      </c:pt>
                      <c:pt idx="503">
                        <c:v>39.46</c:v>
                      </c:pt>
                      <c:pt idx="504">
                        <c:v>36.659999999999997</c:v>
                      </c:pt>
                      <c:pt idx="505">
                        <c:v>22.24</c:v>
                      </c:pt>
                      <c:pt idx="506">
                        <c:v>18.62</c:v>
                      </c:pt>
                      <c:pt idx="507">
                        <c:v>5.04</c:v>
                      </c:pt>
                      <c:pt idx="508">
                        <c:v>5.0599999999999996</c:v>
                      </c:pt>
                      <c:pt idx="509">
                        <c:v>20</c:v>
                      </c:pt>
                      <c:pt idx="510">
                        <c:v>40.5</c:v>
                      </c:pt>
                      <c:pt idx="511">
                        <c:v>60.47</c:v>
                      </c:pt>
                      <c:pt idx="512">
                        <c:v>66.48</c:v>
                      </c:pt>
                      <c:pt idx="513">
                        <c:v>57.58</c:v>
                      </c:pt>
                      <c:pt idx="514">
                        <c:v>61.55</c:v>
                      </c:pt>
                      <c:pt idx="515">
                        <c:v>60.6</c:v>
                      </c:pt>
                      <c:pt idx="516">
                        <c:v>56.92</c:v>
                      </c:pt>
                      <c:pt idx="517">
                        <c:v>56.72</c:v>
                      </c:pt>
                      <c:pt idx="518">
                        <c:v>58.23</c:v>
                      </c:pt>
                      <c:pt idx="519">
                        <c:v>59.73</c:v>
                      </c:pt>
                      <c:pt idx="520">
                        <c:v>59.99</c:v>
                      </c:pt>
                      <c:pt idx="521">
                        <c:v>70.94</c:v>
                      </c:pt>
                      <c:pt idx="522">
                        <c:v>77.349999999999994</c:v>
                      </c:pt>
                      <c:pt idx="523">
                        <c:v>71.989999999999995</c:v>
                      </c:pt>
                      <c:pt idx="524">
                        <c:v>66.650000000000006</c:v>
                      </c:pt>
                      <c:pt idx="525">
                        <c:v>57</c:v>
                      </c:pt>
                      <c:pt idx="526">
                        <c:v>55.89</c:v>
                      </c:pt>
                      <c:pt idx="527">
                        <c:v>49.88</c:v>
                      </c:pt>
                      <c:pt idx="528">
                        <c:v>16.23</c:v>
                      </c:pt>
                      <c:pt idx="529">
                        <c:v>10.1</c:v>
                      </c:pt>
                      <c:pt idx="530">
                        <c:v>9.3699999999999992</c:v>
                      </c:pt>
                      <c:pt idx="531">
                        <c:v>4.17</c:v>
                      </c:pt>
                      <c:pt idx="532">
                        <c:v>10.220000000000001</c:v>
                      </c:pt>
                      <c:pt idx="533">
                        <c:v>39.229999999999997</c:v>
                      </c:pt>
                      <c:pt idx="534">
                        <c:v>59.76</c:v>
                      </c:pt>
                      <c:pt idx="535">
                        <c:v>76.42</c:v>
                      </c:pt>
                      <c:pt idx="536">
                        <c:v>69.819999999999993</c:v>
                      </c:pt>
                      <c:pt idx="537">
                        <c:v>69.930000000000007</c:v>
                      </c:pt>
                      <c:pt idx="538">
                        <c:v>59.97</c:v>
                      </c:pt>
                      <c:pt idx="539">
                        <c:v>59.8</c:v>
                      </c:pt>
                      <c:pt idx="540">
                        <c:v>59.14</c:v>
                      </c:pt>
                      <c:pt idx="541">
                        <c:v>59.43</c:v>
                      </c:pt>
                      <c:pt idx="542">
                        <c:v>62.7</c:v>
                      </c:pt>
                      <c:pt idx="543">
                        <c:v>74.63</c:v>
                      </c:pt>
                      <c:pt idx="544">
                        <c:v>78.95</c:v>
                      </c:pt>
                      <c:pt idx="545">
                        <c:v>81.59</c:v>
                      </c:pt>
                      <c:pt idx="546">
                        <c:v>84.51</c:v>
                      </c:pt>
                      <c:pt idx="547">
                        <c:v>74.55</c:v>
                      </c:pt>
                      <c:pt idx="548">
                        <c:v>61.95</c:v>
                      </c:pt>
                      <c:pt idx="549">
                        <c:v>53.74</c:v>
                      </c:pt>
                      <c:pt idx="550">
                        <c:v>45.36</c:v>
                      </c:pt>
                      <c:pt idx="551">
                        <c:v>33.26</c:v>
                      </c:pt>
                      <c:pt idx="552">
                        <c:v>3.05</c:v>
                      </c:pt>
                      <c:pt idx="553">
                        <c:v>-0.03</c:v>
                      </c:pt>
                      <c:pt idx="554">
                        <c:v>-0.64</c:v>
                      </c:pt>
                      <c:pt idx="555">
                        <c:v>-4.41</c:v>
                      </c:pt>
                      <c:pt idx="556">
                        <c:v>-4.84</c:v>
                      </c:pt>
                      <c:pt idx="557">
                        <c:v>-0.18</c:v>
                      </c:pt>
                      <c:pt idx="558">
                        <c:v>14.76</c:v>
                      </c:pt>
                      <c:pt idx="559">
                        <c:v>42.09</c:v>
                      </c:pt>
                      <c:pt idx="560">
                        <c:v>51.58</c:v>
                      </c:pt>
                      <c:pt idx="561">
                        <c:v>50.76</c:v>
                      </c:pt>
                      <c:pt idx="562">
                        <c:v>50.1</c:v>
                      </c:pt>
                      <c:pt idx="563">
                        <c:v>50.78</c:v>
                      </c:pt>
                      <c:pt idx="564">
                        <c:v>39.32</c:v>
                      </c:pt>
                      <c:pt idx="565">
                        <c:v>36.44</c:v>
                      </c:pt>
                      <c:pt idx="566">
                        <c:v>45.04</c:v>
                      </c:pt>
                      <c:pt idx="567">
                        <c:v>49.95</c:v>
                      </c:pt>
                      <c:pt idx="568">
                        <c:v>50.8</c:v>
                      </c:pt>
                      <c:pt idx="569">
                        <c:v>54.21</c:v>
                      </c:pt>
                      <c:pt idx="570">
                        <c:v>53.32</c:v>
                      </c:pt>
                      <c:pt idx="571">
                        <c:v>50.09</c:v>
                      </c:pt>
                      <c:pt idx="572">
                        <c:v>42.18</c:v>
                      </c:pt>
                      <c:pt idx="573">
                        <c:v>40.04</c:v>
                      </c:pt>
                      <c:pt idx="574">
                        <c:v>42.01</c:v>
                      </c:pt>
                      <c:pt idx="575">
                        <c:v>38.53</c:v>
                      </c:pt>
                      <c:pt idx="576">
                        <c:v>44.34</c:v>
                      </c:pt>
                      <c:pt idx="577">
                        <c:v>45.06</c:v>
                      </c:pt>
                      <c:pt idx="578">
                        <c:v>43.34</c:v>
                      </c:pt>
                      <c:pt idx="579">
                        <c:v>44.92</c:v>
                      </c:pt>
                      <c:pt idx="580">
                        <c:v>46.22</c:v>
                      </c:pt>
                      <c:pt idx="581">
                        <c:v>52.38</c:v>
                      </c:pt>
                      <c:pt idx="582">
                        <c:v>69.099999999999994</c:v>
                      </c:pt>
                      <c:pt idx="583">
                        <c:v>77.650000000000006</c:v>
                      </c:pt>
                      <c:pt idx="584">
                        <c:v>91.87</c:v>
                      </c:pt>
                      <c:pt idx="585">
                        <c:v>87.97</c:v>
                      </c:pt>
                      <c:pt idx="586">
                        <c:v>83.95</c:v>
                      </c:pt>
                      <c:pt idx="587">
                        <c:v>78.66</c:v>
                      </c:pt>
                      <c:pt idx="588">
                        <c:v>74.95</c:v>
                      </c:pt>
                      <c:pt idx="589">
                        <c:v>77.86</c:v>
                      </c:pt>
                      <c:pt idx="590">
                        <c:v>87.07</c:v>
                      </c:pt>
                      <c:pt idx="591">
                        <c:v>93.91</c:v>
                      </c:pt>
                      <c:pt idx="592">
                        <c:v>102.46</c:v>
                      </c:pt>
                      <c:pt idx="593">
                        <c:v>123.38</c:v>
                      </c:pt>
                      <c:pt idx="594">
                        <c:v>115.54</c:v>
                      </c:pt>
                      <c:pt idx="595">
                        <c:v>98.79</c:v>
                      </c:pt>
                      <c:pt idx="596">
                        <c:v>91.07</c:v>
                      </c:pt>
                      <c:pt idx="597">
                        <c:v>86.31</c:v>
                      </c:pt>
                      <c:pt idx="598">
                        <c:v>80.430000000000007</c:v>
                      </c:pt>
                      <c:pt idx="599">
                        <c:v>75.16</c:v>
                      </c:pt>
                      <c:pt idx="600">
                        <c:v>62.8</c:v>
                      </c:pt>
                      <c:pt idx="601">
                        <c:v>62</c:v>
                      </c:pt>
                      <c:pt idx="602">
                        <c:v>58.49</c:v>
                      </c:pt>
                      <c:pt idx="603">
                        <c:v>57.73</c:v>
                      </c:pt>
                      <c:pt idx="604">
                        <c:v>57.07</c:v>
                      </c:pt>
                      <c:pt idx="605">
                        <c:v>52.16</c:v>
                      </c:pt>
                      <c:pt idx="606">
                        <c:v>59.37</c:v>
                      </c:pt>
                      <c:pt idx="607">
                        <c:v>71.12</c:v>
                      </c:pt>
                      <c:pt idx="608">
                        <c:v>76.59</c:v>
                      </c:pt>
                      <c:pt idx="609">
                        <c:v>70.58</c:v>
                      </c:pt>
                      <c:pt idx="610">
                        <c:v>61.61</c:v>
                      </c:pt>
                      <c:pt idx="611">
                        <c:v>59.14</c:v>
                      </c:pt>
                      <c:pt idx="612">
                        <c:v>52.28</c:v>
                      </c:pt>
                      <c:pt idx="613">
                        <c:v>46.47</c:v>
                      </c:pt>
                      <c:pt idx="614">
                        <c:v>49.28</c:v>
                      </c:pt>
                      <c:pt idx="615">
                        <c:v>50.11</c:v>
                      </c:pt>
                      <c:pt idx="616">
                        <c:v>52.74</c:v>
                      </c:pt>
                      <c:pt idx="617">
                        <c:v>60.7</c:v>
                      </c:pt>
                      <c:pt idx="618">
                        <c:v>58.75</c:v>
                      </c:pt>
                      <c:pt idx="619">
                        <c:v>64.959999999999994</c:v>
                      </c:pt>
                      <c:pt idx="620">
                        <c:v>58.78</c:v>
                      </c:pt>
                      <c:pt idx="621">
                        <c:v>62.02</c:v>
                      </c:pt>
                      <c:pt idx="622">
                        <c:v>59.58</c:v>
                      </c:pt>
                      <c:pt idx="623">
                        <c:v>57.08</c:v>
                      </c:pt>
                      <c:pt idx="624">
                        <c:v>55.5</c:v>
                      </c:pt>
                      <c:pt idx="625">
                        <c:v>55.03</c:v>
                      </c:pt>
                      <c:pt idx="626">
                        <c:v>56.21</c:v>
                      </c:pt>
                      <c:pt idx="627">
                        <c:v>55.05</c:v>
                      </c:pt>
                      <c:pt idx="628">
                        <c:v>55.74</c:v>
                      </c:pt>
                      <c:pt idx="629">
                        <c:v>56.83</c:v>
                      </c:pt>
                      <c:pt idx="630">
                        <c:v>59.07</c:v>
                      </c:pt>
                      <c:pt idx="631">
                        <c:v>65.91</c:v>
                      </c:pt>
                      <c:pt idx="632">
                        <c:v>75.290000000000006</c:v>
                      </c:pt>
                      <c:pt idx="633">
                        <c:v>72.56</c:v>
                      </c:pt>
                      <c:pt idx="634">
                        <c:v>60.06</c:v>
                      </c:pt>
                      <c:pt idx="635">
                        <c:v>56.61</c:v>
                      </c:pt>
                      <c:pt idx="636">
                        <c:v>55.84</c:v>
                      </c:pt>
                      <c:pt idx="637">
                        <c:v>53.88</c:v>
                      </c:pt>
                      <c:pt idx="638">
                        <c:v>59.72</c:v>
                      </c:pt>
                      <c:pt idx="639">
                        <c:v>72.44</c:v>
                      </c:pt>
                      <c:pt idx="640">
                        <c:v>83.62</c:v>
                      </c:pt>
                      <c:pt idx="641">
                        <c:v>93.37</c:v>
                      </c:pt>
                      <c:pt idx="642">
                        <c:v>95.95</c:v>
                      </c:pt>
                      <c:pt idx="643">
                        <c:v>92.53</c:v>
                      </c:pt>
                      <c:pt idx="644">
                        <c:v>84.42</c:v>
                      </c:pt>
                      <c:pt idx="645">
                        <c:v>76.069999999999993</c:v>
                      </c:pt>
                      <c:pt idx="646">
                        <c:v>75.97</c:v>
                      </c:pt>
                      <c:pt idx="647">
                        <c:v>72.7</c:v>
                      </c:pt>
                      <c:pt idx="648">
                        <c:v>66.77</c:v>
                      </c:pt>
                      <c:pt idx="649">
                        <c:v>60.92</c:v>
                      </c:pt>
                      <c:pt idx="650">
                        <c:v>59.65</c:v>
                      </c:pt>
                      <c:pt idx="651">
                        <c:v>59.94</c:v>
                      </c:pt>
                      <c:pt idx="652">
                        <c:v>61.4</c:v>
                      </c:pt>
                      <c:pt idx="653">
                        <c:v>64.11</c:v>
                      </c:pt>
                      <c:pt idx="654">
                        <c:v>60.53</c:v>
                      </c:pt>
                      <c:pt idx="655">
                        <c:v>59.64</c:v>
                      </c:pt>
                      <c:pt idx="656">
                        <c:v>59.63</c:v>
                      </c:pt>
                      <c:pt idx="657">
                        <c:v>55.08</c:v>
                      </c:pt>
                      <c:pt idx="658">
                        <c:v>51.16</c:v>
                      </c:pt>
                      <c:pt idx="659">
                        <c:v>45.75</c:v>
                      </c:pt>
                      <c:pt idx="660">
                        <c:v>41.58</c:v>
                      </c:pt>
                      <c:pt idx="661">
                        <c:v>40.090000000000003</c:v>
                      </c:pt>
                      <c:pt idx="662">
                        <c:v>50.65</c:v>
                      </c:pt>
                      <c:pt idx="663">
                        <c:v>56.41</c:v>
                      </c:pt>
                      <c:pt idx="664">
                        <c:v>68.87</c:v>
                      </c:pt>
                      <c:pt idx="665">
                        <c:v>77.84</c:v>
                      </c:pt>
                      <c:pt idx="666">
                        <c:v>71.930000000000007</c:v>
                      </c:pt>
                      <c:pt idx="667">
                        <c:v>69.88</c:v>
                      </c:pt>
                      <c:pt idx="668">
                        <c:v>68.25</c:v>
                      </c:pt>
                      <c:pt idx="669">
                        <c:v>57.17</c:v>
                      </c:pt>
                      <c:pt idx="670">
                        <c:v>59.43</c:v>
                      </c:pt>
                      <c:pt idx="671">
                        <c:v>56</c:v>
                      </c:pt>
                      <c:pt idx="672">
                        <c:v>49.97</c:v>
                      </c:pt>
                      <c:pt idx="673">
                        <c:v>47.26</c:v>
                      </c:pt>
                      <c:pt idx="674">
                        <c:v>48.12</c:v>
                      </c:pt>
                      <c:pt idx="675">
                        <c:v>47.97</c:v>
                      </c:pt>
                      <c:pt idx="676">
                        <c:v>51.58</c:v>
                      </c:pt>
                      <c:pt idx="677">
                        <c:v>60.06</c:v>
                      </c:pt>
                      <c:pt idx="678">
                        <c:v>80</c:v>
                      </c:pt>
                      <c:pt idx="679">
                        <c:v>93.57</c:v>
                      </c:pt>
                      <c:pt idx="680">
                        <c:v>99.17</c:v>
                      </c:pt>
                      <c:pt idx="681">
                        <c:v>88.39</c:v>
                      </c:pt>
                      <c:pt idx="682">
                        <c:v>78.900000000000006</c:v>
                      </c:pt>
                      <c:pt idx="683">
                        <c:v>71.27</c:v>
                      </c:pt>
                      <c:pt idx="684">
                        <c:v>70.239999999999995</c:v>
                      </c:pt>
                      <c:pt idx="685">
                        <c:v>74.989999999999995</c:v>
                      </c:pt>
                      <c:pt idx="686">
                        <c:v>82.55</c:v>
                      </c:pt>
                      <c:pt idx="687">
                        <c:v>97.6</c:v>
                      </c:pt>
                      <c:pt idx="688">
                        <c:v>108.43</c:v>
                      </c:pt>
                      <c:pt idx="689">
                        <c:v>127.42</c:v>
                      </c:pt>
                      <c:pt idx="690">
                        <c:v>117.3</c:v>
                      </c:pt>
                      <c:pt idx="691">
                        <c:v>107.52</c:v>
                      </c:pt>
                      <c:pt idx="692">
                        <c:v>91.98</c:v>
                      </c:pt>
                      <c:pt idx="693">
                        <c:v>86.79</c:v>
                      </c:pt>
                      <c:pt idx="694">
                        <c:v>83.42</c:v>
                      </c:pt>
                      <c:pt idx="695">
                        <c:v>80.290000000000006</c:v>
                      </c:pt>
                      <c:pt idx="696">
                        <c:v>71.94</c:v>
                      </c:pt>
                      <c:pt idx="697">
                        <c:v>68.790000000000006</c:v>
                      </c:pt>
                      <c:pt idx="698">
                        <c:v>69.37</c:v>
                      </c:pt>
                      <c:pt idx="699">
                        <c:v>67.44</c:v>
                      </c:pt>
                      <c:pt idx="700">
                        <c:v>67.180000000000007</c:v>
                      </c:pt>
                      <c:pt idx="701">
                        <c:v>69.37</c:v>
                      </c:pt>
                      <c:pt idx="702">
                        <c:v>78.430000000000007</c:v>
                      </c:pt>
                      <c:pt idx="703">
                        <c:v>90.6</c:v>
                      </c:pt>
                      <c:pt idx="704">
                        <c:v>95.93</c:v>
                      </c:pt>
                      <c:pt idx="705">
                        <c:v>84.93</c:v>
                      </c:pt>
                      <c:pt idx="706">
                        <c:v>77.150000000000006</c:v>
                      </c:pt>
                      <c:pt idx="707">
                        <c:v>70.099999999999994</c:v>
                      </c:pt>
                      <c:pt idx="708">
                        <c:v>68.099999999999994</c:v>
                      </c:pt>
                      <c:pt idx="709">
                        <c:v>68.23</c:v>
                      </c:pt>
                      <c:pt idx="710">
                        <c:v>71.930000000000007</c:v>
                      </c:pt>
                      <c:pt idx="711">
                        <c:v>79.489999999999995</c:v>
                      </c:pt>
                      <c:pt idx="712">
                        <c:v>82.36</c:v>
                      </c:pt>
                      <c:pt idx="713">
                        <c:v>88.17</c:v>
                      </c:pt>
                      <c:pt idx="714">
                        <c:v>99.23</c:v>
                      </c:pt>
                      <c:pt idx="715">
                        <c:v>91.91</c:v>
                      </c:pt>
                      <c:pt idx="716">
                        <c:v>86.04</c:v>
                      </c:pt>
                      <c:pt idx="717">
                        <c:v>78</c:v>
                      </c:pt>
                      <c:pt idx="718">
                        <c:v>75.010000000000005</c:v>
                      </c:pt>
                      <c:pt idx="719">
                        <c:v>71.510000000000005</c:v>
                      </c:pt>
                      <c:pt idx="720">
                        <c:v>71.73</c:v>
                      </c:pt>
                      <c:pt idx="721">
                        <c:v>70.19</c:v>
                      </c:pt>
                      <c:pt idx="722">
                        <c:v>70.89</c:v>
                      </c:pt>
                      <c:pt idx="723">
                        <c:v>69.819999999999993</c:v>
                      </c:pt>
                      <c:pt idx="724">
                        <c:v>69.14</c:v>
                      </c:pt>
                      <c:pt idx="725">
                        <c:v>73.819999999999993</c:v>
                      </c:pt>
                      <c:pt idx="726">
                        <c:v>84.85</c:v>
                      </c:pt>
                      <c:pt idx="727">
                        <c:v>108.17</c:v>
                      </c:pt>
                      <c:pt idx="728">
                        <c:v>119.93</c:v>
                      </c:pt>
                      <c:pt idx="729">
                        <c:v>93.61</c:v>
                      </c:pt>
                      <c:pt idx="730">
                        <c:v>82.98</c:v>
                      </c:pt>
                      <c:pt idx="731">
                        <c:v>77.09</c:v>
                      </c:pt>
                      <c:pt idx="732">
                        <c:v>74.91</c:v>
                      </c:pt>
                      <c:pt idx="733">
                        <c:v>67.66</c:v>
                      </c:pt>
                      <c:pt idx="734">
                        <c:v>66.69</c:v>
                      </c:pt>
                      <c:pt idx="735">
                        <c:v>75.87</c:v>
                      </c:pt>
                      <c:pt idx="736">
                        <c:v>81.62</c:v>
                      </c:pt>
                      <c:pt idx="737">
                        <c:v>87.91</c:v>
                      </c:pt>
                      <c:pt idx="738">
                        <c:v>86.78</c:v>
                      </c:pt>
                      <c:pt idx="739">
                        <c:v>73.650000000000006</c:v>
                      </c:pt>
                      <c:pt idx="740">
                        <c:v>66.03</c:v>
                      </c:pt>
                      <c:pt idx="741">
                        <c:v>56.96</c:v>
                      </c:pt>
                      <c:pt idx="742">
                        <c:v>54.08</c:v>
                      </c:pt>
                      <c:pt idx="743">
                        <c:v>39.729999999999997</c:v>
                      </c:pt>
                      <c:pt idx="744">
                        <c:v>47.06</c:v>
                      </c:pt>
                      <c:pt idx="745">
                        <c:v>41.12</c:v>
                      </c:pt>
                      <c:pt idx="746">
                        <c:v>42.16</c:v>
                      </c:pt>
                      <c:pt idx="747">
                        <c:v>43.05</c:v>
                      </c:pt>
                      <c:pt idx="748">
                        <c:v>46.91</c:v>
                      </c:pt>
                      <c:pt idx="749">
                        <c:v>55.34</c:v>
                      </c:pt>
                      <c:pt idx="750">
                        <c:v>69.010000000000005</c:v>
                      </c:pt>
                      <c:pt idx="751">
                        <c:v>86.12</c:v>
                      </c:pt>
                      <c:pt idx="752">
                        <c:v>92.5</c:v>
                      </c:pt>
                      <c:pt idx="753">
                        <c:v>86.29</c:v>
                      </c:pt>
                      <c:pt idx="754">
                        <c:v>83.67</c:v>
                      </c:pt>
                      <c:pt idx="755">
                        <c:v>77.22</c:v>
                      </c:pt>
                      <c:pt idx="756">
                        <c:v>67.599999999999994</c:v>
                      </c:pt>
                      <c:pt idx="757">
                        <c:v>57.26</c:v>
                      </c:pt>
                      <c:pt idx="758">
                        <c:v>68.739999999999995</c:v>
                      </c:pt>
                      <c:pt idx="759">
                        <c:v>75.069999999999993</c:v>
                      </c:pt>
                      <c:pt idx="760">
                        <c:v>77.05</c:v>
                      </c:pt>
                      <c:pt idx="761">
                        <c:v>91.61</c:v>
                      </c:pt>
                      <c:pt idx="762">
                        <c:v>94.67</c:v>
                      </c:pt>
                      <c:pt idx="763">
                        <c:v>97.89</c:v>
                      </c:pt>
                      <c:pt idx="764">
                        <c:v>89.97</c:v>
                      </c:pt>
                      <c:pt idx="765">
                        <c:v>83.29</c:v>
                      </c:pt>
                      <c:pt idx="766">
                        <c:v>81.88</c:v>
                      </c:pt>
                      <c:pt idx="767">
                        <c:v>73.38</c:v>
                      </c:pt>
                      <c:pt idx="768">
                        <c:v>64.27</c:v>
                      </c:pt>
                      <c:pt idx="769">
                        <c:v>59.94</c:v>
                      </c:pt>
                      <c:pt idx="770">
                        <c:v>58</c:v>
                      </c:pt>
                      <c:pt idx="771">
                        <c:v>54.69</c:v>
                      </c:pt>
                      <c:pt idx="772">
                        <c:v>53.23</c:v>
                      </c:pt>
                      <c:pt idx="773">
                        <c:v>55.07</c:v>
                      </c:pt>
                      <c:pt idx="774">
                        <c:v>66.94</c:v>
                      </c:pt>
                      <c:pt idx="775">
                        <c:v>76.989999999999995</c:v>
                      </c:pt>
                      <c:pt idx="776">
                        <c:v>89.32</c:v>
                      </c:pt>
                      <c:pt idx="777">
                        <c:v>85.9</c:v>
                      </c:pt>
                      <c:pt idx="778">
                        <c:v>80.77</c:v>
                      </c:pt>
                      <c:pt idx="779">
                        <c:v>75.150000000000006</c:v>
                      </c:pt>
                      <c:pt idx="780">
                        <c:v>64.8</c:v>
                      </c:pt>
                      <c:pt idx="781">
                        <c:v>56.52</c:v>
                      </c:pt>
                      <c:pt idx="782">
                        <c:v>54.83</c:v>
                      </c:pt>
                      <c:pt idx="783">
                        <c:v>53.09</c:v>
                      </c:pt>
                      <c:pt idx="784">
                        <c:v>52.73</c:v>
                      </c:pt>
                      <c:pt idx="785">
                        <c:v>58.5</c:v>
                      </c:pt>
                      <c:pt idx="786">
                        <c:v>68.97</c:v>
                      </c:pt>
                      <c:pt idx="787">
                        <c:v>63.34</c:v>
                      </c:pt>
                      <c:pt idx="788">
                        <c:v>55.06</c:v>
                      </c:pt>
                      <c:pt idx="789">
                        <c:v>49.68</c:v>
                      </c:pt>
                      <c:pt idx="790">
                        <c:v>46.03</c:v>
                      </c:pt>
                      <c:pt idx="791">
                        <c:v>36.049999999999997</c:v>
                      </c:pt>
                      <c:pt idx="792">
                        <c:v>24.74</c:v>
                      </c:pt>
                      <c:pt idx="793">
                        <c:v>12.85</c:v>
                      </c:pt>
                      <c:pt idx="794">
                        <c:v>6.73</c:v>
                      </c:pt>
                      <c:pt idx="795">
                        <c:v>10.51</c:v>
                      </c:pt>
                      <c:pt idx="796">
                        <c:v>8.5299999999999994</c:v>
                      </c:pt>
                      <c:pt idx="797">
                        <c:v>8.8000000000000007</c:v>
                      </c:pt>
                      <c:pt idx="798">
                        <c:v>16.48</c:v>
                      </c:pt>
                      <c:pt idx="799">
                        <c:v>34.17</c:v>
                      </c:pt>
                      <c:pt idx="800">
                        <c:v>45.99</c:v>
                      </c:pt>
                      <c:pt idx="801">
                        <c:v>45.97</c:v>
                      </c:pt>
                      <c:pt idx="802">
                        <c:v>35.619999999999997</c:v>
                      </c:pt>
                      <c:pt idx="803">
                        <c:v>30.42</c:v>
                      </c:pt>
                      <c:pt idx="804">
                        <c:v>30.58</c:v>
                      </c:pt>
                      <c:pt idx="805">
                        <c:v>30.62</c:v>
                      </c:pt>
                      <c:pt idx="806">
                        <c:v>40.74</c:v>
                      </c:pt>
                      <c:pt idx="807">
                        <c:v>43.7</c:v>
                      </c:pt>
                      <c:pt idx="808">
                        <c:v>49.36</c:v>
                      </c:pt>
                      <c:pt idx="809">
                        <c:v>57.83</c:v>
                      </c:pt>
                      <c:pt idx="810">
                        <c:v>68.569999999999993</c:v>
                      </c:pt>
                      <c:pt idx="811">
                        <c:v>65.98</c:v>
                      </c:pt>
                      <c:pt idx="812">
                        <c:v>54.37</c:v>
                      </c:pt>
                      <c:pt idx="813">
                        <c:v>51.21</c:v>
                      </c:pt>
                      <c:pt idx="814">
                        <c:v>50.81</c:v>
                      </c:pt>
                      <c:pt idx="815">
                        <c:v>38.71</c:v>
                      </c:pt>
                      <c:pt idx="816">
                        <c:v>35.299999999999997</c:v>
                      </c:pt>
                      <c:pt idx="817">
                        <c:v>10.039999999999999</c:v>
                      </c:pt>
                      <c:pt idx="818">
                        <c:v>3.23</c:v>
                      </c:pt>
                      <c:pt idx="819">
                        <c:v>0.68</c:v>
                      </c:pt>
                      <c:pt idx="820">
                        <c:v>0</c:v>
                      </c:pt>
                      <c:pt idx="821">
                        <c:v>0</c:v>
                      </c:pt>
                      <c:pt idx="822">
                        <c:v>0</c:v>
                      </c:pt>
                      <c:pt idx="823">
                        <c:v>1.05</c:v>
                      </c:pt>
                      <c:pt idx="824">
                        <c:v>8.8699999999999992</c:v>
                      </c:pt>
                      <c:pt idx="825">
                        <c:v>9.83</c:v>
                      </c:pt>
                      <c:pt idx="826">
                        <c:v>10.87</c:v>
                      </c:pt>
                      <c:pt idx="827">
                        <c:v>12.81</c:v>
                      </c:pt>
                      <c:pt idx="828">
                        <c:v>13.82</c:v>
                      </c:pt>
                      <c:pt idx="829">
                        <c:v>4.62</c:v>
                      </c:pt>
                      <c:pt idx="830">
                        <c:v>9.7200000000000006</c:v>
                      </c:pt>
                      <c:pt idx="831">
                        <c:v>15.72</c:v>
                      </c:pt>
                      <c:pt idx="832">
                        <c:v>18.43</c:v>
                      </c:pt>
                      <c:pt idx="833">
                        <c:v>38.909999999999997</c:v>
                      </c:pt>
                      <c:pt idx="834">
                        <c:v>46.01</c:v>
                      </c:pt>
                      <c:pt idx="835">
                        <c:v>36.17</c:v>
                      </c:pt>
                      <c:pt idx="836">
                        <c:v>29.05</c:v>
                      </c:pt>
                      <c:pt idx="837">
                        <c:v>24.52</c:v>
                      </c:pt>
                      <c:pt idx="838">
                        <c:v>24.44</c:v>
                      </c:pt>
                      <c:pt idx="839">
                        <c:v>0.56999999999999995</c:v>
                      </c:pt>
                      <c:pt idx="840">
                        <c:v>0</c:v>
                      </c:pt>
                      <c:pt idx="841">
                        <c:v>-0.03</c:v>
                      </c:pt>
                      <c:pt idx="842">
                        <c:v>-7.0000000000000007E-2</c:v>
                      </c:pt>
                      <c:pt idx="843">
                        <c:v>-0.13</c:v>
                      </c:pt>
                      <c:pt idx="844">
                        <c:v>-0.05</c:v>
                      </c:pt>
                      <c:pt idx="845">
                        <c:v>0.42</c:v>
                      </c:pt>
                      <c:pt idx="846">
                        <c:v>38.97</c:v>
                      </c:pt>
                      <c:pt idx="847">
                        <c:v>58.91</c:v>
                      </c:pt>
                      <c:pt idx="848">
                        <c:v>62.32</c:v>
                      </c:pt>
                      <c:pt idx="849">
                        <c:v>56.86</c:v>
                      </c:pt>
                      <c:pt idx="850">
                        <c:v>52.93</c:v>
                      </c:pt>
                      <c:pt idx="851">
                        <c:v>40.15</c:v>
                      </c:pt>
                      <c:pt idx="852">
                        <c:v>7.05</c:v>
                      </c:pt>
                      <c:pt idx="853">
                        <c:v>1.0900000000000001</c:v>
                      </c:pt>
                      <c:pt idx="854">
                        <c:v>5.01</c:v>
                      </c:pt>
                      <c:pt idx="855">
                        <c:v>53.1</c:v>
                      </c:pt>
                      <c:pt idx="856">
                        <c:v>60.72</c:v>
                      </c:pt>
                      <c:pt idx="857">
                        <c:v>68.47</c:v>
                      </c:pt>
                      <c:pt idx="858">
                        <c:v>68.78</c:v>
                      </c:pt>
                      <c:pt idx="859">
                        <c:v>61.84</c:v>
                      </c:pt>
                      <c:pt idx="860">
                        <c:v>60.48</c:v>
                      </c:pt>
                      <c:pt idx="861">
                        <c:v>59.65</c:v>
                      </c:pt>
                      <c:pt idx="862">
                        <c:v>56.3</c:v>
                      </c:pt>
                      <c:pt idx="863">
                        <c:v>47.41</c:v>
                      </c:pt>
                      <c:pt idx="864">
                        <c:v>35.04</c:v>
                      </c:pt>
                      <c:pt idx="865">
                        <c:v>27.65</c:v>
                      </c:pt>
                      <c:pt idx="866">
                        <c:v>7.08</c:v>
                      </c:pt>
                      <c:pt idx="867">
                        <c:v>3.07</c:v>
                      </c:pt>
                      <c:pt idx="868">
                        <c:v>1.94</c:v>
                      </c:pt>
                      <c:pt idx="869">
                        <c:v>19.38</c:v>
                      </c:pt>
                      <c:pt idx="870">
                        <c:v>50</c:v>
                      </c:pt>
                      <c:pt idx="871">
                        <c:v>68.16</c:v>
                      </c:pt>
                      <c:pt idx="872">
                        <c:v>62</c:v>
                      </c:pt>
                      <c:pt idx="873">
                        <c:v>61.35</c:v>
                      </c:pt>
                      <c:pt idx="874">
                        <c:v>56.56</c:v>
                      </c:pt>
                      <c:pt idx="875">
                        <c:v>51.7</c:v>
                      </c:pt>
                      <c:pt idx="876">
                        <c:v>43.47</c:v>
                      </c:pt>
                      <c:pt idx="877">
                        <c:v>42.54</c:v>
                      </c:pt>
                      <c:pt idx="878">
                        <c:v>40.11</c:v>
                      </c:pt>
                      <c:pt idx="879">
                        <c:v>49.91</c:v>
                      </c:pt>
                      <c:pt idx="880">
                        <c:v>56.52</c:v>
                      </c:pt>
                      <c:pt idx="881">
                        <c:v>62.97</c:v>
                      </c:pt>
                      <c:pt idx="882">
                        <c:v>61.96</c:v>
                      </c:pt>
                      <c:pt idx="883">
                        <c:v>61.16</c:v>
                      </c:pt>
                      <c:pt idx="884">
                        <c:v>59.14</c:v>
                      </c:pt>
                      <c:pt idx="885">
                        <c:v>56.44</c:v>
                      </c:pt>
                      <c:pt idx="886">
                        <c:v>56.52</c:v>
                      </c:pt>
                      <c:pt idx="887">
                        <c:v>52.36</c:v>
                      </c:pt>
                      <c:pt idx="888">
                        <c:v>41.17</c:v>
                      </c:pt>
                      <c:pt idx="889">
                        <c:v>35.520000000000003</c:v>
                      </c:pt>
                      <c:pt idx="890">
                        <c:v>34.15</c:v>
                      </c:pt>
                      <c:pt idx="891">
                        <c:v>46.59</c:v>
                      </c:pt>
                      <c:pt idx="892">
                        <c:v>54.47</c:v>
                      </c:pt>
                      <c:pt idx="893">
                        <c:v>59.63</c:v>
                      </c:pt>
                      <c:pt idx="894">
                        <c:v>74.83</c:v>
                      </c:pt>
                      <c:pt idx="895">
                        <c:v>86.67</c:v>
                      </c:pt>
                      <c:pt idx="896">
                        <c:v>87</c:v>
                      </c:pt>
                      <c:pt idx="897">
                        <c:v>85.53</c:v>
                      </c:pt>
                      <c:pt idx="898">
                        <c:v>81.17</c:v>
                      </c:pt>
                      <c:pt idx="899">
                        <c:v>78.010000000000005</c:v>
                      </c:pt>
                      <c:pt idx="900">
                        <c:v>75.98</c:v>
                      </c:pt>
                      <c:pt idx="901">
                        <c:v>79.239999999999995</c:v>
                      </c:pt>
                      <c:pt idx="902">
                        <c:v>77.989999999999995</c:v>
                      </c:pt>
                      <c:pt idx="903">
                        <c:v>88.21</c:v>
                      </c:pt>
                      <c:pt idx="904">
                        <c:v>97.3</c:v>
                      </c:pt>
                      <c:pt idx="905">
                        <c:v>120.05</c:v>
                      </c:pt>
                      <c:pt idx="906">
                        <c:v>136.22</c:v>
                      </c:pt>
                      <c:pt idx="907">
                        <c:v>109.7</c:v>
                      </c:pt>
                      <c:pt idx="908">
                        <c:v>99.91</c:v>
                      </c:pt>
                      <c:pt idx="909">
                        <c:v>87.65</c:v>
                      </c:pt>
                      <c:pt idx="910">
                        <c:v>83.63</c:v>
                      </c:pt>
                      <c:pt idx="911">
                        <c:v>79.209999999999994</c:v>
                      </c:pt>
                      <c:pt idx="912">
                        <c:v>73.7</c:v>
                      </c:pt>
                      <c:pt idx="913">
                        <c:v>73.2</c:v>
                      </c:pt>
                      <c:pt idx="914">
                        <c:v>72.150000000000006</c:v>
                      </c:pt>
                      <c:pt idx="915">
                        <c:v>72.94</c:v>
                      </c:pt>
                      <c:pt idx="916">
                        <c:v>73.650000000000006</c:v>
                      </c:pt>
                      <c:pt idx="917">
                        <c:v>77.849999999999994</c:v>
                      </c:pt>
                      <c:pt idx="918">
                        <c:v>87.08</c:v>
                      </c:pt>
                      <c:pt idx="919">
                        <c:v>110</c:v>
                      </c:pt>
                      <c:pt idx="920">
                        <c:v>133.15</c:v>
                      </c:pt>
                      <c:pt idx="921">
                        <c:v>113.55</c:v>
                      </c:pt>
                      <c:pt idx="922">
                        <c:v>97.79</c:v>
                      </c:pt>
                      <c:pt idx="923">
                        <c:v>91.87</c:v>
                      </c:pt>
                      <c:pt idx="924">
                        <c:v>89.38</c:v>
                      </c:pt>
                      <c:pt idx="925">
                        <c:v>90.98</c:v>
                      </c:pt>
                      <c:pt idx="926">
                        <c:v>94.9</c:v>
                      </c:pt>
                      <c:pt idx="927">
                        <c:v>94.38</c:v>
                      </c:pt>
                      <c:pt idx="928">
                        <c:v>93.01</c:v>
                      </c:pt>
                      <c:pt idx="929">
                        <c:v>103</c:v>
                      </c:pt>
                      <c:pt idx="930">
                        <c:v>94.67</c:v>
                      </c:pt>
                      <c:pt idx="931">
                        <c:v>86.06</c:v>
                      </c:pt>
                      <c:pt idx="932">
                        <c:v>83.2</c:v>
                      </c:pt>
                      <c:pt idx="933">
                        <c:v>80.61</c:v>
                      </c:pt>
                      <c:pt idx="934">
                        <c:v>75.599999999999994</c:v>
                      </c:pt>
                      <c:pt idx="935">
                        <c:v>65.98</c:v>
                      </c:pt>
                      <c:pt idx="936">
                        <c:v>60.43</c:v>
                      </c:pt>
                      <c:pt idx="937">
                        <c:v>58.61</c:v>
                      </c:pt>
                      <c:pt idx="938">
                        <c:v>55.74</c:v>
                      </c:pt>
                      <c:pt idx="939">
                        <c:v>51.61</c:v>
                      </c:pt>
                      <c:pt idx="940">
                        <c:v>49.96</c:v>
                      </c:pt>
                      <c:pt idx="941">
                        <c:v>52.32</c:v>
                      </c:pt>
                      <c:pt idx="942">
                        <c:v>59.08</c:v>
                      </c:pt>
                      <c:pt idx="943">
                        <c:v>66.790000000000006</c:v>
                      </c:pt>
                      <c:pt idx="944">
                        <c:v>70.13</c:v>
                      </c:pt>
                      <c:pt idx="945">
                        <c:v>68.37</c:v>
                      </c:pt>
                      <c:pt idx="946">
                        <c:v>69.52</c:v>
                      </c:pt>
                      <c:pt idx="947">
                        <c:v>69.94</c:v>
                      </c:pt>
                      <c:pt idx="948">
                        <c:v>67.849999999999994</c:v>
                      </c:pt>
                      <c:pt idx="949">
                        <c:v>67.739999999999995</c:v>
                      </c:pt>
                      <c:pt idx="950">
                        <c:v>73.22</c:v>
                      </c:pt>
                      <c:pt idx="951">
                        <c:v>81.56</c:v>
                      </c:pt>
                      <c:pt idx="952">
                        <c:v>90.12</c:v>
                      </c:pt>
                      <c:pt idx="953">
                        <c:v>95.45</c:v>
                      </c:pt>
                      <c:pt idx="954">
                        <c:v>95.45</c:v>
                      </c:pt>
                      <c:pt idx="955">
                        <c:v>87.05</c:v>
                      </c:pt>
                      <c:pt idx="956">
                        <c:v>80.44</c:v>
                      </c:pt>
                      <c:pt idx="957">
                        <c:v>75.2</c:v>
                      </c:pt>
                      <c:pt idx="958">
                        <c:v>74.91</c:v>
                      </c:pt>
                      <c:pt idx="959">
                        <c:v>70.94</c:v>
                      </c:pt>
                      <c:pt idx="960">
                        <c:v>63.1</c:v>
                      </c:pt>
                      <c:pt idx="961">
                        <c:v>64.08</c:v>
                      </c:pt>
                      <c:pt idx="962">
                        <c:v>64.400000000000006</c:v>
                      </c:pt>
                      <c:pt idx="963">
                        <c:v>64.39</c:v>
                      </c:pt>
                      <c:pt idx="964">
                        <c:v>64.41</c:v>
                      </c:pt>
                      <c:pt idx="965">
                        <c:v>65.819999999999993</c:v>
                      </c:pt>
                      <c:pt idx="966">
                        <c:v>70.91</c:v>
                      </c:pt>
                      <c:pt idx="967">
                        <c:v>74.86</c:v>
                      </c:pt>
                      <c:pt idx="968">
                        <c:v>77.7</c:v>
                      </c:pt>
                      <c:pt idx="969">
                        <c:v>80.38</c:v>
                      </c:pt>
                      <c:pt idx="970">
                        <c:v>74.59</c:v>
                      </c:pt>
                      <c:pt idx="971">
                        <c:v>69.430000000000007</c:v>
                      </c:pt>
                      <c:pt idx="972">
                        <c:v>68.3</c:v>
                      </c:pt>
                      <c:pt idx="973">
                        <c:v>66.72</c:v>
                      </c:pt>
                      <c:pt idx="974">
                        <c:v>69.53</c:v>
                      </c:pt>
                      <c:pt idx="975">
                        <c:v>77.17</c:v>
                      </c:pt>
                      <c:pt idx="976">
                        <c:v>86.13</c:v>
                      </c:pt>
                      <c:pt idx="977">
                        <c:v>88.95</c:v>
                      </c:pt>
                      <c:pt idx="978">
                        <c:v>87.62</c:v>
                      </c:pt>
                      <c:pt idx="979">
                        <c:v>81.010000000000005</c:v>
                      </c:pt>
                      <c:pt idx="980">
                        <c:v>74.400000000000006</c:v>
                      </c:pt>
                      <c:pt idx="981">
                        <c:v>67.84</c:v>
                      </c:pt>
                      <c:pt idx="982">
                        <c:v>65.86</c:v>
                      </c:pt>
                      <c:pt idx="983">
                        <c:v>63.46</c:v>
                      </c:pt>
                      <c:pt idx="984">
                        <c:v>55.48</c:v>
                      </c:pt>
                      <c:pt idx="985">
                        <c:v>53.67</c:v>
                      </c:pt>
                      <c:pt idx="986">
                        <c:v>52.6</c:v>
                      </c:pt>
                      <c:pt idx="987">
                        <c:v>46.83</c:v>
                      </c:pt>
                      <c:pt idx="988">
                        <c:v>43.64</c:v>
                      </c:pt>
                      <c:pt idx="989">
                        <c:v>46.25</c:v>
                      </c:pt>
                      <c:pt idx="990">
                        <c:v>49.19</c:v>
                      </c:pt>
                      <c:pt idx="991">
                        <c:v>53.16</c:v>
                      </c:pt>
                      <c:pt idx="992">
                        <c:v>55.06</c:v>
                      </c:pt>
                      <c:pt idx="993">
                        <c:v>57.97</c:v>
                      </c:pt>
                      <c:pt idx="994">
                        <c:v>61.16</c:v>
                      </c:pt>
                      <c:pt idx="995">
                        <c:v>65.540000000000006</c:v>
                      </c:pt>
                      <c:pt idx="996">
                        <c:v>64.599999999999994</c:v>
                      </c:pt>
                      <c:pt idx="997">
                        <c:v>62.12</c:v>
                      </c:pt>
                      <c:pt idx="998">
                        <c:v>63.99</c:v>
                      </c:pt>
                      <c:pt idx="999">
                        <c:v>66.3</c:v>
                      </c:pt>
                      <c:pt idx="1000">
                        <c:v>70.69</c:v>
                      </c:pt>
                      <c:pt idx="1001">
                        <c:v>78.5</c:v>
                      </c:pt>
                      <c:pt idx="1002">
                        <c:v>80.739999999999995</c:v>
                      </c:pt>
                      <c:pt idx="1003">
                        <c:v>79.72</c:v>
                      </c:pt>
                      <c:pt idx="1004">
                        <c:v>76.75</c:v>
                      </c:pt>
                      <c:pt idx="1005">
                        <c:v>70.72</c:v>
                      </c:pt>
                      <c:pt idx="1006">
                        <c:v>68.39</c:v>
                      </c:pt>
                      <c:pt idx="1007">
                        <c:v>64.010000000000005</c:v>
                      </c:pt>
                      <c:pt idx="1008">
                        <c:v>64.349999999999994</c:v>
                      </c:pt>
                      <c:pt idx="1009">
                        <c:v>61.59</c:v>
                      </c:pt>
                      <c:pt idx="1010">
                        <c:v>60.65</c:v>
                      </c:pt>
                      <c:pt idx="1011">
                        <c:v>59.39</c:v>
                      </c:pt>
                      <c:pt idx="1012">
                        <c:v>59.21</c:v>
                      </c:pt>
                      <c:pt idx="1013">
                        <c:v>65</c:v>
                      </c:pt>
                      <c:pt idx="1014">
                        <c:v>76</c:v>
                      </c:pt>
                      <c:pt idx="1015">
                        <c:v>85.41</c:v>
                      </c:pt>
                      <c:pt idx="1016">
                        <c:v>104</c:v>
                      </c:pt>
                      <c:pt idx="1017">
                        <c:v>96.5</c:v>
                      </c:pt>
                      <c:pt idx="1018">
                        <c:v>85.47</c:v>
                      </c:pt>
                      <c:pt idx="1019">
                        <c:v>79.14</c:v>
                      </c:pt>
                      <c:pt idx="1020">
                        <c:v>67.37</c:v>
                      </c:pt>
                      <c:pt idx="1021">
                        <c:v>63.75</c:v>
                      </c:pt>
                      <c:pt idx="1022">
                        <c:v>63.95</c:v>
                      </c:pt>
                      <c:pt idx="1023">
                        <c:v>66.400000000000006</c:v>
                      </c:pt>
                      <c:pt idx="1024">
                        <c:v>78.42</c:v>
                      </c:pt>
                      <c:pt idx="1025">
                        <c:v>93.9</c:v>
                      </c:pt>
                      <c:pt idx="1026">
                        <c:v>96</c:v>
                      </c:pt>
                      <c:pt idx="1027">
                        <c:v>89.08</c:v>
                      </c:pt>
                      <c:pt idx="1028">
                        <c:v>79.150000000000006</c:v>
                      </c:pt>
                      <c:pt idx="1029">
                        <c:v>71.540000000000006</c:v>
                      </c:pt>
                      <c:pt idx="1030">
                        <c:v>65.87</c:v>
                      </c:pt>
                      <c:pt idx="1031">
                        <c:v>61.9</c:v>
                      </c:pt>
                      <c:pt idx="1032">
                        <c:v>68.59</c:v>
                      </c:pt>
                      <c:pt idx="1033">
                        <c:v>65.37</c:v>
                      </c:pt>
                      <c:pt idx="1034">
                        <c:v>63.41</c:v>
                      </c:pt>
                      <c:pt idx="1035">
                        <c:v>60.49</c:v>
                      </c:pt>
                      <c:pt idx="1036">
                        <c:v>60.06</c:v>
                      </c:pt>
                      <c:pt idx="1037">
                        <c:v>63.59</c:v>
                      </c:pt>
                      <c:pt idx="1038">
                        <c:v>70.69</c:v>
                      </c:pt>
                      <c:pt idx="1039">
                        <c:v>82.18</c:v>
                      </c:pt>
                      <c:pt idx="1040">
                        <c:v>89.1</c:v>
                      </c:pt>
                      <c:pt idx="1041">
                        <c:v>75.12</c:v>
                      </c:pt>
                      <c:pt idx="1042">
                        <c:v>69.209999999999994</c:v>
                      </c:pt>
                      <c:pt idx="1043">
                        <c:v>63.87</c:v>
                      </c:pt>
                      <c:pt idx="1044">
                        <c:v>60.53</c:v>
                      </c:pt>
                      <c:pt idx="1045">
                        <c:v>60.26</c:v>
                      </c:pt>
                      <c:pt idx="1046">
                        <c:v>63.1</c:v>
                      </c:pt>
                      <c:pt idx="1047">
                        <c:v>70.7</c:v>
                      </c:pt>
                      <c:pt idx="1048">
                        <c:v>78.36</c:v>
                      </c:pt>
                      <c:pt idx="1049">
                        <c:v>95.01</c:v>
                      </c:pt>
                      <c:pt idx="1050">
                        <c:v>99.88</c:v>
                      </c:pt>
                      <c:pt idx="1051">
                        <c:v>90.99</c:v>
                      </c:pt>
                      <c:pt idx="1052">
                        <c:v>77.97</c:v>
                      </c:pt>
                      <c:pt idx="1053">
                        <c:v>71.86</c:v>
                      </c:pt>
                      <c:pt idx="1054">
                        <c:v>68.39</c:v>
                      </c:pt>
                      <c:pt idx="1055">
                        <c:v>64.739999999999995</c:v>
                      </c:pt>
                      <c:pt idx="1056">
                        <c:v>60.63</c:v>
                      </c:pt>
                      <c:pt idx="1057">
                        <c:v>59.34</c:v>
                      </c:pt>
                      <c:pt idx="1058">
                        <c:v>55.76</c:v>
                      </c:pt>
                      <c:pt idx="1059">
                        <c:v>54.79</c:v>
                      </c:pt>
                      <c:pt idx="1060">
                        <c:v>55.06</c:v>
                      </c:pt>
                      <c:pt idx="1061">
                        <c:v>58.43</c:v>
                      </c:pt>
                      <c:pt idx="1062">
                        <c:v>63.23</c:v>
                      </c:pt>
                      <c:pt idx="1063">
                        <c:v>72.739999999999995</c:v>
                      </c:pt>
                      <c:pt idx="1064">
                        <c:v>79.73</c:v>
                      </c:pt>
                      <c:pt idx="1065">
                        <c:v>69.650000000000006</c:v>
                      </c:pt>
                      <c:pt idx="1066">
                        <c:v>63.86</c:v>
                      </c:pt>
                      <c:pt idx="1067">
                        <c:v>63.29</c:v>
                      </c:pt>
                      <c:pt idx="1068">
                        <c:v>62.63</c:v>
                      </c:pt>
                      <c:pt idx="1069">
                        <c:v>63.82</c:v>
                      </c:pt>
                      <c:pt idx="1070">
                        <c:v>69.03</c:v>
                      </c:pt>
                      <c:pt idx="1071">
                        <c:v>72.23</c:v>
                      </c:pt>
                      <c:pt idx="1072">
                        <c:v>78.540000000000006</c:v>
                      </c:pt>
                      <c:pt idx="1073">
                        <c:v>82.97</c:v>
                      </c:pt>
                      <c:pt idx="1074">
                        <c:v>87.58</c:v>
                      </c:pt>
                      <c:pt idx="1075">
                        <c:v>84.47</c:v>
                      </c:pt>
                      <c:pt idx="1076">
                        <c:v>76.48</c:v>
                      </c:pt>
                      <c:pt idx="1077">
                        <c:v>69.680000000000007</c:v>
                      </c:pt>
                      <c:pt idx="1078">
                        <c:v>68.2</c:v>
                      </c:pt>
                      <c:pt idx="1079">
                        <c:v>63.8</c:v>
                      </c:pt>
                      <c:pt idx="1080">
                        <c:v>61.71</c:v>
                      </c:pt>
                      <c:pt idx="1081">
                        <c:v>61.13</c:v>
                      </c:pt>
                      <c:pt idx="1082">
                        <c:v>60.3</c:v>
                      </c:pt>
                      <c:pt idx="1083">
                        <c:v>59.75</c:v>
                      </c:pt>
                      <c:pt idx="1084">
                        <c:v>61.94</c:v>
                      </c:pt>
                      <c:pt idx="1085">
                        <c:v>66.06</c:v>
                      </c:pt>
                      <c:pt idx="1086">
                        <c:v>72.209999999999994</c:v>
                      </c:pt>
                      <c:pt idx="1087">
                        <c:v>81.569999999999993</c:v>
                      </c:pt>
                      <c:pt idx="1088">
                        <c:v>82.67</c:v>
                      </c:pt>
                      <c:pt idx="1089">
                        <c:v>78.760000000000005</c:v>
                      </c:pt>
                      <c:pt idx="1090">
                        <c:v>74.180000000000007</c:v>
                      </c:pt>
                      <c:pt idx="1091">
                        <c:v>69.959999999999994</c:v>
                      </c:pt>
                      <c:pt idx="1092">
                        <c:v>66.63</c:v>
                      </c:pt>
                      <c:pt idx="1093">
                        <c:v>66.19</c:v>
                      </c:pt>
                      <c:pt idx="1094">
                        <c:v>69.91</c:v>
                      </c:pt>
                      <c:pt idx="1095">
                        <c:v>75.05</c:v>
                      </c:pt>
                      <c:pt idx="1096">
                        <c:v>79.05</c:v>
                      </c:pt>
                      <c:pt idx="1097">
                        <c:v>87</c:v>
                      </c:pt>
                      <c:pt idx="1098">
                        <c:v>86.91</c:v>
                      </c:pt>
                      <c:pt idx="1099">
                        <c:v>75.61</c:v>
                      </c:pt>
                      <c:pt idx="1100">
                        <c:v>70.47</c:v>
                      </c:pt>
                      <c:pt idx="1101">
                        <c:v>62.97</c:v>
                      </c:pt>
                      <c:pt idx="1102">
                        <c:v>63.09</c:v>
                      </c:pt>
                      <c:pt idx="1103">
                        <c:v>58.91</c:v>
                      </c:pt>
                      <c:pt idx="1104">
                        <c:v>51.76</c:v>
                      </c:pt>
                      <c:pt idx="1105">
                        <c:v>51.08</c:v>
                      </c:pt>
                      <c:pt idx="1106">
                        <c:v>49.92</c:v>
                      </c:pt>
                      <c:pt idx="1107">
                        <c:v>48.81</c:v>
                      </c:pt>
                      <c:pt idx="1108">
                        <c:v>51.38</c:v>
                      </c:pt>
                      <c:pt idx="1109">
                        <c:v>53.53</c:v>
                      </c:pt>
                      <c:pt idx="1110">
                        <c:v>59.15</c:v>
                      </c:pt>
                      <c:pt idx="1111">
                        <c:v>69.39</c:v>
                      </c:pt>
                      <c:pt idx="1112">
                        <c:v>70.5</c:v>
                      </c:pt>
                      <c:pt idx="1113">
                        <c:v>64.84</c:v>
                      </c:pt>
                      <c:pt idx="1114">
                        <c:v>54.37</c:v>
                      </c:pt>
                      <c:pt idx="1115">
                        <c:v>53</c:v>
                      </c:pt>
                      <c:pt idx="1116">
                        <c:v>52.33</c:v>
                      </c:pt>
                      <c:pt idx="1117">
                        <c:v>52.31</c:v>
                      </c:pt>
                      <c:pt idx="1118">
                        <c:v>53.78</c:v>
                      </c:pt>
                      <c:pt idx="1119">
                        <c:v>62.59</c:v>
                      </c:pt>
                      <c:pt idx="1120">
                        <c:v>69.989999999999995</c:v>
                      </c:pt>
                      <c:pt idx="1121">
                        <c:v>72.58</c:v>
                      </c:pt>
                      <c:pt idx="1122">
                        <c:v>77.42</c:v>
                      </c:pt>
                      <c:pt idx="1123">
                        <c:v>76.78</c:v>
                      </c:pt>
                      <c:pt idx="1124">
                        <c:v>72.47</c:v>
                      </c:pt>
                      <c:pt idx="1125">
                        <c:v>69.400000000000006</c:v>
                      </c:pt>
                      <c:pt idx="1126">
                        <c:v>68.05</c:v>
                      </c:pt>
                      <c:pt idx="1127">
                        <c:v>60.02</c:v>
                      </c:pt>
                      <c:pt idx="1128">
                        <c:v>57.31</c:v>
                      </c:pt>
                      <c:pt idx="1129">
                        <c:v>57</c:v>
                      </c:pt>
                      <c:pt idx="1130">
                        <c:v>55.88</c:v>
                      </c:pt>
                      <c:pt idx="1131">
                        <c:v>54.66</c:v>
                      </c:pt>
                      <c:pt idx="1132">
                        <c:v>54.62</c:v>
                      </c:pt>
                      <c:pt idx="1133">
                        <c:v>55.48</c:v>
                      </c:pt>
                      <c:pt idx="1134">
                        <c:v>55.17</c:v>
                      </c:pt>
                      <c:pt idx="1135">
                        <c:v>56.9</c:v>
                      </c:pt>
                      <c:pt idx="1136">
                        <c:v>64.89</c:v>
                      </c:pt>
                      <c:pt idx="1137">
                        <c:v>63.29</c:v>
                      </c:pt>
                      <c:pt idx="1138">
                        <c:v>62.02</c:v>
                      </c:pt>
                      <c:pt idx="1139">
                        <c:v>60.69</c:v>
                      </c:pt>
                      <c:pt idx="1140">
                        <c:v>58.26</c:v>
                      </c:pt>
                      <c:pt idx="1141">
                        <c:v>55.25</c:v>
                      </c:pt>
                      <c:pt idx="1142">
                        <c:v>59.09</c:v>
                      </c:pt>
                      <c:pt idx="1143">
                        <c:v>68.83</c:v>
                      </c:pt>
                      <c:pt idx="1144">
                        <c:v>75.03</c:v>
                      </c:pt>
                      <c:pt idx="1145">
                        <c:v>87.93</c:v>
                      </c:pt>
                      <c:pt idx="1146">
                        <c:v>110.06</c:v>
                      </c:pt>
                      <c:pt idx="1147">
                        <c:v>90.28</c:v>
                      </c:pt>
                      <c:pt idx="1148">
                        <c:v>80.930000000000007</c:v>
                      </c:pt>
                      <c:pt idx="1149">
                        <c:v>74.569999999999993</c:v>
                      </c:pt>
                      <c:pt idx="1150">
                        <c:v>72.44</c:v>
                      </c:pt>
                      <c:pt idx="1151">
                        <c:v>69.11</c:v>
                      </c:pt>
                      <c:pt idx="1152">
                        <c:v>62.38</c:v>
                      </c:pt>
                      <c:pt idx="1153">
                        <c:v>54.81</c:v>
                      </c:pt>
                      <c:pt idx="1154">
                        <c:v>51.44</c:v>
                      </c:pt>
                      <c:pt idx="1155">
                        <c:v>50.32</c:v>
                      </c:pt>
                      <c:pt idx="1156">
                        <c:v>50.19</c:v>
                      </c:pt>
                      <c:pt idx="1157">
                        <c:v>48.47</c:v>
                      </c:pt>
                      <c:pt idx="1158">
                        <c:v>46.02</c:v>
                      </c:pt>
                      <c:pt idx="1159">
                        <c:v>48.97</c:v>
                      </c:pt>
                      <c:pt idx="1160">
                        <c:v>47.28</c:v>
                      </c:pt>
                      <c:pt idx="1161">
                        <c:v>43.03</c:v>
                      </c:pt>
                      <c:pt idx="1162">
                        <c:v>40.450000000000003</c:v>
                      </c:pt>
                      <c:pt idx="1163">
                        <c:v>41</c:v>
                      </c:pt>
                      <c:pt idx="1164">
                        <c:v>40.1</c:v>
                      </c:pt>
                      <c:pt idx="1165">
                        <c:v>39.880000000000003</c:v>
                      </c:pt>
                      <c:pt idx="1166">
                        <c:v>42.87</c:v>
                      </c:pt>
                      <c:pt idx="1167">
                        <c:v>54.29</c:v>
                      </c:pt>
                      <c:pt idx="1168">
                        <c:v>62.87</c:v>
                      </c:pt>
                      <c:pt idx="1169">
                        <c:v>72</c:v>
                      </c:pt>
                      <c:pt idx="1170">
                        <c:v>73.66</c:v>
                      </c:pt>
                      <c:pt idx="1171">
                        <c:v>70.59</c:v>
                      </c:pt>
                      <c:pt idx="1172">
                        <c:v>64.709999999999994</c:v>
                      </c:pt>
                      <c:pt idx="1173">
                        <c:v>59.83</c:v>
                      </c:pt>
                      <c:pt idx="1174">
                        <c:v>57.33</c:v>
                      </c:pt>
                      <c:pt idx="1175">
                        <c:v>53.94</c:v>
                      </c:pt>
                      <c:pt idx="1176">
                        <c:v>44</c:v>
                      </c:pt>
                      <c:pt idx="1177">
                        <c:v>43.04</c:v>
                      </c:pt>
                      <c:pt idx="1178">
                        <c:v>44.21</c:v>
                      </c:pt>
                      <c:pt idx="1179">
                        <c:v>43.91</c:v>
                      </c:pt>
                      <c:pt idx="1180">
                        <c:v>44.92</c:v>
                      </c:pt>
                      <c:pt idx="1181">
                        <c:v>51.57</c:v>
                      </c:pt>
                      <c:pt idx="1182">
                        <c:v>68.599999999999994</c:v>
                      </c:pt>
                      <c:pt idx="1183">
                        <c:v>79.09</c:v>
                      </c:pt>
                      <c:pt idx="1184">
                        <c:v>83.84</c:v>
                      </c:pt>
                      <c:pt idx="1185">
                        <c:v>75.03</c:v>
                      </c:pt>
                      <c:pt idx="1186">
                        <c:v>70.83</c:v>
                      </c:pt>
                      <c:pt idx="1187">
                        <c:v>69.13</c:v>
                      </c:pt>
                      <c:pt idx="1188">
                        <c:v>62.47</c:v>
                      </c:pt>
                      <c:pt idx="1189">
                        <c:v>60.99</c:v>
                      </c:pt>
                      <c:pt idx="1190">
                        <c:v>65.959999999999994</c:v>
                      </c:pt>
                      <c:pt idx="1191">
                        <c:v>69.28</c:v>
                      </c:pt>
                      <c:pt idx="1192">
                        <c:v>71.510000000000005</c:v>
                      </c:pt>
                      <c:pt idx="1193">
                        <c:v>76.25</c:v>
                      </c:pt>
                      <c:pt idx="1194">
                        <c:v>97.65</c:v>
                      </c:pt>
                      <c:pt idx="1195">
                        <c:v>79.98</c:v>
                      </c:pt>
                      <c:pt idx="1196">
                        <c:v>71.86</c:v>
                      </c:pt>
                      <c:pt idx="1197">
                        <c:v>67.47</c:v>
                      </c:pt>
                      <c:pt idx="1198">
                        <c:v>66.27</c:v>
                      </c:pt>
                      <c:pt idx="1199">
                        <c:v>59.07</c:v>
                      </c:pt>
                      <c:pt idx="1200">
                        <c:v>58.06</c:v>
                      </c:pt>
                      <c:pt idx="1201">
                        <c:v>54.32</c:v>
                      </c:pt>
                      <c:pt idx="1202">
                        <c:v>53.96</c:v>
                      </c:pt>
                      <c:pt idx="1203">
                        <c:v>53.48</c:v>
                      </c:pt>
                      <c:pt idx="1204">
                        <c:v>52.99</c:v>
                      </c:pt>
                      <c:pt idx="1205">
                        <c:v>54.79</c:v>
                      </c:pt>
                      <c:pt idx="1206">
                        <c:v>70.53</c:v>
                      </c:pt>
                      <c:pt idx="1207">
                        <c:v>88.4</c:v>
                      </c:pt>
                      <c:pt idx="1208">
                        <c:v>90.89</c:v>
                      </c:pt>
                      <c:pt idx="1209">
                        <c:v>78.55</c:v>
                      </c:pt>
                      <c:pt idx="1210">
                        <c:v>69.84</c:v>
                      </c:pt>
                      <c:pt idx="1211">
                        <c:v>60.88</c:v>
                      </c:pt>
                      <c:pt idx="1212">
                        <c:v>53.52</c:v>
                      </c:pt>
                      <c:pt idx="1213">
                        <c:v>51.42</c:v>
                      </c:pt>
                      <c:pt idx="1214">
                        <c:v>51.79</c:v>
                      </c:pt>
                      <c:pt idx="1215">
                        <c:v>56.16</c:v>
                      </c:pt>
                      <c:pt idx="1216">
                        <c:v>63.08</c:v>
                      </c:pt>
                      <c:pt idx="1217">
                        <c:v>70.540000000000006</c:v>
                      </c:pt>
                      <c:pt idx="1218">
                        <c:v>71.25</c:v>
                      </c:pt>
                      <c:pt idx="1219">
                        <c:v>73.47</c:v>
                      </c:pt>
                      <c:pt idx="1220">
                        <c:v>68.48</c:v>
                      </c:pt>
                      <c:pt idx="1221">
                        <c:v>61.33</c:v>
                      </c:pt>
                      <c:pt idx="1222">
                        <c:v>56.86</c:v>
                      </c:pt>
                      <c:pt idx="1223">
                        <c:v>52.77</c:v>
                      </c:pt>
                      <c:pt idx="1224">
                        <c:v>50.65</c:v>
                      </c:pt>
                      <c:pt idx="1225">
                        <c:v>48.47</c:v>
                      </c:pt>
                      <c:pt idx="1226">
                        <c:v>46.84</c:v>
                      </c:pt>
                      <c:pt idx="1227">
                        <c:v>44.77</c:v>
                      </c:pt>
                      <c:pt idx="1228">
                        <c:v>45.39</c:v>
                      </c:pt>
                      <c:pt idx="1229">
                        <c:v>50.03</c:v>
                      </c:pt>
                      <c:pt idx="1230">
                        <c:v>66</c:v>
                      </c:pt>
                      <c:pt idx="1231">
                        <c:v>81.34</c:v>
                      </c:pt>
                      <c:pt idx="1232">
                        <c:v>85.11</c:v>
                      </c:pt>
                      <c:pt idx="1233">
                        <c:v>70.34</c:v>
                      </c:pt>
                      <c:pt idx="1234">
                        <c:v>64.099999999999994</c:v>
                      </c:pt>
                      <c:pt idx="1235">
                        <c:v>60.39</c:v>
                      </c:pt>
                      <c:pt idx="1236">
                        <c:v>53.01</c:v>
                      </c:pt>
                      <c:pt idx="1237">
                        <c:v>51.22</c:v>
                      </c:pt>
                      <c:pt idx="1238">
                        <c:v>53.77</c:v>
                      </c:pt>
                      <c:pt idx="1239">
                        <c:v>65.599999999999994</c:v>
                      </c:pt>
                      <c:pt idx="1240">
                        <c:v>69.92</c:v>
                      </c:pt>
                      <c:pt idx="1241">
                        <c:v>69.63</c:v>
                      </c:pt>
                      <c:pt idx="1242">
                        <c:v>68.58</c:v>
                      </c:pt>
                      <c:pt idx="1243">
                        <c:v>61.39</c:v>
                      </c:pt>
                      <c:pt idx="1244">
                        <c:v>52.11</c:v>
                      </c:pt>
                      <c:pt idx="1245">
                        <c:v>45.98</c:v>
                      </c:pt>
                      <c:pt idx="1246">
                        <c:v>41.71</c:v>
                      </c:pt>
                      <c:pt idx="1247">
                        <c:v>35.22</c:v>
                      </c:pt>
                      <c:pt idx="1248">
                        <c:v>30.47</c:v>
                      </c:pt>
                      <c:pt idx="1249">
                        <c:v>27.01</c:v>
                      </c:pt>
                      <c:pt idx="1250">
                        <c:v>27.07</c:v>
                      </c:pt>
                      <c:pt idx="1251">
                        <c:v>27.95</c:v>
                      </c:pt>
                      <c:pt idx="1252">
                        <c:v>37</c:v>
                      </c:pt>
                      <c:pt idx="1253">
                        <c:v>48.05</c:v>
                      </c:pt>
                      <c:pt idx="1254">
                        <c:v>66.09</c:v>
                      </c:pt>
                      <c:pt idx="1255">
                        <c:v>76.53</c:v>
                      </c:pt>
                      <c:pt idx="1256">
                        <c:v>81.91</c:v>
                      </c:pt>
                      <c:pt idx="1257">
                        <c:v>74.09</c:v>
                      </c:pt>
                      <c:pt idx="1258">
                        <c:v>71.95</c:v>
                      </c:pt>
                      <c:pt idx="1259">
                        <c:v>68.53</c:v>
                      </c:pt>
                      <c:pt idx="1260">
                        <c:v>68.77</c:v>
                      </c:pt>
                      <c:pt idx="1261">
                        <c:v>68.98</c:v>
                      </c:pt>
                      <c:pt idx="1262">
                        <c:v>64.650000000000006</c:v>
                      </c:pt>
                      <c:pt idx="1263">
                        <c:v>64.75</c:v>
                      </c:pt>
                      <c:pt idx="1264">
                        <c:v>63.25</c:v>
                      </c:pt>
                      <c:pt idx="1265">
                        <c:v>61.76</c:v>
                      </c:pt>
                      <c:pt idx="1266">
                        <c:v>59.91</c:v>
                      </c:pt>
                      <c:pt idx="1267">
                        <c:v>52.42</c:v>
                      </c:pt>
                      <c:pt idx="1268">
                        <c:v>42.45</c:v>
                      </c:pt>
                      <c:pt idx="1269">
                        <c:v>24.48</c:v>
                      </c:pt>
                      <c:pt idx="1270">
                        <c:v>12.06</c:v>
                      </c:pt>
                      <c:pt idx="1271">
                        <c:v>1.91</c:v>
                      </c:pt>
                      <c:pt idx="1272">
                        <c:v>9.23</c:v>
                      </c:pt>
                      <c:pt idx="1273">
                        <c:v>1.07</c:v>
                      </c:pt>
                      <c:pt idx="1274">
                        <c:v>1.19</c:v>
                      </c:pt>
                      <c:pt idx="1275">
                        <c:v>0.09</c:v>
                      </c:pt>
                      <c:pt idx="1276">
                        <c:v>0.02</c:v>
                      </c:pt>
                      <c:pt idx="1277">
                        <c:v>0.09</c:v>
                      </c:pt>
                      <c:pt idx="1278">
                        <c:v>39.68</c:v>
                      </c:pt>
                      <c:pt idx="1279">
                        <c:v>57.06</c:v>
                      </c:pt>
                      <c:pt idx="1280">
                        <c:v>59.35</c:v>
                      </c:pt>
                      <c:pt idx="1281">
                        <c:v>51.69</c:v>
                      </c:pt>
                      <c:pt idx="1282">
                        <c:v>46.64</c:v>
                      </c:pt>
                      <c:pt idx="1283">
                        <c:v>41.65</c:v>
                      </c:pt>
                      <c:pt idx="1284">
                        <c:v>37.1</c:v>
                      </c:pt>
                      <c:pt idx="1285">
                        <c:v>33.6</c:v>
                      </c:pt>
                      <c:pt idx="1286">
                        <c:v>39.08</c:v>
                      </c:pt>
                      <c:pt idx="1287">
                        <c:v>49.51</c:v>
                      </c:pt>
                      <c:pt idx="1288">
                        <c:v>63.08</c:v>
                      </c:pt>
                      <c:pt idx="1289">
                        <c:v>73.8</c:v>
                      </c:pt>
                      <c:pt idx="1290">
                        <c:v>86.44</c:v>
                      </c:pt>
                      <c:pt idx="1291">
                        <c:v>84.01</c:v>
                      </c:pt>
                      <c:pt idx="1292">
                        <c:v>72.97</c:v>
                      </c:pt>
                      <c:pt idx="1293">
                        <c:v>69.260000000000005</c:v>
                      </c:pt>
                      <c:pt idx="1294">
                        <c:v>67.98</c:v>
                      </c:pt>
                      <c:pt idx="1295">
                        <c:v>65.099999999999994</c:v>
                      </c:pt>
                      <c:pt idx="1296">
                        <c:v>66.47</c:v>
                      </c:pt>
                      <c:pt idx="1297">
                        <c:v>63.9</c:v>
                      </c:pt>
                      <c:pt idx="1298">
                        <c:v>59.5</c:v>
                      </c:pt>
                      <c:pt idx="1299">
                        <c:v>55.2</c:v>
                      </c:pt>
                      <c:pt idx="1300">
                        <c:v>55.39</c:v>
                      </c:pt>
                      <c:pt idx="1301">
                        <c:v>57.1</c:v>
                      </c:pt>
                      <c:pt idx="1302">
                        <c:v>61.67</c:v>
                      </c:pt>
                      <c:pt idx="1303">
                        <c:v>66.11</c:v>
                      </c:pt>
                      <c:pt idx="1304">
                        <c:v>64.400000000000006</c:v>
                      </c:pt>
                      <c:pt idx="1305">
                        <c:v>57.6</c:v>
                      </c:pt>
                      <c:pt idx="1306">
                        <c:v>49.16</c:v>
                      </c:pt>
                      <c:pt idx="1307">
                        <c:v>45.84</c:v>
                      </c:pt>
                      <c:pt idx="1308">
                        <c:v>40.32</c:v>
                      </c:pt>
                      <c:pt idx="1309">
                        <c:v>32.22</c:v>
                      </c:pt>
                      <c:pt idx="1310">
                        <c:v>37.6</c:v>
                      </c:pt>
                      <c:pt idx="1311">
                        <c:v>45</c:v>
                      </c:pt>
                      <c:pt idx="1312">
                        <c:v>55.95</c:v>
                      </c:pt>
                      <c:pt idx="1313">
                        <c:v>71.67</c:v>
                      </c:pt>
                      <c:pt idx="1314">
                        <c:v>80</c:v>
                      </c:pt>
                      <c:pt idx="1315">
                        <c:v>74.13</c:v>
                      </c:pt>
                      <c:pt idx="1316">
                        <c:v>65.17</c:v>
                      </c:pt>
                      <c:pt idx="1317">
                        <c:v>59.94</c:v>
                      </c:pt>
                      <c:pt idx="1318">
                        <c:v>56.22</c:v>
                      </c:pt>
                      <c:pt idx="1319">
                        <c:v>52.2</c:v>
                      </c:pt>
                      <c:pt idx="1320">
                        <c:v>56.57</c:v>
                      </c:pt>
                      <c:pt idx="1321">
                        <c:v>55.44</c:v>
                      </c:pt>
                      <c:pt idx="1322">
                        <c:v>55.38</c:v>
                      </c:pt>
                      <c:pt idx="1323">
                        <c:v>54.89</c:v>
                      </c:pt>
                      <c:pt idx="1324">
                        <c:v>55.19</c:v>
                      </c:pt>
                      <c:pt idx="1325">
                        <c:v>55.07</c:v>
                      </c:pt>
                      <c:pt idx="1326">
                        <c:v>56.71</c:v>
                      </c:pt>
                      <c:pt idx="1327">
                        <c:v>59.92</c:v>
                      </c:pt>
                      <c:pt idx="1328">
                        <c:v>61.58</c:v>
                      </c:pt>
                      <c:pt idx="1329">
                        <c:v>61.82</c:v>
                      </c:pt>
                      <c:pt idx="1330">
                        <c:v>56.31</c:v>
                      </c:pt>
                      <c:pt idx="1331">
                        <c:v>54.12</c:v>
                      </c:pt>
                      <c:pt idx="1332">
                        <c:v>50</c:v>
                      </c:pt>
                      <c:pt idx="1333">
                        <c:v>46.03</c:v>
                      </c:pt>
                      <c:pt idx="1334">
                        <c:v>49.84</c:v>
                      </c:pt>
                      <c:pt idx="1335">
                        <c:v>55</c:v>
                      </c:pt>
                      <c:pt idx="1336">
                        <c:v>67.8</c:v>
                      </c:pt>
                      <c:pt idx="1337">
                        <c:v>82.19</c:v>
                      </c:pt>
                      <c:pt idx="1338">
                        <c:v>93.69</c:v>
                      </c:pt>
                      <c:pt idx="1339">
                        <c:v>79.180000000000007</c:v>
                      </c:pt>
                      <c:pt idx="1340">
                        <c:v>69.989999999999995</c:v>
                      </c:pt>
                      <c:pt idx="1341">
                        <c:v>65.92</c:v>
                      </c:pt>
                      <c:pt idx="1342">
                        <c:v>65.23</c:v>
                      </c:pt>
                      <c:pt idx="1343">
                        <c:v>58.38</c:v>
                      </c:pt>
                      <c:pt idx="1344">
                        <c:v>57.83</c:v>
                      </c:pt>
                      <c:pt idx="1345">
                        <c:v>56.82</c:v>
                      </c:pt>
                      <c:pt idx="1346">
                        <c:v>55.7</c:v>
                      </c:pt>
                      <c:pt idx="1347">
                        <c:v>51.8</c:v>
                      </c:pt>
                      <c:pt idx="1348">
                        <c:v>53.3</c:v>
                      </c:pt>
                      <c:pt idx="1349">
                        <c:v>57.92</c:v>
                      </c:pt>
                      <c:pt idx="1350">
                        <c:v>70.02</c:v>
                      </c:pt>
                      <c:pt idx="1351">
                        <c:v>79.900000000000006</c:v>
                      </c:pt>
                      <c:pt idx="1352">
                        <c:v>81.599999999999994</c:v>
                      </c:pt>
                      <c:pt idx="1353">
                        <c:v>73.83</c:v>
                      </c:pt>
                      <c:pt idx="1354">
                        <c:v>66.650000000000006</c:v>
                      </c:pt>
                      <c:pt idx="1355">
                        <c:v>65.03</c:v>
                      </c:pt>
                      <c:pt idx="1356">
                        <c:v>58.42</c:v>
                      </c:pt>
                      <c:pt idx="1357">
                        <c:v>58.19</c:v>
                      </c:pt>
                      <c:pt idx="1358">
                        <c:v>61.29</c:v>
                      </c:pt>
                      <c:pt idx="1359">
                        <c:v>64.95</c:v>
                      </c:pt>
                      <c:pt idx="1360">
                        <c:v>69.989999999999995</c:v>
                      </c:pt>
                      <c:pt idx="1361">
                        <c:v>77</c:v>
                      </c:pt>
                      <c:pt idx="1362">
                        <c:v>85.32</c:v>
                      </c:pt>
                      <c:pt idx="1363">
                        <c:v>81.010000000000005</c:v>
                      </c:pt>
                      <c:pt idx="1364">
                        <c:v>72.209999999999994</c:v>
                      </c:pt>
                      <c:pt idx="1365">
                        <c:v>65.69</c:v>
                      </c:pt>
                      <c:pt idx="1366">
                        <c:v>65.209999999999994</c:v>
                      </c:pt>
                      <c:pt idx="1367">
                        <c:v>60.76</c:v>
                      </c:pt>
                      <c:pt idx="1368">
                        <c:v>57.62</c:v>
                      </c:pt>
                      <c:pt idx="1369">
                        <c:v>57.55</c:v>
                      </c:pt>
                      <c:pt idx="1370">
                        <c:v>57.35</c:v>
                      </c:pt>
                      <c:pt idx="1371">
                        <c:v>56.87</c:v>
                      </c:pt>
                      <c:pt idx="1372">
                        <c:v>57.35</c:v>
                      </c:pt>
                      <c:pt idx="1373">
                        <c:v>63.1</c:v>
                      </c:pt>
                      <c:pt idx="1374">
                        <c:v>74.31</c:v>
                      </c:pt>
                      <c:pt idx="1375">
                        <c:v>95.63</c:v>
                      </c:pt>
                      <c:pt idx="1376">
                        <c:v>95.78</c:v>
                      </c:pt>
                      <c:pt idx="1377">
                        <c:v>80.81</c:v>
                      </c:pt>
                      <c:pt idx="1378">
                        <c:v>68.709999999999994</c:v>
                      </c:pt>
                      <c:pt idx="1379">
                        <c:v>64.930000000000007</c:v>
                      </c:pt>
                      <c:pt idx="1380">
                        <c:v>59.26</c:v>
                      </c:pt>
                      <c:pt idx="1381">
                        <c:v>59.25</c:v>
                      </c:pt>
                      <c:pt idx="1382">
                        <c:v>64.709999999999994</c:v>
                      </c:pt>
                      <c:pt idx="1383">
                        <c:v>72.06</c:v>
                      </c:pt>
                      <c:pt idx="1384">
                        <c:v>79.819999999999993</c:v>
                      </c:pt>
                      <c:pt idx="1385">
                        <c:v>98.02</c:v>
                      </c:pt>
                      <c:pt idx="1386">
                        <c:v>111.8</c:v>
                      </c:pt>
                      <c:pt idx="1387">
                        <c:v>105.17</c:v>
                      </c:pt>
                      <c:pt idx="1388">
                        <c:v>84.36</c:v>
                      </c:pt>
                      <c:pt idx="1389">
                        <c:v>72.37</c:v>
                      </c:pt>
                      <c:pt idx="1390">
                        <c:v>70.27</c:v>
                      </c:pt>
                      <c:pt idx="1391">
                        <c:v>64.97</c:v>
                      </c:pt>
                      <c:pt idx="1392">
                        <c:v>60.36</c:v>
                      </c:pt>
                      <c:pt idx="1393">
                        <c:v>59.4</c:v>
                      </c:pt>
                      <c:pt idx="1394">
                        <c:v>61.34</c:v>
                      </c:pt>
                      <c:pt idx="1395">
                        <c:v>63.46</c:v>
                      </c:pt>
                      <c:pt idx="1396">
                        <c:v>63.74</c:v>
                      </c:pt>
                      <c:pt idx="1397">
                        <c:v>67.44</c:v>
                      </c:pt>
                      <c:pt idx="1398">
                        <c:v>74.3</c:v>
                      </c:pt>
                      <c:pt idx="1399">
                        <c:v>98.89</c:v>
                      </c:pt>
                      <c:pt idx="1400">
                        <c:v>104.49</c:v>
                      </c:pt>
                      <c:pt idx="1401">
                        <c:v>85.46</c:v>
                      </c:pt>
                      <c:pt idx="1402">
                        <c:v>73.989999999999995</c:v>
                      </c:pt>
                      <c:pt idx="1403">
                        <c:v>67.55</c:v>
                      </c:pt>
                      <c:pt idx="1404">
                        <c:v>63.93</c:v>
                      </c:pt>
                      <c:pt idx="1405">
                        <c:v>60.72</c:v>
                      </c:pt>
                      <c:pt idx="1406">
                        <c:v>61.51</c:v>
                      </c:pt>
                      <c:pt idx="1407">
                        <c:v>70.430000000000007</c:v>
                      </c:pt>
                      <c:pt idx="1408">
                        <c:v>74.959999999999994</c:v>
                      </c:pt>
                      <c:pt idx="1409">
                        <c:v>93.04</c:v>
                      </c:pt>
                      <c:pt idx="1410">
                        <c:v>93.24</c:v>
                      </c:pt>
                      <c:pt idx="1411">
                        <c:v>78.290000000000006</c:v>
                      </c:pt>
                      <c:pt idx="1412">
                        <c:v>65.44</c:v>
                      </c:pt>
                      <c:pt idx="1413">
                        <c:v>62.59</c:v>
                      </c:pt>
                      <c:pt idx="1414">
                        <c:v>64.02</c:v>
                      </c:pt>
                      <c:pt idx="1415">
                        <c:v>55.12</c:v>
                      </c:pt>
                      <c:pt idx="1416">
                        <c:v>55.11</c:v>
                      </c:pt>
                      <c:pt idx="1417">
                        <c:v>53.33</c:v>
                      </c:pt>
                      <c:pt idx="1418">
                        <c:v>50.06</c:v>
                      </c:pt>
                      <c:pt idx="1419">
                        <c:v>47.03</c:v>
                      </c:pt>
                      <c:pt idx="1420">
                        <c:v>47.15</c:v>
                      </c:pt>
                      <c:pt idx="1421">
                        <c:v>53.32</c:v>
                      </c:pt>
                      <c:pt idx="1422">
                        <c:v>62.03</c:v>
                      </c:pt>
                      <c:pt idx="1423">
                        <c:v>73.739999999999995</c:v>
                      </c:pt>
                      <c:pt idx="1424">
                        <c:v>73.89</c:v>
                      </c:pt>
                      <c:pt idx="1425">
                        <c:v>70.39</c:v>
                      </c:pt>
                      <c:pt idx="1426">
                        <c:v>60.47</c:v>
                      </c:pt>
                      <c:pt idx="1427">
                        <c:v>55.01</c:v>
                      </c:pt>
                      <c:pt idx="1428">
                        <c:v>53.98</c:v>
                      </c:pt>
                      <c:pt idx="1429">
                        <c:v>56.02</c:v>
                      </c:pt>
                      <c:pt idx="1430">
                        <c:v>55.07</c:v>
                      </c:pt>
                      <c:pt idx="1431">
                        <c:v>64.959999999999994</c:v>
                      </c:pt>
                      <c:pt idx="1432">
                        <c:v>70.98</c:v>
                      </c:pt>
                      <c:pt idx="1433">
                        <c:v>81.28</c:v>
                      </c:pt>
                      <c:pt idx="1434">
                        <c:v>86.26</c:v>
                      </c:pt>
                      <c:pt idx="1435">
                        <c:v>80.989999999999995</c:v>
                      </c:pt>
                      <c:pt idx="1436">
                        <c:v>72.77</c:v>
                      </c:pt>
                      <c:pt idx="1437">
                        <c:v>67.25</c:v>
                      </c:pt>
                      <c:pt idx="1438">
                        <c:v>64.900000000000006</c:v>
                      </c:pt>
                      <c:pt idx="1439">
                        <c:v>60.9</c:v>
                      </c:pt>
                      <c:pt idx="1440">
                        <c:v>62.04</c:v>
                      </c:pt>
                      <c:pt idx="1441">
                        <c:v>61.42</c:v>
                      </c:pt>
                      <c:pt idx="1442">
                        <c:v>58.14</c:v>
                      </c:pt>
                      <c:pt idx="1443">
                        <c:v>57.83</c:v>
                      </c:pt>
                      <c:pt idx="1444">
                        <c:v>58.3</c:v>
                      </c:pt>
                      <c:pt idx="1445">
                        <c:v>62.49</c:v>
                      </c:pt>
                      <c:pt idx="1446">
                        <c:v>71.58</c:v>
                      </c:pt>
                      <c:pt idx="1447">
                        <c:v>79.36</c:v>
                      </c:pt>
                      <c:pt idx="1448">
                        <c:v>83.79</c:v>
                      </c:pt>
                      <c:pt idx="1449">
                        <c:v>75.88</c:v>
                      </c:pt>
                      <c:pt idx="1450">
                        <c:v>66.52</c:v>
                      </c:pt>
                      <c:pt idx="1451">
                        <c:v>64.760000000000005</c:v>
                      </c:pt>
                      <c:pt idx="1452">
                        <c:v>63.08</c:v>
                      </c:pt>
                      <c:pt idx="1453">
                        <c:v>64.63</c:v>
                      </c:pt>
                      <c:pt idx="1454">
                        <c:v>67.11</c:v>
                      </c:pt>
                      <c:pt idx="1455">
                        <c:v>72.569999999999993</c:v>
                      </c:pt>
                      <c:pt idx="1456">
                        <c:v>78.94</c:v>
                      </c:pt>
                      <c:pt idx="1457">
                        <c:v>89.4</c:v>
                      </c:pt>
                      <c:pt idx="1458">
                        <c:v>93.73</c:v>
                      </c:pt>
                      <c:pt idx="1459">
                        <c:v>87.19</c:v>
                      </c:pt>
                      <c:pt idx="1460">
                        <c:v>77.489999999999995</c:v>
                      </c:pt>
                      <c:pt idx="1461">
                        <c:v>71.62</c:v>
                      </c:pt>
                      <c:pt idx="1462">
                        <c:v>70.06</c:v>
                      </c:pt>
                      <c:pt idx="1463">
                        <c:v>66.39</c:v>
                      </c:pt>
                      <c:pt idx="1464">
                        <c:v>59.95</c:v>
                      </c:pt>
                      <c:pt idx="1465">
                        <c:v>56.03</c:v>
                      </c:pt>
                      <c:pt idx="1466">
                        <c:v>56.02</c:v>
                      </c:pt>
                      <c:pt idx="1467">
                        <c:v>55.48</c:v>
                      </c:pt>
                      <c:pt idx="1468">
                        <c:v>54.88</c:v>
                      </c:pt>
                      <c:pt idx="1469">
                        <c:v>55.99</c:v>
                      </c:pt>
                      <c:pt idx="1470">
                        <c:v>56.58</c:v>
                      </c:pt>
                      <c:pt idx="1471">
                        <c:v>60.67</c:v>
                      </c:pt>
                      <c:pt idx="1472">
                        <c:v>63.76</c:v>
                      </c:pt>
                      <c:pt idx="1473">
                        <c:v>65.75</c:v>
                      </c:pt>
                      <c:pt idx="1474">
                        <c:v>60.44</c:v>
                      </c:pt>
                      <c:pt idx="1475">
                        <c:v>59.18</c:v>
                      </c:pt>
                      <c:pt idx="1476">
                        <c:v>55.83</c:v>
                      </c:pt>
                      <c:pt idx="1477">
                        <c:v>54.9</c:v>
                      </c:pt>
                      <c:pt idx="1478">
                        <c:v>59.86</c:v>
                      </c:pt>
                      <c:pt idx="1479">
                        <c:v>66.08</c:v>
                      </c:pt>
                      <c:pt idx="1480">
                        <c:v>73</c:v>
                      </c:pt>
                      <c:pt idx="1481">
                        <c:v>80.63</c:v>
                      </c:pt>
                      <c:pt idx="1482">
                        <c:v>93.6</c:v>
                      </c:pt>
                      <c:pt idx="1483">
                        <c:v>89.9</c:v>
                      </c:pt>
                      <c:pt idx="1484">
                        <c:v>76.98</c:v>
                      </c:pt>
                      <c:pt idx="1485">
                        <c:v>69.81</c:v>
                      </c:pt>
                      <c:pt idx="1486">
                        <c:v>60.94</c:v>
                      </c:pt>
                      <c:pt idx="1487">
                        <c:v>54.99</c:v>
                      </c:pt>
                      <c:pt idx="1488">
                        <c:v>54.5</c:v>
                      </c:pt>
                      <c:pt idx="1489">
                        <c:v>53.63</c:v>
                      </c:pt>
                      <c:pt idx="1490">
                        <c:v>53.8</c:v>
                      </c:pt>
                      <c:pt idx="1491">
                        <c:v>55.59</c:v>
                      </c:pt>
                      <c:pt idx="1492">
                        <c:v>55.31</c:v>
                      </c:pt>
                      <c:pt idx="1493">
                        <c:v>55.82</c:v>
                      </c:pt>
                      <c:pt idx="1494">
                        <c:v>56</c:v>
                      </c:pt>
                      <c:pt idx="1495">
                        <c:v>56.88</c:v>
                      </c:pt>
                      <c:pt idx="1496">
                        <c:v>54.77</c:v>
                      </c:pt>
                      <c:pt idx="1497">
                        <c:v>53.99</c:v>
                      </c:pt>
                      <c:pt idx="1498">
                        <c:v>52.01</c:v>
                      </c:pt>
                      <c:pt idx="1499">
                        <c:v>49.46</c:v>
                      </c:pt>
                      <c:pt idx="1500">
                        <c:v>47.51</c:v>
                      </c:pt>
                      <c:pt idx="1501">
                        <c:v>42.51</c:v>
                      </c:pt>
                      <c:pt idx="1502">
                        <c:v>46.84</c:v>
                      </c:pt>
                      <c:pt idx="1503">
                        <c:v>54.13</c:v>
                      </c:pt>
                      <c:pt idx="1504">
                        <c:v>60.28</c:v>
                      </c:pt>
                      <c:pt idx="1505">
                        <c:v>75.58</c:v>
                      </c:pt>
                      <c:pt idx="1506">
                        <c:v>84.36</c:v>
                      </c:pt>
                      <c:pt idx="1507">
                        <c:v>86.96</c:v>
                      </c:pt>
                      <c:pt idx="1508">
                        <c:v>81.8</c:v>
                      </c:pt>
                      <c:pt idx="1509">
                        <c:v>75</c:v>
                      </c:pt>
                      <c:pt idx="1510">
                        <c:v>72.180000000000007</c:v>
                      </c:pt>
                      <c:pt idx="1511">
                        <c:v>72.42</c:v>
                      </c:pt>
                      <c:pt idx="1512">
                        <c:v>69.13</c:v>
                      </c:pt>
                      <c:pt idx="1513">
                        <c:v>67.900000000000006</c:v>
                      </c:pt>
                      <c:pt idx="1514">
                        <c:v>67.41</c:v>
                      </c:pt>
                      <c:pt idx="1515">
                        <c:v>66.22</c:v>
                      </c:pt>
                      <c:pt idx="1516">
                        <c:v>65.59</c:v>
                      </c:pt>
                      <c:pt idx="1517">
                        <c:v>70.83</c:v>
                      </c:pt>
                      <c:pt idx="1518">
                        <c:v>81.180000000000007</c:v>
                      </c:pt>
                      <c:pt idx="1519">
                        <c:v>96.67</c:v>
                      </c:pt>
                      <c:pt idx="1520">
                        <c:v>102.97</c:v>
                      </c:pt>
                      <c:pt idx="1521">
                        <c:v>85.02</c:v>
                      </c:pt>
                      <c:pt idx="1522">
                        <c:v>71.930000000000007</c:v>
                      </c:pt>
                      <c:pt idx="1523">
                        <c:v>64.89</c:v>
                      </c:pt>
                      <c:pt idx="1524">
                        <c:v>63.93</c:v>
                      </c:pt>
                      <c:pt idx="1525">
                        <c:v>61.1</c:v>
                      </c:pt>
                      <c:pt idx="1526">
                        <c:v>62.5</c:v>
                      </c:pt>
                      <c:pt idx="1527">
                        <c:v>69.86</c:v>
                      </c:pt>
                      <c:pt idx="1528">
                        <c:v>75.95</c:v>
                      </c:pt>
                      <c:pt idx="1529">
                        <c:v>90.59</c:v>
                      </c:pt>
                      <c:pt idx="1530">
                        <c:v>105.18</c:v>
                      </c:pt>
                      <c:pt idx="1531">
                        <c:v>99.13</c:v>
                      </c:pt>
                      <c:pt idx="1532">
                        <c:v>80.52</c:v>
                      </c:pt>
                      <c:pt idx="1533">
                        <c:v>71.39</c:v>
                      </c:pt>
                      <c:pt idx="1534">
                        <c:v>67.489999999999995</c:v>
                      </c:pt>
                      <c:pt idx="1535">
                        <c:v>63.93</c:v>
                      </c:pt>
                      <c:pt idx="1536">
                        <c:v>61.96</c:v>
                      </c:pt>
                      <c:pt idx="1537">
                        <c:v>61.67</c:v>
                      </c:pt>
                      <c:pt idx="1538">
                        <c:v>61.33</c:v>
                      </c:pt>
                      <c:pt idx="1539">
                        <c:v>59.86</c:v>
                      </c:pt>
                      <c:pt idx="1540">
                        <c:v>60.56</c:v>
                      </c:pt>
                      <c:pt idx="1541">
                        <c:v>61.67</c:v>
                      </c:pt>
                      <c:pt idx="1542">
                        <c:v>71.53</c:v>
                      </c:pt>
                      <c:pt idx="1543">
                        <c:v>79.28</c:v>
                      </c:pt>
                      <c:pt idx="1544">
                        <c:v>83.02</c:v>
                      </c:pt>
                      <c:pt idx="1545">
                        <c:v>77</c:v>
                      </c:pt>
                      <c:pt idx="1546">
                        <c:v>71.150000000000006</c:v>
                      </c:pt>
                      <c:pt idx="1547">
                        <c:v>69.72</c:v>
                      </c:pt>
                      <c:pt idx="1548">
                        <c:v>66.010000000000005</c:v>
                      </c:pt>
                      <c:pt idx="1549">
                        <c:v>65.83</c:v>
                      </c:pt>
                      <c:pt idx="1550">
                        <c:v>69.61</c:v>
                      </c:pt>
                      <c:pt idx="1551">
                        <c:v>70.67</c:v>
                      </c:pt>
                      <c:pt idx="1552">
                        <c:v>76.28</c:v>
                      </c:pt>
                      <c:pt idx="1553">
                        <c:v>82.07</c:v>
                      </c:pt>
                      <c:pt idx="1554">
                        <c:v>104.38</c:v>
                      </c:pt>
                      <c:pt idx="1555">
                        <c:v>112.99</c:v>
                      </c:pt>
                      <c:pt idx="1556">
                        <c:v>93.12</c:v>
                      </c:pt>
                      <c:pt idx="1557">
                        <c:v>82.81</c:v>
                      </c:pt>
                      <c:pt idx="1558">
                        <c:v>76.08</c:v>
                      </c:pt>
                      <c:pt idx="1559">
                        <c:v>71.83</c:v>
                      </c:pt>
                      <c:pt idx="1560">
                        <c:v>71</c:v>
                      </c:pt>
                      <c:pt idx="1561">
                        <c:v>70.7</c:v>
                      </c:pt>
                      <c:pt idx="1562">
                        <c:v>70.459999999999994</c:v>
                      </c:pt>
                      <c:pt idx="1563">
                        <c:v>69.739999999999995</c:v>
                      </c:pt>
                      <c:pt idx="1564">
                        <c:v>70.459999999999994</c:v>
                      </c:pt>
                      <c:pt idx="1565">
                        <c:v>73.91</c:v>
                      </c:pt>
                      <c:pt idx="1566">
                        <c:v>83.98</c:v>
                      </c:pt>
                      <c:pt idx="1567">
                        <c:v>106.64</c:v>
                      </c:pt>
                      <c:pt idx="1568">
                        <c:v>108.7</c:v>
                      </c:pt>
                      <c:pt idx="1569">
                        <c:v>87.21</c:v>
                      </c:pt>
                      <c:pt idx="1570">
                        <c:v>75.92</c:v>
                      </c:pt>
                      <c:pt idx="1571">
                        <c:v>72.02</c:v>
                      </c:pt>
                      <c:pt idx="1572">
                        <c:v>69.349999999999994</c:v>
                      </c:pt>
                      <c:pt idx="1573">
                        <c:v>69.290000000000006</c:v>
                      </c:pt>
                      <c:pt idx="1574">
                        <c:v>70.64</c:v>
                      </c:pt>
                      <c:pt idx="1575">
                        <c:v>72.260000000000005</c:v>
                      </c:pt>
                      <c:pt idx="1576">
                        <c:v>81.06</c:v>
                      </c:pt>
                      <c:pt idx="1577">
                        <c:v>100</c:v>
                      </c:pt>
                      <c:pt idx="1578">
                        <c:v>119.58</c:v>
                      </c:pt>
                      <c:pt idx="1579">
                        <c:v>119.25</c:v>
                      </c:pt>
                      <c:pt idx="1580">
                        <c:v>93.4</c:v>
                      </c:pt>
                      <c:pt idx="1581">
                        <c:v>80.150000000000006</c:v>
                      </c:pt>
                      <c:pt idx="1582">
                        <c:v>77.98</c:v>
                      </c:pt>
                      <c:pt idx="1583">
                        <c:v>74.34</c:v>
                      </c:pt>
                      <c:pt idx="1584">
                        <c:v>73.33</c:v>
                      </c:pt>
                      <c:pt idx="1585">
                        <c:v>72.319999999999993</c:v>
                      </c:pt>
                      <c:pt idx="1586">
                        <c:v>70.34</c:v>
                      </c:pt>
                      <c:pt idx="1587">
                        <c:v>68.709999999999994</c:v>
                      </c:pt>
                      <c:pt idx="1588">
                        <c:v>69.89</c:v>
                      </c:pt>
                      <c:pt idx="1589">
                        <c:v>73.13</c:v>
                      </c:pt>
                      <c:pt idx="1590">
                        <c:v>84.27</c:v>
                      </c:pt>
                      <c:pt idx="1591">
                        <c:v>103.2</c:v>
                      </c:pt>
                      <c:pt idx="1592">
                        <c:v>96.7</c:v>
                      </c:pt>
                      <c:pt idx="1593">
                        <c:v>79.09</c:v>
                      </c:pt>
                      <c:pt idx="1594">
                        <c:v>71.31</c:v>
                      </c:pt>
                      <c:pt idx="1595">
                        <c:v>66.16</c:v>
                      </c:pt>
                      <c:pt idx="1596">
                        <c:v>61.69</c:v>
                      </c:pt>
                      <c:pt idx="1597">
                        <c:v>60.26</c:v>
                      </c:pt>
                      <c:pt idx="1598">
                        <c:v>63.33</c:v>
                      </c:pt>
                      <c:pt idx="1599">
                        <c:v>66.040000000000006</c:v>
                      </c:pt>
                      <c:pt idx="1600">
                        <c:v>69.92</c:v>
                      </c:pt>
                      <c:pt idx="1601">
                        <c:v>89.2</c:v>
                      </c:pt>
                      <c:pt idx="1602">
                        <c:v>105.71</c:v>
                      </c:pt>
                      <c:pt idx="1603">
                        <c:v>90.3</c:v>
                      </c:pt>
                      <c:pt idx="1604">
                        <c:v>82.49</c:v>
                      </c:pt>
                      <c:pt idx="1605">
                        <c:v>73.349999999999994</c:v>
                      </c:pt>
                      <c:pt idx="1606">
                        <c:v>73.319999999999993</c:v>
                      </c:pt>
                      <c:pt idx="1607">
                        <c:v>67.72</c:v>
                      </c:pt>
                      <c:pt idx="1608">
                        <c:v>68.45</c:v>
                      </c:pt>
                      <c:pt idx="1609">
                        <c:v>66.959999999999994</c:v>
                      </c:pt>
                      <c:pt idx="1610">
                        <c:v>67.010000000000005</c:v>
                      </c:pt>
                      <c:pt idx="1611">
                        <c:v>65.989999999999995</c:v>
                      </c:pt>
                      <c:pt idx="1612">
                        <c:v>66.3</c:v>
                      </c:pt>
                      <c:pt idx="1613">
                        <c:v>67.11</c:v>
                      </c:pt>
                      <c:pt idx="1614">
                        <c:v>82.91</c:v>
                      </c:pt>
                      <c:pt idx="1615">
                        <c:v>95.06</c:v>
                      </c:pt>
                      <c:pt idx="1616">
                        <c:v>88.89</c:v>
                      </c:pt>
                      <c:pt idx="1617">
                        <c:v>74.36</c:v>
                      </c:pt>
                      <c:pt idx="1618">
                        <c:v>57.59</c:v>
                      </c:pt>
                      <c:pt idx="1619">
                        <c:v>52.05</c:v>
                      </c:pt>
                      <c:pt idx="1620">
                        <c:v>21.77</c:v>
                      </c:pt>
                      <c:pt idx="1621">
                        <c:v>4.26</c:v>
                      </c:pt>
                      <c:pt idx="1622">
                        <c:v>24.2</c:v>
                      </c:pt>
                      <c:pt idx="1623">
                        <c:v>40.25</c:v>
                      </c:pt>
                      <c:pt idx="1624">
                        <c:v>55.74</c:v>
                      </c:pt>
                      <c:pt idx="1625">
                        <c:v>71.98</c:v>
                      </c:pt>
                      <c:pt idx="1626">
                        <c:v>83.76</c:v>
                      </c:pt>
                      <c:pt idx="1627">
                        <c:v>79.98</c:v>
                      </c:pt>
                      <c:pt idx="1628">
                        <c:v>71.459999999999994</c:v>
                      </c:pt>
                      <c:pt idx="1629">
                        <c:v>64.900000000000006</c:v>
                      </c:pt>
                      <c:pt idx="1630">
                        <c:v>65.03</c:v>
                      </c:pt>
                      <c:pt idx="1631">
                        <c:v>59.89</c:v>
                      </c:pt>
                      <c:pt idx="1632">
                        <c:v>56.56</c:v>
                      </c:pt>
                      <c:pt idx="1633">
                        <c:v>54.91</c:v>
                      </c:pt>
                      <c:pt idx="1634">
                        <c:v>53.72</c:v>
                      </c:pt>
                      <c:pt idx="1635">
                        <c:v>52.56</c:v>
                      </c:pt>
                      <c:pt idx="1636">
                        <c:v>48.6</c:v>
                      </c:pt>
                      <c:pt idx="1637">
                        <c:v>47.79</c:v>
                      </c:pt>
                      <c:pt idx="1638">
                        <c:v>50.47</c:v>
                      </c:pt>
                      <c:pt idx="1639">
                        <c:v>53.06</c:v>
                      </c:pt>
                      <c:pt idx="1640">
                        <c:v>53.06</c:v>
                      </c:pt>
                      <c:pt idx="1641">
                        <c:v>48.12</c:v>
                      </c:pt>
                      <c:pt idx="1642">
                        <c:v>32.94</c:v>
                      </c:pt>
                      <c:pt idx="1643">
                        <c:v>0.2</c:v>
                      </c:pt>
                      <c:pt idx="1644">
                        <c:v>-1.1499999999999999</c:v>
                      </c:pt>
                      <c:pt idx="1645">
                        <c:v>-5.0199999999999996</c:v>
                      </c:pt>
                      <c:pt idx="1646">
                        <c:v>-0.04</c:v>
                      </c:pt>
                      <c:pt idx="1647">
                        <c:v>28.19</c:v>
                      </c:pt>
                      <c:pt idx="1648">
                        <c:v>52.64</c:v>
                      </c:pt>
                      <c:pt idx="1649">
                        <c:v>69.489999999999995</c:v>
                      </c:pt>
                      <c:pt idx="1650">
                        <c:v>78.02</c:v>
                      </c:pt>
                      <c:pt idx="1651">
                        <c:v>74.989999999999995</c:v>
                      </c:pt>
                      <c:pt idx="1652">
                        <c:v>67.260000000000005</c:v>
                      </c:pt>
                      <c:pt idx="1653">
                        <c:v>60.47</c:v>
                      </c:pt>
                      <c:pt idx="1654">
                        <c:v>60.53</c:v>
                      </c:pt>
                      <c:pt idx="1655">
                        <c:v>57.29</c:v>
                      </c:pt>
                      <c:pt idx="1656">
                        <c:v>48.65</c:v>
                      </c:pt>
                      <c:pt idx="1657">
                        <c:v>46.06</c:v>
                      </c:pt>
                      <c:pt idx="1658">
                        <c:v>40.98</c:v>
                      </c:pt>
                      <c:pt idx="1659">
                        <c:v>35.549999999999997</c:v>
                      </c:pt>
                      <c:pt idx="1660">
                        <c:v>32.39</c:v>
                      </c:pt>
                      <c:pt idx="1661">
                        <c:v>32.28</c:v>
                      </c:pt>
                      <c:pt idx="1662">
                        <c:v>33.909999999999997</c:v>
                      </c:pt>
                      <c:pt idx="1663">
                        <c:v>39.49</c:v>
                      </c:pt>
                      <c:pt idx="1664">
                        <c:v>34.82</c:v>
                      </c:pt>
                      <c:pt idx="1665">
                        <c:v>25.25</c:v>
                      </c:pt>
                      <c:pt idx="1666">
                        <c:v>2.35</c:v>
                      </c:pt>
                      <c:pt idx="1667">
                        <c:v>-0.1</c:v>
                      </c:pt>
                      <c:pt idx="1668">
                        <c:v>-8.24</c:v>
                      </c:pt>
                      <c:pt idx="1669">
                        <c:v>-9.98</c:v>
                      </c:pt>
                      <c:pt idx="1670">
                        <c:v>-0.51</c:v>
                      </c:pt>
                      <c:pt idx="1671">
                        <c:v>14.41</c:v>
                      </c:pt>
                      <c:pt idx="1672">
                        <c:v>47.96</c:v>
                      </c:pt>
                      <c:pt idx="1673">
                        <c:v>55.97</c:v>
                      </c:pt>
                      <c:pt idx="1674">
                        <c:v>66.349999999999994</c:v>
                      </c:pt>
                      <c:pt idx="1675">
                        <c:v>62.32</c:v>
                      </c:pt>
                      <c:pt idx="1676">
                        <c:v>57.14</c:v>
                      </c:pt>
                      <c:pt idx="1677">
                        <c:v>53.74</c:v>
                      </c:pt>
                      <c:pt idx="1678">
                        <c:v>53.08</c:v>
                      </c:pt>
                      <c:pt idx="1679">
                        <c:v>52.05</c:v>
                      </c:pt>
                      <c:pt idx="1680">
                        <c:v>48.93</c:v>
                      </c:pt>
                      <c:pt idx="1681">
                        <c:v>49.33</c:v>
                      </c:pt>
                      <c:pt idx="1682">
                        <c:v>50.21</c:v>
                      </c:pt>
                      <c:pt idx="1683">
                        <c:v>49.28</c:v>
                      </c:pt>
                      <c:pt idx="1684">
                        <c:v>49.99</c:v>
                      </c:pt>
                      <c:pt idx="1685">
                        <c:v>56.3</c:v>
                      </c:pt>
                      <c:pt idx="1686">
                        <c:v>76.64</c:v>
                      </c:pt>
                      <c:pt idx="1687">
                        <c:v>82.6</c:v>
                      </c:pt>
                      <c:pt idx="1688">
                        <c:v>85.59</c:v>
                      </c:pt>
                      <c:pt idx="1689">
                        <c:v>80.45</c:v>
                      </c:pt>
                      <c:pt idx="1690">
                        <c:v>71.2</c:v>
                      </c:pt>
                      <c:pt idx="1691">
                        <c:v>65.03</c:v>
                      </c:pt>
                      <c:pt idx="1692">
                        <c:v>60.79</c:v>
                      </c:pt>
                      <c:pt idx="1693">
                        <c:v>66.25</c:v>
                      </c:pt>
                      <c:pt idx="1694">
                        <c:v>67</c:v>
                      </c:pt>
                      <c:pt idx="1695">
                        <c:v>73.47</c:v>
                      </c:pt>
                      <c:pt idx="1696">
                        <c:v>80.19</c:v>
                      </c:pt>
                      <c:pt idx="1697">
                        <c:v>91.39</c:v>
                      </c:pt>
                      <c:pt idx="1698">
                        <c:v>100.7</c:v>
                      </c:pt>
                      <c:pt idx="1699">
                        <c:v>108.01</c:v>
                      </c:pt>
                      <c:pt idx="1700">
                        <c:v>87.99</c:v>
                      </c:pt>
                      <c:pt idx="1701">
                        <c:v>76.709999999999994</c:v>
                      </c:pt>
                      <c:pt idx="1702">
                        <c:v>75.040000000000006</c:v>
                      </c:pt>
                      <c:pt idx="1703">
                        <c:v>67.08</c:v>
                      </c:pt>
                      <c:pt idx="1704">
                        <c:v>69.19</c:v>
                      </c:pt>
                      <c:pt idx="1705">
                        <c:v>65.56</c:v>
                      </c:pt>
                      <c:pt idx="1706">
                        <c:v>66.510000000000005</c:v>
                      </c:pt>
                      <c:pt idx="1707">
                        <c:v>65.2</c:v>
                      </c:pt>
                      <c:pt idx="1708">
                        <c:v>66.58</c:v>
                      </c:pt>
                      <c:pt idx="1709">
                        <c:v>71.37</c:v>
                      </c:pt>
                      <c:pt idx="1710">
                        <c:v>87.06</c:v>
                      </c:pt>
                      <c:pt idx="1711">
                        <c:v>96.55</c:v>
                      </c:pt>
                      <c:pt idx="1712">
                        <c:v>100.78</c:v>
                      </c:pt>
                      <c:pt idx="1713">
                        <c:v>93.81</c:v>
                      </c:pt>
                      <c:pt idx="1714">
                        <c:v>85.42</c:v>
                      </c:pt>
                      <c:pt idx="1715">
                        <c:v>80.680000000000007</c:v>
                      </c:pt>
                      <c:pt idx="1716">
                        <c:v>78.44</c:v>
                      </c:pt>
                      <c:pt idx="1717">
                        <c:v>78.260000000000005</c:v>
                      </c:pt>
                      <c:pt idx="1718">
                        <c:v>79.02</c:v>
                      </c:pt>
                      <c:pt idx="1719">
                        <c:v>86.34</c:v>
                      </c:pt>
                      <c:pt idx="1720">
                        <c:v>101.61</c:v>
                      </c:pt>
                      <c:pt idx="1721">
                        <c:v>113.06</c:v>
                      </c:pt>
                      <c:pt idx="1722">
                        <c:v>134.91999999999999</c:v>
                      </c:pt>
                      <c:pt idx="1723">
                        <c:v>124.57</c:v>
                      </c:pt>
                      <c:pt idx="1724">
                        <c:v>97.48</c:v>
                      </c:pt>
                      <c:pt idx="1725">
                        <c:v>83.63</c:v>
                      </c:pt>
                      <c:pt idx="1726">
                        <c:v>78.930000000000007</c:v>
                      </c:pt>
                      <c:pt idx="1727">
                        <c:v>70.33</c:v>
                      </c:pt>
                      <c:pt idx="1728">
                        <c:v>63.93</c:v>
                      </c:pt>
                      <c:pt idx="1729">
                        <c:v>62.3</c:v>
                      </c:pt>
                      <c:pt idx="1730">
                        <c:v>61.79</c:v>
                      </c:pt>
                      <c:pt idx="1731">
                        <c:v>61.37</c:v>
                      </c:pt>
                      <c:pt idx="1732">
                        <c:v>64</c:v>
                      </c:pt>
                      <c:pt idx="1733">
                        <c:v>66.8</c:v>
                      </c:pt>
                      <c:pt idx="1734">
                        <c:v>77.319999999999993</c:v>
                      </c:pt>
                      <c:pt idx="1735">
                        <c:v>88.27</c:v>
                      </c:pt>
                      <c:pt idx="1736">
                        <c:v>89.91</c:v>
                      </c:pt>
                      <c:pt idx="1737">
                        <c:v>77.709999999999994</c:v>
                      </c:pt>
                      <c:pt idx="1738">
                        <c:v>68.069999999999993</c:v>
                      </c:pt>
                      <c:pt idx="1739">
                        <c:v>64.849999999999994</c:v>
                      </c:pt>
                      <c:pt idx="1740">
                        <c:v>64.61</c:v>
                      </c:pt>
                      <c:pt idx="1741">
                        <c:v>64.83</c:v>
                      </c:pt>
                      <c:pt idx="1742">
                        <c:v>63.96</c:v>
                      </c:pt>
                      <c:pt idx="1743">
                        <c:v>67.84</c:v>
                      </c:pt>
                      <c:pt idx="1744">
                        <c:v>73.53</c:v>
                      </c:pt>
                      <c:pt idx="1745">
                        <c:v>89.91</c:v>
                      </c:pt>
                      <c:pt idx="1746">
                        <c:v>97.8</c:v>
                      </c:pt>
                      <c:pt idx="1747">
                        <c:v>94.36</c:v>
                      </c:pt>
                      <c:pt idx="1748">
                        <c:v>76.98</c:v>
                      </c:pt>
                      <c:pt idx="1749">
                        <c:v>66.819999999999993</c:v>
                      </c:pt>
                      <c:pt idx="1750">
                        <c:v>68.11</c:v>
                      </c:pt>
                      <c:pt idx="1751">
                        <c:v>63.88</c:v>
                      </c:pt>
                      <c:pt idx="1752">
                        <c:v>63.29</c:v>
                      </c:pt>
                      <c:pt idx="1753">
                        <c:v>56.9</c:v>
                      </c:pt>
                      <c:pt idx="1754">
                        <c:v>57.52</c:v>
                      </c:pt>
                      <c:pt idx="1755">
                        <c:v>57</c:v>
                      </c:pt>
                      <c:pt idx="1756">
                        <c:v>61.4</c:v>
                      </c:pt>
                      <c:pt idx="1757">
                        <c:v>64.069999999999993</c:v>
                      </c:pt>
                      <c:pt idx="1758">
                        <c:v>75.05</c:v>
                      </c:pt>
                      <c:pt idx="1759">
                        <c:v>88.06</c:v>
                      </c:pt>
                      <c:pt idx="1760">
                        <c:v>81.99</c:v>
                      </c:pt>
                      <c:pt idx="1761">
                        <c:v>65.709999999999994</c:v>
                      </c:pt>
                      <c:pt idx="1762">
                        <c:v>54.32</c:v>
                      </c:pt>
                      <c:pt idx="1763">
                        <c:v>52.37</c:v>
                      </c:pt>
                      <c:pt idx="1764">
                        <c:v>52.83</c:v>
                      </c:pt>
                      <c:pt idx="1765">
                        <c:v>49.16</c:v>
                      </c:pt>
                      <c:pt idx="1766">
                        <c:v>52.84</c:v>
                      </c:pt>
                      <c:pt idx="1767">
                        <c:v>58.91</c:v>
                      </c:pt>
                      <c:pt idx="1768">
                        <c:v>73.209999999999994</c:v>
                      </c:pt>
                      <c:pt idx="1769">
                        <c:v>91.04</c:v>
                      </c:pt>
                      <c:pt idx="1770">
                        <c:v>114.77</c:v>
                      </c:pt>
                      <c:pt idx="1771">
                        <c:v>91.04</c:v>
                      </c:pt>
                      <c:pt idx="1772">
                        <c:v>74.09</c:v>
                      </c:pt>
                      <c:pt idx="1773">
                        <c:v>62.63</c:v>
                      </c:pt>
                      <c:pt idx="1774">
                        <c:v>59.62</c:v>
                      </c:pt>
                      <c:pt idx="1775">
                        <c:v>51.66</c:v>
                      </c:pt>
                      <c:pt idx="1776">
                        <c:v>48.39</c:v>
                      </c:pt>
                      <c:pt idx="1777">
                        <c:v>46.58</c:v>
                      </c:pt>
                      <c:pt idx="1778">
                        <c:v>45.57</c:v>
                      </c:pt>
                      <c:pt idx="1779">
                        <c:v>43.95</c:v>
                      </c:pt>
                      <c:pt idx="1780">
                        <c:v>46.96</c:v>
                      </c:pt>
                      <c:pt idx="1781">
                        <c:v>49.35</c:v>
                      </c:pt>
                      <c:pt idx="1782">
                        <c:v>62.26</c:v>
                      </c:pt>
                      <c:pt idx="1783">
                        <c:v>69.53</c:v>
                      </c:pt>
                      <c:pt idx="1784">
                        <c:v>68.75</c:v>
                      </c:pt>
                      <c:pt idx="1785">
                        <c:v>53.8</c:v>
                      </c:pt>
                      <c:pt idx="1786">
                        <c:v>46.56</c:v>
                      </c:pt>
                      <c:pt idx="1787">
                        <c:v>39.270000000000003</c:v>
                      </c:pt>
                      <c:pt idx="1788">
                        <c:v>38.340000000000003</c:v>
                      </c:pt>
                      <c:pt idx="1789">
                        <c:v>36.869999999999997</c:v>
                      </c:pt>
                      <c:pt idx="1790">
                        <c:v>44.93</c:v>
                      </c:pt>
                      <c:pt idx="1791">
                        <c:v>51.55</c:v>
                      </c:pt>
                      <c:pt idx="1792">
                        <c:v>66.7</c:v>
                      </c:pt>
                      <c:pt idx="1793">
                        <c:v>86.92</c:v>
                      </c:pt>
                      <c:pt idx="1794">
                        <c:v>82.03</c:v>
                      </c:pt>
                      <c:pt idx="1795">
                        <c:v>87.99</c:v>
                      </c:pt>
                      <c:pt idx="1796">
                        <c:v>64.260000000000005</c:v>
                      </c:pt>
                      <c:pt idx="1797">
                        <c:v>55.36</c:v>
                      </c:pt>
                      <c:pt idx="1798">
                        <c:v>56.35</c:v>
                      </c:pt>
                      <c:pt idx="1799">
                        <c:v>49.33</c:v>
                      </c:pt>
                      <c:pt idx="1800">
                        <c:v>44.12</c:v>
                      </c:pt>
                      <c:pt idx="1801">
                        <c:v>42.01</c:v>
                      </c:pt>
                      <c:pt idx="1802">
                        <c:v>40.69</c:v>
                      </c:pt>
                      <c:pt idx="1803">
                        <c:v>38.880000000000003</c:v>
                      </c:pt>
                      <c:pt idx="1804">
                        <c:v>38.67</c:v>
                      </c:pt>
                      <c:pt idx="1805">
                        <c:v>40.340000000000003</c:v>
                      </c:pt>
                      <c:pt idx="1806">
                        <c:v>47.26</c:v>
                      </c:pt>
                      <c:pt idx="1807">
                        <c:v>51.31</c:v>
                      </c:pt>
                      <c:pt idx="1808">
                        <c:v>52.24</c:v>
                      </c:pt>
                      <c:pt idx="1809">
                        <c:v>47.01</c:v>
                      </c:pt>
                      <c:pt idx="1810">
                        <c:v>44.88</c:v>
                      </c:pt>
                      <c:pt idx="1811">
                        <c:v>41.62</c:v>
                      </c:pt>
                      <c:pt idx="1812">
                        <c:v>36.700000000000003</c:v>
                      </c:pt>
                      <c:pt idx="1813">
                        <c:v>21.02</c:v>
                      </c:pt>
                      <c:pt idx="1814">
                        <c:v>10.99</c:v>
                      </c:pt>
                      <c:pt idx="1815">
                        <c:v>31.01</c:v>
                      </c:pt>
                      <c:pt idx="1816">
                        <c:v>46.98</c:v>
                      </c:pt>
                      <c:pt idx="1817">
                        <c:v>72.08</c:v>
                      </c:pt>
                      <c:pt idx="1818">
                        <c:v>81.69</c:v>
                      </c:pt>
                      <c:pt idx="1819">
                        <c:v>87.31</c:v>
                      </c:pt>
                      <c:pt idx="1820">
                        <c:v>79.459999999999994</c:v>
                      </c:pt>
                      <c:pt idx="1821">
                        <c:v>72.989999999999995</c:v>
                      </c:pt>
                      <c:pt idx="1822">
                        <c:v>72.31</c:v>
                      </c:pt>
                      <c:pt idx="1823">
                        <c:v>67.099999999999994</c:v>
                      </c:pt>
                      <c:pt idx="1824">
                        <c:v>64.989999999999995</c:v>
                      </c:pt>
                      <c:pt idx="1825">
                        <c:v>60.49</c:v>
                      </c:pt>
                      <c:pt idx="1826">
                        <c:v>55.97</c:v>
                      </c:pt>
                      <c:pt idx="1827">
                        <c:v>58.75</c:v>
                      </c:pt>
                      <c:pt idx="1828">
                        <c:v>60.45</c:v>
                      </c:pt>
                      <c:pt idx="1829">
                        <c:v>60.49</c:v>
                      </c:pt>
                      <c:pt idx="1830">
                        <c:v>62.6</c:v>
                      </c:pt>
                      <c:pt idx="1831">
                        <c:v>56.6</c:v>
                      </c:pt>
                      <c:pt idx="1832">
                        <c:v>50.58</c:v>
                      </c:pt>
                      <c:pt idx="1833">
                        <c:v>47.15</c:v>
                      </c:pt>
                      <c:pt idx="1834">
                        <c:v>45.4</c:v>
                      </c:pt>
                      <c:pt idx="1835">
                        <c:v>45.91</c:v>
                      </c:pt>
                      <c:pt idx="1836">
                        <c:v>41.81</c:v>
                      </c:pt>
                      <c:pt idx="1837">
                        <c:v>40.15</c:v>
                      </c:pt>
                      <c:pt idx="1838">
                        <c:v>48.06</c:v>
                      </c:pt>
                      <c:pt idx="1839">
                        <c:v>56.12</c:v>
                      </c:pt>
                      <c:pt idx="1840">
                        <c:v>71.760000000000005</c:v>
                      </c:pt>
                      <c:pt idx="1841">
                        <c:v>85.44</c:v>
                      </c:pt>
                      <c:pt idx="1842">
                        <c:v>94.31</c:v>
                      </c:pt>
                      <c:pt idx="1843">
                        <c:v>88.29</c:v>
                      </c:pt>
                      <c:pt idx="1844">
                        <c:v>77.89</c:v>
                      </c:pt>
                      <c:pt idx="1845">
                        <c:v>72.33</c:v>
                      </c:pt>
                      <c:pt idx="1846">
                        <c:v>72.099999999999994</c:v>
                      </c:pt>
                      <c:pt idx="1847">
                        <c:v>65.91</c:v>
                      </c:pt>
                      <c:pt idx="1848">
                        <c:v>64.12</c:v>
                      </c:pt>
                      <c:pt idx="1849">
                        <c:v>57.14</c:v>
                      </c:pt>
                      <c:pt idx="1850">
                        <c:v>58.31</c:v>
                      </c:pt>
                      <c:pt idx="1851">
                        <c:v>59.38</c:v>
                      </c:pt>
                      <c:pt idx="1852">
                        <c:v>64.38</c:v>
                      </c:pt>
                      <c:pt idx="1853">
                        <c:v>70.8</c:v>
                      </c:pt>
                      <c:pt idx="1854">
                        <c:v>86.32</c:v>
                      </c:pt>
                      <c:pt idx="1855">
                        <c:v>97.87</c:v>
                      </c:pt>
                      <c:pt idx="1856">
                        <c:v>94.45</c:v>
                      </c:pt>
                      <c:pt idx="1857">
                        <c:v>82.8</c:v>
                      </c:pt>
                      <c:pt idx="1858">
                        <c:v>72.84</c:v>
                      </c:pt>
                      <c:pt idx="1859">
                        <c:v>66.64</c:v>
                      </c:pt>
                      <c:pt idx="1860">
                        <c:v>67.7</c:v>
                      </c:pt>
                      <c:pt idx="1861">
                        <c:v>68.3</c:v>
                      </c:pt>
                      <c:pt idx="1862">
                        <c:v>68.94</c:v>
                      </c:pt>
                      <c:pt idx="1863">
                        <c:v>73.400000000000006</c:v>
                      </c:pt>
                      <c:pt idx="1864">
                        <c:v>78.98</c:v>
                      </c:pt>
                      <c:pt idx="1865">
                        <c:v>107.65</c:v>
                      </c:pt>
                      <c:pt idx="1866">
                        <c:v>145.71</c:v>
                      </c:pt>
                      <c:pt idx="1867">
                        <c:v>126.53</c:v>
                      </c:pt>
                      <c:pt idx="1868">
                        <c:v>103.72</c:v>
                      </c:pt>
                      <c:pt idx="1869">
                        <c:v>81.2</c:v>
                      </c:pt>
                      <c:pt idx="1870">
                        <c:v>78.38</c:v>
                      </c:pt>
                      <c:pt idx="1871">
                        <c:v>74.45</c:v>
                      </c:pt>
                      <c:pt idx="1872">
                        <c:v>72</c:v>
                      </c:pt>
                      <c:pt idx="1873">
                        <c:v>71.239999999999995</c:v>
                      </c:pt>
                      <c:pt idx="1874">
                        <c:v>71.650000000000006</c:v>
                      </c:pt>
                      <c:pt idx="1875">
                        <c:v>71.55</c:v>
                      </c:pt>
                      <c:pt idx="1876">
                        <c:v>71.239999999999995</c:v>
                      </c:pt>
                      <c:pt idx="1877">
                        <c:v>71.010000000000005</c:v>
                      </c:pt>
                      <c:pt idx="1878">
                        <c:v>89.5</c:v>
                      </c:pt>
                      <c:pt idx="1879">
                        <c:v>110.78</c:v>
                      </c:pt>
                      <c:pt idx="1880">
                        <c:v>95.87</c:v>
                      </c:pt>
                      <c:pt idx="1881">
                        <c:v>72.02</c:v>
                      </c:pt>
                      <c:pt idx="1882">
                        <c:v>65.36</c:v>
                      </c:pt>
                      <c:pt idx="1883">
                        <c:v>58.82</c:v>
                      </c:pt>
                      <c:pt idx="1884">
                        <c:v>54.47</c:v>
                      </c:pt>
                      <c:pt idx="1885">
                        <c:v>56.72</c:v>
                      </c:pt>
                      <c:pt idx="1886">
                        <c:v>60.48</c:v>
                      </c:pt>
                      <c:pt idx="1887">
                        <c:v>70.05</c:v>
                      </c:pt>
                      <c:pt idx="1888">
                        <c:v>73.7</c:v>
                      </c:pt>
                      <c:pt idx="1889">
                        <c:v>103.95</c:v>
                      </c:pt>
                      <c:pt idx="1890">
                        <c:v>131.41999999999999</c:v>
                      </c:pt>
                      <c:pt idx="1891">
                        <c:v>128.96</c:v>
                      </c:pt>
                      <c:pt idx="1892">
                        <c:v>110</c:v>
                      </c:pt>
                      <c:pt idx="1893">
                        <c:v>89.02</c:v>
                      </c:pt>
                      <c:pt idx="1894">
                        <c:v>81.72</c:v>
                      </c:pt>
                      <c:pt idx="1895">
                        <c:v>76.099999999999994</c:v>
                      </c:pt>
                      <c:pt idx="1896">
                        <c:v>76.010000000000005</c:v>
                      </c:pt>
                      <c:pt idx="1897">
                        <c:v>73.400000000000006</c:v>
                      </c:pt>
                      <c:pt idx="1898">
                        <c:v>74.900000000000006</c:v>
                      </c:pt>
                      <c:pt idx="1899">
                        <c:v>75.7</c:v>
                      </c:pt>
                      <c:pt idx="1900">
                        <c:v>76.36</c:v>
                      </c:pt>
                      <c:pt idx="1901">
                        <c:v>80.900000000000006</c:v>
                      </c:pt>
                      <c:pt idx="1902">
                        <c:v>116</c:v>
                      </c:pt>
                      <c:pt idx="1903">
                        <c:v>116.24</c:v>
                      </c:pt>
                      <c:pt idx="1904">
                        <c:v>98.33</c:v>
                      </c:pt>
                      <c:pt idx="1905">
                        <c:v>70.63</c:v>
                      </c:pt>
                      <c:pt idx="1906">
                        <c:v>66</c:v>
                      </c:pt>
                      <c:pt idx="1907">
                        <c:v>65.39</c:v>
                      </c:pt>
                      <c:pt idx="1908">
                        <c:v>61.43</c:v>
                      </c:pt>
                      <c:pt idx="1909">
                        <c:v>63.95</c:v>
                      </c:pt>
                      <c:pt idx="1910">
                        <c:v>64.349999999999994</c:v>
                      </c:pt>
                      <c:pt idx="1911">
                        <c:v>70.78</c:v>
                      </c:pt>
                      <c:pt idx="1912">
                        <c:v>87.07</c:v>
                      </c:pt>
                      <c:pt idx="1913">
                        <c:v>119.68</c:v>
                      </c:pt>
                      <c:pt idx="1914">
                        <c:v>168.54</c:v>
                      </c:pt>
                      <c:pt idx="1915">
                        <c:v>159.05000000000001</c:v>
                      </c:pt>
                      <c:pt idx="1916">
                        <c:v>124.95</c:v>
                      </c:pt>
                      <c:pt idx="1917">
                        <c:v>106.52</c:v>
                      </c:pt>
                      <c:pt idx="1918">
                        <c:v>96.07</c:v>
                      </c:pt>
                      <c:pt idx="1919">
                        <c:v>79.98</c:v>
                      </c:pt>
                      <c:pt idx="1920">
                        <c:v>76.180000000000007</c:v>
                      </c:pt>
                      <c:pt idx="1921">
                        <c:v>73.37</c:v>
                      </c:pt>
                      <c:pt idx="1922">
                        <c:v>71.55</c:v>
                      </c:pt>
                      <c:pt idx="1923">
                        <c:v>71.319999999999993</c:v>
                      </c:pt>
                      <c:pt idx="1924">
                        <c:v>71</c:v>
                      </c:pt>
                      <c:pt idx="1925">
                        <c:v>73.510000000000005</c:v>
                      </c:pt>
                      <c:pt idx="1926">
                        <c:v>89.26</c:v>
                      </c:pt>
                      <c:pt idx="1927">
                        <c:v>98.21</c:v>
                      </c:pt>
                      <c:pt idx="1928">
                        <c:v>102.29</c:v>
                      </c:pt>
                      <c:pt idx="1929">
                        <c:v>80</c:v>
                      </c:pt>
                      <c:pt idx="1930">
                        <c:v>72.41</c:v>
                      </c:pt>
                      <c:pt idx="1931">
                        <c:v>68.03</c:v>
                      </c:pt>
                      <c:pt idx="1932">
                        <c:v>64.64</c:v>
                      </c:pt>
                      <c:pt idx="1933">
                        <c:v>59.96</c:v>
                      </c:pt>
                      <c:pt idx="1934">
                        <c:v>66.849999999999994</c:v>
                      </c:pt>
                      <c:pt idx="1935">
                        <c:v>66.28</c:v>
                      </c:pt>
                      <c:pt idx="1936">
                        <c:v>75.27</c:v>
                      </c:pt>
                      <c:pt idx="1937">
                        <c:v>100.9</c:v>
                      </c:pt>
                      <c:pt idx="1938">
                        <c:v>127.13</c:v>
                      </c:pt>
                      <c:pt idx="1939">
                        <c:v>122.85</c:v>
                      </c:pt>
                      <c:pt idx="1940">
                        <c:v>94.04</c:v>
                      </c:pt>
                      <c:pt idx="1941">
                        <c:v>79.599999999999994</c:v>
                      </c:pt>
                      <c:pt idx="1942">
                        <c:v>77.48</c:v>
                      </c:pt>
                      <c:pt idx="1943">
                        <c:v>71.23</c:v>
                      </c:pt>
                      <c:pt idx="1944">
                        <c:v>56.34</c:v>
                      </c:pt>
                      <c:pt idx="1945">
                        <c:v>52.24</c:v>
                      </c:pt>
                      <c:pt idx="1946">
                        <c:v>49.69</c:v>
                      </c:pt>
                      <c:pt idx="1947">
                        <c:v>51.83</c:v>
                      </c:pt>
                      <c:pt idx="1948">
                        <c:v>52.8</c:v>
                      </c:pt>
                      <c:pt idx="1949">
                        <c:v>59.89</c:v>
                      </c:pt>
                      <c:pt idx="1950">
                        <c:v>74.099999999999994</c:v>
                      </c:pt>
                      <c:pt idx="1951">
                        <c:v>67.39</c:v>
                      </c:pt>
                      <c:pt idx="1952">
                        <c:v>68.09</c:v>
                      </c:pt>
                      <c:pt idx="1953">
                        <c:v>56.32</c:v>
                      </c:pt>
                      <c:pt idx="1954">
                        <c:v>51.81</c:v>
                      </c:pt>
                      <c:pt idx="1955">
                        <c:v>49.85</c:v>
                      </c:pt>
                      <c:pt idx="1956">
                        <c:v>49.76</c:v>
                      </c:pt>
                      <c:pt idx="1957">
                        <c:v>51.49</c:v>
                      </c:pt>
                      <c:pt idx="1958">
                        <c:v>52.39</c:v>
                      </c:pt>
                      <c:pt idx="1959">
                        <c:v>59.97</c:v>
                      </c:pt>
                      <c:pt idx="1960">
                        <c:v>76.87</c:v>
                      </c:pt>
                      <c:pt idx="1961">
                        <c:v>88.98</c:v>
                      </c:pt>
                      <c:pt idx="1962">
                        <c:v>121.59</c:v>
                      </c:pt>
                      <c:pt idx="1963">
                        <c:v>118.71</c:v>
                      </c:pt>
                      <c:pt idx="1964">
                        <c:v>95</c:v>
                      </c:pt>
                      <c:pt idx="1965">
                        <c:v>82.25</c:v>
                      </c:pt>
                      <c:pt idx="1966">
                        <c:v>80.150000000000006</c:v>
                      </c:pt>
                      <c:pt idx="1967">
                        <c:v>77.47</c:v>
                      </c:pt>
                      <c:pt idx="1968">
                        <c:v>77.77</c:v>
                      </c:pt>
                      <c:pt idx="1969">
                        <c:v>72.47</c:v>
                      </c:pt>
                      <c:pt idx="1970">
                        <c:v>65.92</c:v>
                      </c:pt>
                      <c:pt idx="1971">
                        <c:v>63.98</c:v>
                      </c:pt>
                      <c:pt idx="1972">
                        <c:v>59.84</c:v>
                      </c:pt>
                      <c:pt idx="1973">
                        <c:v>61.44</c:v>
                      </c:pt>
                      <c:pt idx="1974">
                        <c:v>58.34</c:v>
                      </c:pt>
                      <c:pt idx="1975">
                        <c:v>52.82</c:v>
                      </c:pt>
                      <c:pt idx="1976">
                        <c:v>39.119999999999997</c:v>
                      </c:pt>
                      <c:pt idx="1977">
                        <c:v>13.2</c:v>
                      </c:pt>
                      <c:pt idx="1978">
                        <c:v>0.02</c:v>
                      </c:pt>
                      <c:pt idx="1979">
                        <c:v>-0.05</c:v>
                      </c:pt>
                      <c:pt idx="1980">
                        <c:v>-1.94</c:v>
                      </c:pt>
                      <c:pt idx="1981">
                        <c:v>-5.71</c:v>
                      </c:pt>
                      <c:pt idx="1982">
                        <c:v>-8.4499999999999993</c:v>
                      </c:pt>
                      <c:pt idx="1983">
                        <c:v>-1.46</c:v>
                      </c:pt>
                      <c:pt idx="1984">
                        <c:v>7.0000000000000007E-2</c:v>
                      </c:pt>
                      <c:pt idx="1985">
                        <c:v>47.8</c:v>
                      </c:pt>
                      <c:pt idx="1986">
                        <c:v>70.09</c:v>
                      </c:pt>
                      <c:pt idx="1987">
                        <c:v>69.150000000000006</c:v>
                      </c:pt>
                      <c:pt idx="1988">
                        <c:v>52.94</c:v>
                      </c:pt>
                      <c:pt idx="1989">
                        <c:v>45.84</c:v>
                      </c:pt>
                      <c:pt idx="1990">
                        <c:v>40.28</c:v>
                      </c:pt>
                      <c:pt idx="1991">
                        <c:v>28.39</c:v>
                      </c:pt>
                      <c:pt idx="1992">
                        <c:v>32.1</c:v>
                      </c:pt>
                      <c:pt idx="1993">
                        <c:v>13.28</c:v>
                      </c:pt>
                      <c:pt idx="1994">
                        <c:v>10.130000000000001</c:v>
                      </c:pt>
                      <c:pt idx="1995">
                        <c:v>17</c:v>
                      </c:pt>
                      <c:pt idx="1996">
                        <c:v>19.920000000000002</c:v>
                      </c:pt>
                      <c:pt idx="1997">
                        <c:v>26.82</c:v>
                      </c:pt>
                      <c:pt idx="1998">
                        <c:v>14.87</c:v>
                      </c:pt>
                      <c:pt idx="1999">
                        <c:v>1.96</c:v>
                      </c:pt>
                      <c:pt idx="2000">
                        <c:v>0</c:v>
                      </c:pt>
                      <c:pt idx="2001">
                        <c:v>0</c:v>
                      </c:pt>
                      <c:pt idx="2002">
                        <c:v>0</c:v>
                      </c:pt>
                      <c:pt idx="2003">
                        <c:v>0</c:v>
                      </c:pt>
                      <c:pt idx="2004">
                        <c:v>0</c:v>
                      </c:pt>
                      <c:pt idx="2005">
                        <c:v>0</c:v>
                      </c:pt>
                      <c:pt idx="2006">
                        <c:v>0</c:v>
                      </c:pt>
                      <c:pt idx="2007">
                        <c:v>0</c:v>
                      </c:pt>
                      <c:pt idx="2008">
                        <c:v>16.690000000000001</c:v>
                      </c:pt>
                      <c:pt idx="2009">
                        <c:v>59.4</c:v>
                      </c:pt>
                      <c:pt idx="2010">
                        <c:v>75</c:v>
                      </c:pt>
                      <c:pt idx="2011">
                        <c:v>74.900000000000006</c:v>
                      </c:pt>
                      <c:pt idx="2012">
                        <c:v>66.900000000000006</c:v>
                      </c:pt>
                      <c:pt idx="2013">
                        <c:v>64.77</c:v>
                      </c:pt>
                      <c:pt idx="2014">
                        <c:v>64.27</c:v>
                      </c:pt>
                      <c:pt idx="2015">
                        <c:v>62.97</c:v>
                      </c:pt>
                      <c:pt idx="2016">
                        <c:v>62.51</c:v>
                      </c:pt>
                      <c:pt idx="2017">
                        <c:v>62.29</c:v>
                      </c:pt>
                      <c:pt idx="2018">
                        <c:v>62.48</c:v>
                      </c:pt>
                      <c:pt idx="2019">
                        <c:v>64.510000000000005</c:v>
                      </c:pt>
                      <c:pt idx="2020">
                        <c:v>66.959999999999994</c:v>
                      </c:pt>
                      <c:pt idx="2021">
                        <c:v>77.14</c:v>
                      </c:pt>
                      <c:pt idx="2022">
                        <c:v>88.43</c:v>
                      </c:pt>
                      <c:pt idx="2023">
                        <c:v>113.87</c:v>
                      </c:pt>
                      <c:pt idx="2024">
                        <c:v>99.68</c:v>
                      </c:pt>
                      <c:pt idx="2025">
                        <c:v>77.430000000000007</c:v>
                      </c:pt>
                      <c:pt idx="2026">
                        <c:v>70.05</c:v>
                      </c:pt>
                      <c:pt idx="2027">
                        <c:v>63.66</c:v>
                      </c:pt>
                      <c:pt idx="2028">
                        <c:v>61.85</c:v>
                      </c:pt>
                      <c:pt idx="2029">
                        <c:v>63.22</c:v>
                      </c:pt>
                      <c:pt idx="2030">
                        <c:v>64.52</c:v>
                      </c:pt>
                      <c:pt idx="2031">
                        <c:v>73.97</c:v>
                      </c:pt>
                      <c:pt idx="2032">
                        <c:v>81.05</c:v>
                      </c:pt>
                      <c:pt idx="2033">
                        <c:v>111.88</c:v>
                      </c:pt>
                      <c:pt idx="2034">
                        <c:v>174.7</c:v>
                      </c:pt>
                      <c:pt idx="2035">
                        <c:v>149.75</c:v>
                      </c:pt>
                      <c:pt idx="2036">
                        <c:v>102.73</c:v>
                      </c:pt>
                      <c:pt idx="2037">
                        <c:v>82.39</c:v>
                      </c:pt>
                      <c:pt idx="2038">
                        <c:v>79.56</c:v>
                      </c:pt>
                      <c:pt idx="2039">
                        <c:v>74.739999999999995</c:v>
                      </c:pt>
                      <c:pt idx="2040">
                        <c:v>79.900000000000006</c:v>
                      </c:pt>
                      <c:pt idx="2041">
                        <c:v>73.3</c:v>
                      </c:pt>
                      <c:pt idx="2042">
                        <c:v>68.91</c:v>
                      </c:pt>
                      <c:pt idx="2043">
                        <c:v>67.98</c:v>
                      </c:pt>
                      <c:pt idx="2044">
                        <c:v>70.069999999999993</c:v>
                      </c:pt>
                      <c:pt idx="2045">
                        <c:v>72.28</c:v>
                      </c:pt>
                      <c:pt idx="2046">
                        <c:v>80.38</c:v>
                      </c:pt>
                      <c:pt idx="2047">
                        <c:v>79.2</c:v>
                      </c:pt>
                      <c:pt idx="2048">
                        <c:v>72.099999999999994</c:v>
                      </c:pt>
                      <c:pt idx="2049">
                        <c:v>62</c:v>
                      </c:pt>
                      <c:pt idx="2050">
                        <c:v>49.5</c:v>
                      </c:pt>
                      <c:pt idx="2051">
                        <c:v>37.03</c:v>
                      </c:pt>
                      <c:pt idx="2052">
                        <c:v>11.49</c:v>
                      </c:pt>
                      <c:pt idx="2053">
                        <c:v>27.35</c:v>
                      </c:pt>
                      <c:pt idx="2054">
                        <c:v>37.1</c:v>
                      </c:pt>
                      <c:pt idx="2055">
                        <c:v>51.93</c:v>
                      </c:pt>
                      <c:pt idx="2056">
                        <c:v>68.06</c:v>
                      </c:pt>
                      <c:pt idx="2057">
                        <c:v>81.05</c:v>
                      </c:pt>
                      <c:pt idx="2058">
                        <c:v>100.75</c:v>
                      </c:pt>
                      <c:pt idx="2059">
                        <c:v>100.3</c:v>
                      </c:pt>
                      <c:pt idx="2060">
                        <c:v>80</c:v>
                      </c:pt>
                      <c:pt idx="2061">
                        <c:v>77.05</c:v>
                      </c:pt>
                      <c:pt idx="2062">
                        <c:v>72.819999999999993</c:v>
                      </c:pt>
                      <c:pt idx="2063">
                        <c:v>66.92</c:v>
                      </c:pt>
                      <c:pt idx="2064">
                        <c:v>58.35</c:v>
                      </c:pt>
                      <c:pt idx="2065">
                        <c:v>57.09</c:v>
                      </c:pt>
                      <c:pt idx="2066">
                        <c:v>57.28</c:v>
                      </c:pt>
                      <c:pt idx="2067">
                        <c:v>57.79</c:v>
                      </c:pt>
                      <c:pt idx="2068">
                        <c:v>60.03</c:v>
                      </c:pt>
                      <c:pt idx="2069">
                        <c:v>72.38</c:v>
                      </c:pt>
                      <c:pt idx="2070">
                        <c:v>81.17</c:v>
                      </c:pt>
                      <c:pt idx="2071">
                        <c:v>82.78</c:v>
                      </c:pt>
                      <c:pt idx="2072">
                        <c:v>80.010000000000005</c:v>
                      </c:pt>
                      <c:pt idx="2073">
                        <c:v>68.12</c:v>
                      </c:pt>
                      <c:pt idx="2074">
                        <c:v>63.9</c:v>
                      </c:pt>
                      <c:pt idx="2075">
                        <c:v>57.13</c:v>
                      </c:pt>
                      <c:pt idx="2076">
                        <c:v>57.66</c:v>
                      </c:pt>
                      <c:pt idx="2077">
                        <c:v>60</c:v>
                      </c:pt>
                      <c:pt idx="2078">
                        <c:v>67.8</c:v>
                      </c:pt>
                      <c:pt idx="2079">
                        <c:v>78.930000000000007</c:v>
                      </c:pt>
                      <c:pt idx="2080">
                        <c:v>84.14</c:v>
                      </c:pt>
                      <c:pt idx="2081">
                        <c:v>100.53</c:v>
                      </c:pt>
                      <c:pt idx="2082">
                        <c:v>125.93</c:v>
                      </c:pt>
                      <c:pt idx="2083">
                        <c:v>118.94</c:v>
                      </c:pt>
                      <c:pt idx="2084">
                        <c:v>99.42</c:v>
                      </c:pt>
                      <c:pt idx="2085">
                        <c:v>84.25</c:v>
                      </c:pt>
                      <c:pt idx="2086">
                        <c:v>83.02</c:v>
                      </c:pt>
                      <c:pt idx="2087">
                        <c:v>74.47</c:v>
                      </c:pt>
                      <c:pt idx="2088">
                        <c:v>79.09</c:v>
                      </c:pt>
                      <c:pt idx="2089">
                        <c:v>72.599999999999994</c:v>
                      </c:pt>
                      <c:pt idx="2090">
                        <c:v>65.239999999999995</c:v>
                      </c:pt>
                      <c:pt idx="2091">
                        <c:v>64.41</c:v>
                      </c:pt>
                      <c:pt idx="2092">
                        <c:v>66.69</c:v>
                      </c:pt>
                      <c:pt idx="2093">
                        <c:v>71.599999999999994</c:v>
                      </c:pt>
                      <c:pt idx="2094">
                        <c:v>82.07</c:v>
                      </c:pt>
                      <c:pt idx="2095">
                        <c:v>83.19</c:v>
                      </c:pt>
                      <c:pt idx="2096">
                        <c:v>80.92</c:v>
                      </c:pt>
                      <c:pt idx="2097">
                        <c:v>63.24</c:v>
                      </c:pt>
                      <c:pt idx="2098">
                        <c:v>47.07</c:v>
                      </c:pt>
                      <c:pt idx="2099">
                        <c:v>37</c:v>
                      </c:pt>
                      <c:pt idx="2100">
                        <c:v>6.74</c:v>
                      </c:pt>
                      <c:pt idx="2101">
                        <c:v>0.05</c:v>
                      </c:pt>
                      <c:pt idx="2102">
                        <c:v>0.04</c:v>
                      </c:pt>
                      <c:pt idx="2103">
                        <c:v>9.82</c:v>
                      </c:pt>
                      <c:pt idx="2104">
                        <c:v>33.17</c:v>
                      </c:pt>
                      <c:pt idx="2105">
                        <c:v>52.72</c:v>
                      </c:pt>
                      <c:pt idx="2106">
                        <c:v>73.97</c:v>
                      </c:pt>
                      <c:pt idx="2107">
                        <c:v>70.33</c:v>
                      </c:pt>
                      <c:pt idx="2108">
                        <c:v>62.54</c:v>
                      </c:pt>
                      <c:pt idx="2109">
                        <c:v>51.83</c:v>
                      </c:pt>
                      <c:pt idx="2110">
                        <c:v>33.049999999999997</c:v>
                      </c:pt>
                      <c:pt idx="2111">
                        <c:v>25</c:v>
                      </c:pt>
                      <c:pt idx="2112">
                        <c:v>20.6</c:v>
                      </c:pt>
                      <c:pt idx="2113">
                        <c:v>18.829999999999998</c:v>
                      </c:pt>
                      <c:pt idx="2114">
                        <c:v>12.43</c:v>
                      </c:pt>
                      <c:pt idx="2115">
                        <c:v>10.24</c:v>
                      </c:pt>
                      <c:pt idx="2116">
                        <c:v>12.59</c:v>
                      </c:pt>
                      <c:pt idx="2117">
                        <c:v>14.32</c:v>
                      </c:pt>
                      <c:pt idx="2118">
                        <c:v>22.02</c:v>
                      </c:pt>
                      <c:pt idx="2119">
                        <c:v>22.39</c:v>
                      </c:pt>
                      <c:pt idx="2120">
                        <c:v>15.94</c:v>
                      </c:pt>
                      <c:pt idx="2121">
                        <c:v>13.28</c:v>
                      </c:pt>
                      <c:pt idx="2122">
                        <c:v>16.88</c:v>
                      </c:pt>
                      <c:pt idx="2123">
                        <c:v>18.829999999999998</c:v>
                      </c:pt>
                      <c:pt idx="2124">
                        <c:v>13</c:v>
                      </c:pt>
                      <c:pt idx="2125">
                        <c:v>9.86</c:v>
                      </c:pt>
                      <c:pt idx="2126">
                        <c:v>13.44</c:v>
                      </c:pt>
                      <c:pt idx="2127">
                        <c:v>21.58</c:v>
                      </c:pt>
                      <c:pt idx="2128">
                        <c:v>49.5</c:v>
                      </c:pt>
                      <c:pt idx="2129">
                        <c:v>79.930000000000007</c:v>
                      </c:pt>
                      <c:pt idx="2130">
                        <c:v>101.97</c:v>
                      </c:pt>
                      <c:pt idx="2131">
                        <c:v>105.45</c:v>
                      </c:pt>
                      <c:pt idx="2132">
                        <c:v>87.4</c:v>
                      </c:pt>
                      <c:pt idx="2133">
                        <c:v>79.930000000000007</c:v>
                      </c:pt>
                      <c:pt idx="2134">
                        <c:v>75.89</c:v>
                      </c:pt>
                      <c:pt idx="2135">
                        <c:v>70</c:v>
                      </c:pt>
                      <c:pt idx="2136">
                        <c:v>69.3</c:v>
                      </c:pt>
                      <c:pt idx="2137">
                        <c:v>58.16</c:v>
                      </c:pt>
                      <c:pt idx="2138">
                        <c:v>58.88</c:v>
                      </c:pt>
                      <c:pt idx="2139">
                        <c:v>58.95</c:v>
                      </c:pt>
                      <c:pt idx="2140">
                        <c:v>59.23</c:v>
                      </c:pt>
                      <c:pt idx="2141">
                        <c:v>65.05</c:v>
                      </c:pt>
                      <c:pt idx="2142">
                        <c:v>58.57</c:v>
                      </c:pt>
                      <c:pt idx="2143">
                        <c:v>47.79</c:v>
                      </c:pt>
                      <c:pt idx="2144">
                        <c:v>45.23</c:v>
                      </c:pt>
                      <c:pt idx="2145">
                        <c:v>43.38</c:v>
                      </c:pt>
                      <c:pt idx="2146">
                        <c:v>34.49</c:v>
                      </c:pt>
                      <c:pt idx="2147">
                        <c:v>23.21</c:v>
                      </c:pt>
                      <c:pt idx="2148">
                        <c:v>14.76</c:v>
                      </c:pt>
                      <c:pt idx="2149">
                        <c:v>6.85</c:v>
                      </c:pt>
                      <c:pt idx="2150">
                        <c:v>15.87</c:v>
                      </c:pt>
                      <c:pt idx="2151">
                        <c:v>34.200000000000003</c:v>
                      </c:pt>
                      <c:pt idx="2152">
                        <c:v>52.52</c:v>
                      </c:pt>
                      <c:pt idx="2153">
                        <c:v>77.75</c:v>
                      </c:pt>
                      <c:pt idx="2154">
                        <c:v>88.11</c:v>
                      </c:pt>
                      <c:pt idx="2155">
                        <c:v>83.53</c:v>
                      </c:pt>
                      <c:pt idx="2156">
                        <c:v>74.11</c:v>
                      </c:pt>
                      <c:pt idx="2157">
                        <c:v>71.47</c:v>
                      </c:pt>
                      <c:pt idx="2158">
                        <c:v>70.83</c:v>
                      </c:pt>
                      <c:pt idx="2159">
                        <c:v>65.739999999999995</c:v>
                      </c:pt>
                      <c:pt idx="2160">
                        <c:v>75.7</c:v>
                      </c:pt>
                      <c:pt idx="2161">
                        <c:v>66.709999999999994</c:v>
                      </c:pt>
                      <c:pt idx="2162">
                        <c:v>64.98</c:v>
                      </c:pt>
                      <c:pt idx="2163">
                        <c:v>60.48</c:v>
                      </c:pt>
                      <c:pt idx="2164">
                        <c:v>58.74</c:v>
                      </c:pt>
                      <c:pt idx="2165">
                        <c:v>64.459999999999994</c:v>
                      </c:pt>
                      <c:pt idx="2166">
                        <c:v>71.510000000000005</c:v>
                      </c:pt>
                      <c:pt idx="2167">
                        <c:v>65.03</c:v>
                      </c:pt>
                      <c:pt idx="2168">
                        <c:v>50.32</c:v>
                      </c:pt>
                      <c:pt idx="2169">
                        <c:v>41.03</c:v>
                      </c:pt>
                      <c:pt idx="2170">
                        <c:v>29.52</c:v>
                      </c:pt>
                      <c:pt idx="2171">
                        <c:v>19.850000000000001</c:v>
                      </c:pt>
                      <c:pt idx="2172">
                        <c:v>3.06</c:v>
                      </c:pt>
                      <c:pt idx="2173">
                        <c:v>1.03</c:v>
                      </c:pt>
                      <c:pt idx="2174">
                        <c:v>15.27</c:v>
                      </c:pt>
                      <c:pt idx="2175">
                        <c:v>41.07</c:v>
                      </c:pt>
                      <c:pt idx="2176">
                        <c:v>66.739999999999995</c:v>
                      </c:pt>
                      <c:pt idx="2177">
                        <c:v>89.32</c:v>
                      </c:pt>
                      <c:pt idx="2178">
                        <c:v>117.29</c:v>
                      </c:pt>
                      <c:pt idx="2179">
                        <c:v>83.72</c:v>
                      </c:pt>
                      <c:pt idx="2180">
                        <c:v>70</c:v>
                      </c:pt>
                      <c:pt idx="2181">
                        <c:v>64.510000000000005</c:v>
                      </c:pt>
                      <c:pt idx="2182">
                        <c:v>54.9</c:v>
                      </c:pt>
                      <c:pt idx="2183">
                        <c:v>49.95</c:v>
                      </c:pt>
                      <c:pt idx="2184">
                        <c:v>48.98</c:v>
                      </c:pt>
                      <c:pt idx="2185">
                        <c:v>46.06</c:v>
                      </c:pt>
                      <c:pt idx="2186">
                        <c:v>43.58</c:v>
                      </c:pt>
                      <c:pt idx="2187">
                        <c:v>49.4</c:v>
                      </c:pt>
                      <c:pt idx="2188">
                        <c:v>52.35</c:v>
                      </c:pt>
                      <c:pt idx="2189">
                        <c:v>58.71</c:v>
                      </c:pt>
                      <c:pt idx="2190">
                        <c:v>64.489999999999995</c:v>
                      </c:pt>
                      <c:pt idx="2191">
                        <c:v>58.71</c:v>
                      </c:pt>
                      <c:pt idx="2192">
                        <c:v>60.89</c:v>
                      </c:pt>
                      <c:pt idx="2193">
                        <c:v>54.36</c:v>
                      </c:pt>
                      <c:pt idx="2194">
                        <c:v>35.39</c:v>
                      </c:pt>
                      <c:pt idx="2195">
                        <c:v>13.04</c:v>
                      </c:pt>
                      <c:pt idx="2196">
                        <c:v>0.03</c:v>
                      </c:pt>
                      <c:pt idx="2197">
                        <c:v>-0.01</c:v>
                      </c:pt>
                      <c:pt idx="2198">
                        <c:v>-0.01</c:v>
                      </c:pt>
                      <c:pt idx="2199">
                        <c:v>-0.01</c:v>
                      </c:pt>
                      <c:pt idx="2200">
                        <c:v>5.79</c:v>
                      </c:pt>
                      <c:pt idx="2201">
                        <c:v>41.97</c:v>
                      </c:pt>
                      <c:pt idx="2202">
                        <c:v>48.53</c:v>
                      </c:pt>
                      <c:pt idx="2203">
                        <c:v>49.88</c:v>
                      </c:pt>
                      <c:pt idx="2204">
                        <c:v>45.69</c:v>
                      </c:pt>
                      <c:pt idx="2205">
                        <c:v>25.97</c:v>
                      </c:pt>
                      <c:pt idx="2206">
                        <c:v>7.47</c:v>
                      </c:pt>
                      <c:pt idx="2207">
                        <c:v>7.97</c:v>
                      </c:pt>
                      <c:pt idx="2208">
                        <c:v>1.28</c:v>
                      </c:pt>
                      <c:pt idx="2209">
                        <c:v>0.61</c:v>
                      </c:pt>
                      <c:pt idx="2210">
                        <c:v>0.87</c:v>
                      </c:pt>
                      <c:pt idx="2211">
                        <c:v>1.94</c:v>
                      </c:pt>
                      <c:pt idx="2212">
                        <c:v>7.27</c:v>
                      </c:pt>
                      <c:pt idx="2213">
                        <c:v>57.22</c:v>
                      </c:pt>
                      <c:pt idx="2214">
                        <c:v>74.36</c:v>
                      </c:pt>
                      <c:pt idx="2215">
                        <c:v>68.930000000000007</c:v>
                      </c:pt>
                      <c:pt idx="2216">
                        <c:v>46.98</c:v>
                      </c:pt>
                      <c:pt idx="2217">
                        <c:v>2.66</c:v>
                      </c:pt>
                      <c:pt idx="2218">
                        <c:v>-0.06</c:v>
                      </c:pt>
                      <c:pt idx="2219">
                        <c:v>-1.0900000000000001</c:v>
                      </c:pt>
                      <c:pt idx="2220">
                        <c:v>-0.97</c:v>
                      </c:pt>
                      <c:pt idx="2221">
                        <c:v>-7.0000000000000007E-2</c:v>
                      </c:pt>
                      <c:pt idx="2222">
                        <c:v>0</c:v>
                      </c:pt>
                      <c:pt idx="2223">
                        <c:v>4.3099999999999996</c:v>
                      </c:pt>
                      <c:pt idx="2224">
                        <c:v>41.46</c:v>
                      </c:pt>
                      <c:pt idx="2225">
                        <c:v>72.7</c:v>
                      </c:pt>
                      <c:pt idx="2226">
                        <c:v>95.39</c:v>
                      </c:pt>
                      <c:pt idx="2227">
                        <c:v>94.88</c:v>
                      </c:pt>
                      <c:pt idx="2228">
                        <c:v>78.13</c:v>
                      </c:pt>
                      <c:pt idx="2229">
                        <c:v>74.86</c:v>
                      </c:pt>
                      <c:pt idx="2230">
                        <c:v>70.88</c:v>
                      </c:pt>
                      <c:pt idx="2231">
                        <c:v>74.13</c:v>
                      </c:pt>
                      <c:pt idx="2232">
                        <c:v>71.75</c:v>
                      </c:pt>
                      <c:pt idx="2233">
                        <c:v>70.05</c:v>
                      </c:pt>
                      <c:pt idx="2234">
                        <c:v>72.510000000000005</c:v>
                      </c:pt>
                      <c:pt idx="2235">
                        <c:v>72.34</c:v>
                      </c:pt>
                      <c:pt idx="2236">
                        <c:v>78.709999999999994</c:v>
                      </c:pt>
                      <c:pt idx="2237">
                        <c:v>94.91</c:v>
                      </c:pt>
                      <c:pt idx="2238">
                        <c:v>117.93</c:v>
                      </c:pt>
                      <c:pt idx="2239">
                        <c:v>117.93</c:v>
                      </c:pt>
                      <c:pt idx="2240">
                        <c:v>100.98</c:v>
                      </c:pt>
                      <c:pt idx="2241">
                        <c:v>107.35</c:v>
                      </c:pt>
                      <c:pt idx="2242">
                        <c:v>90.81</c:v>
                      </c:pt>
                      <c:pt idx="2243">
                        <c:v>82.03</c:v>
                      </c:pt>
                      <c:pt idx="2244">
                        <c:v>76.88</c:v>
                      </c:pt>
                      <c:pt idx="2245">
                        <c:v>73.040000000000006</c:v>
                      </c:pt>
                      <c:pt idx="2246">
                        <c:v>73.069999999999993</c:v>
                      </c:pt>
                      <c:pt idx="2247">
                        <c:v>76.7</c:v>
                      </c:pt>
                      <c:pt idx="2248">
                        <c:v>92.44</c:v>
                      </c:pt>
                      <c:pt idx="2249">
                        <c:v>108.14</c:v>
                      </c:pt>
                      <c:pt idx="2250">
                        <c:v>123.3</c:v>
                      </c:pt>
                      <c:pt idx="2251">
                        <c:v>101.58</c:v>
                      </c:pt>
                      <c:pt idx="2252">
                        <c:v>80.97</c:v>
                      </c:pt>
                      <c:pt idx="2253">
                        <c:v>75.510000000000005</c:v>
                      </c:pt>
                      <c:pt idx="2254">
                        <c:v>63.89</c:v>
                      </c:pt>
                      <c:pt idx="2255">
                        <c:v>54.52</c:v>
                      </c:pt>
                      <c:pt idx="2256">
                        <c:v>52.01</c:v>
                      </c:pt>
                      <c:pt idx="2257">
                        <c:v>50.17</c:v>
                      </c:pt>
                      <c:pt idx="2258">
                        <c:v>51.57</c:v>
                      </c:pt>
                      <c:pt idx="2259">
                        <c:v>51.94</c:v>
                      </c:pt>
                      <c:pt idx="2260">
                        <c:v>55.1</c:v>
                      </c:pt>
                      <c:pt idx="2261">
                        <c:v>67.52</c:v>
                      </c:pt>
                      <c:pt idx="2262">
                        <c:v>79.16</c:v>
                      </c:pt>
                      <c:pt idx="2263">
                        <c:v>77.180000000000007</c:v>
                      </c:pt>
                      <c:pt idx="2264">
                        <c:v>71.94</c:v>
                      </c:pt>
                      <c:pt idx="2265">
                        <c:v>69.45</c:v>
                      </c:pt>
                      <c:pt idx="2266">
                        <c:v>63.06</c:v>
                      </c:pt>
                      <c:pt idx="2267">
                        <c:v>58.08</c:v>
                      </c:pt>
                      <c:pt idx="2268">
                        <c:v>56.22</c:v>
                      </c:pt>
                      <c:pt idx="2269">
                        <c:v>55.49</c:v>
                      </c:pt>
                      <c:pt idx="2270">
                        <c:v>56.17</c:v>
                      </c:pt>
                      <c:pt idx="2271">
                        <c:v>57.08</c:v>
                      </c:pt>
                      <c:pt idx="2272">
                        <c:v>69.08</c:v>
                      </c:pt>
                      <c:pt idx="2273">
                        <c:v>75.36</c:v>
                      </c:pt>
                      <c:pt idx="2274">
                        <c:v>90.66</c:v>
                      </c:pt>
                      <c:pt idx="2275">
                        <c:v>80.58</c:v>
                      </c:pt>
                      <c:pt idx="2276">
                        <c:v>73.290000000000006</c:v>
                      </c:pt>
                      <c:pt idx="2277">
                        <c:v>71.47</c:v>
                      </c:pt>
                      <c:pt idx="2278">
                        <c:v>61.53</c:v>
                      </c:pt>
                      <c:pt idx="2279">
                        <c:v>62.72</c:v>
                      </c:pt>
                      <c:pt idx="2280">
                        <c:v>59.08</c:v>
                      </c:pt>
                      <c:pt idx="2281">
                        <c:v>55.96</c:v>
                      </c:pt>
                      <c:pt idx="2282">
                        <c:v>56.59</c:v>
                      </c:pt>
                      <c:pt idx="2283">
                        <c:v>53.9</c:v>
                      </c:pt>
                      <c:pt idx="2284">
                        <c:v>62.5</c:v>
                      </c:pt>
                      <c:pt idx="2285">
                        <c:v>76.290000000000006</c:v>
                      </c:pt>
                      <c:pt idx="2286">
                        <c:v>84.24</c:v>
                      </c:pt>
                      <c:pt idx="2287">
                        <c:v>81</c:v>
                      </c:pt>
                      <c:pt idx="2288">
                        <c:v>67.59</c:v>
                      </c:pt>
                      <c:pt idx="2289">
                        <c:v>50.5</c:v>
                      </c:pt>
                      <c:pt idx="2290">
                        <c:v>25.97</c:v>
                      </c:pt>
                      <c:pt idx="2291">
                        <c:v>9.16</c:v>
                      </c:pt>
                      <c:pt idx="2292">
                        <c:v>0</c:v>
                      </c:pt>
                      <c:pt idx="2293">
                        <c:v>-0.1</c:v>
                      </c:pt>
                      <c:pt idx="2294">
                        <c:v>0.05</c:v>
                      </c:pt>
                      <c:pt idx="2295">
                        <c:v>8.09</c:v>
                      </c:pt>
                      <c:pt idx="2296">
                        <c:v>37.46</c:v>
                      </c:pt>
                      <c:pt idx="2297">
                        <c:v>49.65</c:v>
                      </c:pt>
                      <c:pt idx="2298">
                        <c:v>55.94</c:v>
                      </c:pt>
                      <c:pt idx="2299">
                        <c:v>55.64</c:v>
                      </c:pt>
                      <c:pt idx="2300">
                        <c:v>54.71</c:v>
                      </c:pt>
                      <c:pt idx="2301">
                        <c:v>56.13</c:v>
                      </c:pt>
                      <c:pt idx="2302">
                        <c:v>55.07</c:v>
                      </c:pt>
                      <c:pt idx="2303">
                        <c:v>43.08</c:v>
                      </c:pt>
                      <c:pt idx="2304">
                        <c:v>45.01</c:v>
                      </c:pt>
                      <c:pt idx="2305">
                        <c:v>46.89</c:v>
                      </c:pt>
                      <c:pt idx="2306">
                        <c:v>47.56</c:v>
                      </c:pt>
                      <c:pt idx="2307">
                        <c:v>50.65</c:v>
                      </c:pt>
                      <c:pt idx="2308">
                        <c:v>54.88</c:v>
                      </c:pt>
                      <c:pt idx="2309">
                        <c:v>58.73</c:v>
                      </c:pt>
                      <c:pt idx="2310">
                        <c:v>59.87</c:v>
                      </c:pt>
                      <c:pt idx="2311">
                        <c:v>59.24</c:v>
                      </c:pt>
                      <c:pt idx="2312">
                        <c:v>48.94</c:v>
                      </c:pt>
                      <c:pt idx="2313">
                        <c:v>29.42</c:v>
                      </c:pt>
                      <c:pt idx="2314">
                        <c:v>-0.73</c:v>
                      </c:pt>
                      <c:pt idx="2315">
                        <c:v>-16.399999999999999</c:v>
                      </c:pt>
                      <c:pt idx="2316">
                        <c:v>-59.92</c:v>
                      </c:pt>
                      <c:pt idx="2317">
                        <c:v>-57.59</c:v>
                      </c:pt>
                      <c:pt idx="2318">
                        <c:v>-34.61</c:v>
                      </c:pt>
                      <c:pt idx="2319">
                        <c:v>-4.66</c:v>
                      </c:pt>
                      <c:pt idx="2320">
                        <c:v>15.81</c:v>
                      </c:pt>
                      <c:pt idx="2321">
                        <c:v>67.56</c:v>
                      </c:pt>
                      <c:pt idx="2322">
                        <c:v>73.989999999999995</c:v>
                      </c:pt>
                      <c:pt idx="2323">
                        <c:v>68.650000000000006</c:v>
                      </c:pt>
                      <c:pt idx="2324">
                        <c:v>46.46</c:v>
                      </c:pt>
                      <c:pt idx="2325">
                        <c:v>45.07</c:v>
                      </c:pt>
                      <c:pt idx="2326">
                        <c:v>25.88</c:v>
                      </c:pt>
                      <c:pt idx="2327">
                        <c:v>10.97</c:v>
                      </c:pt>
                      <c:pt idx="2328">
                        <c:v>0.09</c:v>
                      </c:pt>
                      <c:pt idx="2329">
                        <c:v>0</c:v>
                      </c:pt>
                      <c:pt idx="2330">
                        <c:v>0</c:v>
                      </c:pt>
                      <c:pt idx="2331">
                        <c:v>0</c:v>
                      </c:pt>
                      <c:pt idx="2332">
                        <c:v>0</c:v>
                      </c:pt>
                      <c:pt idx="2333">
                        <c:v>0</c:v>
                      </c:pt>
                      <c:pt idx="2334">
                        <c:v>0</c:v>
                      </c:pt>
                      <c:pt idx="2335">
                        <c:v>0</c:v>
                      </c:pt>
                      <c:pt idx="2336">
                        <c:v>-0.01</c:v>
                      </c:pt>
                      <c:pt idx="2337">
                        <c:v>-0.16</c:v>
                      </c:pt>
                      <c:pt idx="2338">
                        <c:v>-3.25</c:v>
                      </c:pt>
                      <c:pt idx="2339">
                        <c:v>-9.94</c:v>
                      </c:pt>
                      <c:pt idx="2340">
                        <c:v>-26.79</c:v>
                      </c:pt>
                      <c:pt idx="2341">
                        <c:v>-20.059999999999999</c:v>
                      </c:pt>
                      <c:pt idx="2342">
                        <c:v>-5.04</c:v>
                      </c:pt>
                      <c:pt idx="2343">
                        <c:v>-0.16</c:v>
                      </c:pt>
                      <c:pt idx="2344">
                        <c:v>6.92</c:v>
                      </c:pt>
                      <c:pt idx="2345">
                        <c:v>91.46</c:v>
                      </c:pt>
                      <c:pt idx="2346">
                        <c:v>108.39</c:v>
                      </c:pt>
                      <c:pt idx="2347">
                        <c:v>106.4</c:v>
                      </c:pt>
                      <c:pt idx="2348">
                        <c:v>89.95</c:v>
                      </c:pt>
                      <c:pt idx="2349">
                        <c:v>77.459999999999994</c:v>
                      </c:pt>
                      <c:pt idx="2350">
                        <c:v>72.06</c:v>
                      </c:pt>
                      <c:pt idx="2351">
                        <c:v>70.77</c:v>
                      </c:pt>
                      <c:pt idx="2352">
                        <c:v>70.709999999999994</c:v>
                      </c:pt>
                      <c:pt idx="2353">
                        <c:v>68.12</c:v>
                      </c:pt>
                      <c:pt idx="2354">
                        <c:v>70.709999999999994</c:v>
                      </c:pt>
                      <c:pt idx="2355">
                        <c:v>71.569999999999993</c:v>
                      </c:pt>
                      <c:pt idx="2356">
                        <c:v>77.44</c:v>
                      </c:pt>
                      <c:pt idx="2357">
                        <c:v>101.99</c:v>
                      </c:pt>
                      <c:pt idx="2358">
                        <c:v>149.78</c:v>
                      </c:pt>
                      <c:pt idx="2359">
                        <c:v>128.52000000000001</c:v>
                      </c:pt>
                      <c:pt idx="2360">
                        <c:v>85.51</c:v>
                      </c:pt>
                      <c:pt idx="2361">
                        <c:v>80.599999999999994</c:v>
                      </c:pt>
                      <c:pt idx="2362">
                        <c:v>71.23</c:v>
                      </c:pt>
                      <c:pt idx="2363">
                        <c:v>64.7</c:v>
                      </c:pt>
                      <c:pt idx="2364">
                        <c:v>60</c:v>
                      </c:pt>
                      <c:pt idx="2365">
                        <c:v>57.89</c:v>
                      </c:pt>
                      <c:pt idx="2366">
                        <c:v>63.4</c:v>
                      </c:pt>
                      <c:pt idx="2367">
                        <c:v>70</c:v>
                      </c:pt>
                      <c:pt idx="2368">
                        <c:v>75.010000000000005</c:v>
                      </c:pt>
                      <c:pt idx="2369">
                        <c:v>104.9</c:v>
                      </c:pt>
                      <c:pt idx="2370">
                        <c:v>137.30000000000001</c:v>
                      </c:pt>
                      <c:pt idx="2371">
                        <c:v>124.8</c:v>
                      </c:pt>
                      <c:pt idx="2372">
                        <c:v>84.85</c:v>
                      </c:pt>
                      <c:pt idx="2373">
                        <c:v>77</c:v>
                      </c:pt>
                      <c:pt idx="2374">
                        <c:v>70.19</c:v>
                      </c:pt>
                      <c:pt idx="2375">
                        <c:v>78.209999999999994</c:v>
                      </c:pt>
                      <c:pt idx="2376">
                        <c:v>69.39</c:v>
                      </c:pt>
                      <c:pt idx="2377">
                        <c:v>64.73</c:v>
                      </c:pt>
                      <c:pt idx="2378">
                        <c:v>59.95</c:v>
                      </c:pt>
                      <c:pt idx="2379">
                        <c:v>62.48</c:v>
                      </c:pt>
                      <c:pt idx="2380">
                        <c:v>68.34</c:v>
                      </c:pt>
                      <c:pt idx="2381">
                        <c:v>86.69</c:v>
                      </c:pt>
                      <c:pt idx="2382">
                        <c:v>90.9</c:v>
                      </c:pt>
                      <c:pt idx="2383">
                        <c:v>79.78</c:v>
                      </c:pt>
                      <c:pt idx="2384">
                        <c:v>68.3</c:v>
                      </c:pt>
                      <c:pt idx="2385">
                        <c:v>51.6</c:v>
                      </c:pt>
                      <c:pt idx="2386">
                        <c:v>43.98</c:v>
                      </c:pt>
                      <c:pt idx="2387">
                        <c:v>36.049999999999997</c:v>
                      </c:pt>
                      <c:pt idx="2388">
                        <c:v>10.09</c:v>
                      </c:pt>
                      <c:pt idx="2389">
                        <c:v>10.5</c:v>
                      </c:pt>
                      <c:pt idx="2390">
                        <c:v>29.04</c:v>
                      </c:pt>
                      <c:pt idx="2391">
                        <c:v>38.270000000000003</c:v>
                      </c:pt>
                      <c:pt idx="2392">
                        <c:v>50.15</c:v>
                      </c:pt>
                      <c:pt idx="2393">
                        <c:v>65.900000000000006</c:v>
                      </c:pt>
                      <c:pt idx="2394">
                        <c:v>81.75</c:v>
                      </c:pt>
                      <c:pt idx="2395">
                        <c:v>81.739999999999995</c:v>
                      </c:pt>
                      <c:pt idx="2396">
                        <c:v>67.98</c:v>
                      </c:pt>
                      <c:pt idx="2397">
                        <c:v>60.51</c:v>
                      </c:pt>
                      <c:pt idx="2398">
                        <c:v>35.49</c:v>
                      </c:pt>
                      <c:pt idx="2399">
                        <c:v>22.89</c:v>
                      </c:pt>
                      <c:pt idx="2400">
                        <c:v>5.95</c:v>
                      </c:pt>
                      <c:pt idx="2401">
                        <c:v>6.19</c:v>
                      </c:pt>
                      <c:pt idx="2402">
                        <c:v>8.99</c:v>
                      </c:pt>
                      <c:pt idx="2403">
                        <c:v>26.3</c:v>
                      </c:pt>
                      <c:pt idx="2404">
                        <c:v>50.03</c:v>
                      </c:pt>
                      <c:pt idx="2405">
                        <c:v>75.91</c:v>
                      </c:pt>
                      <c:pt idx="2406">
                        <c:v>99.63</c:v>
                      </c:pt>
                      <c:pt idx="2407">
                        <c:v>106.02</c:v>
                      </c:pt>
                      <c:pt idx="2408">
                        <c:v>80.459999999999994</c:v>
                      </c:pt>
                      <c:pt idx="2409">
                        <c:v>67.66</c:v>
                      </c:pt>
                      <c:pt idx="2410">
                        <c:v>56.05</c:v>
                      </c:pt>
                      <c:pt idx="2411">
                        <c:v>55.62</c:v>
                      </c:pt>
                      <c:pt idx="2412">
                        <c:v>30.32</c:v>
                      </c:pt>
                      <c:pt idx="2413">
                        <c:v>31.29</c:v>
                      </c:pt>
                      <c:pt idx="2414">
                        <c:v>55.35</c:v>
                      </c:pt>
                      <c:pt idx="2415">
                        <c:v>62.91</c:v>
                      </c:pt>
                      <c:pt idx="2416">
                        <c:v>75.319999999999993</c:v>
                      </c:pt>
                      <c:pt idx="2417">
                        <c:v>100.83</c:v>
                      </c:pt>
                      <c:pt idx="2418">
                        <c:v>191.15</c:v>
                      </c:pt>
                      <c:pt idx="2419">
                        <c:v>191.19</c:v>
                      </c:pt>
                      <c:pt idx="2420">
                        <c:v>115.59</c:v>
                      </c:pt>
                      <c:pt idx="2421">
                        <c:v>86.1</c:v>
                      </c:pt>
                      <c:pt idx="2422">
                        <c:v>76.099999999999994</c:v>
                      </c:pt>
                      <c:pt idx="2423">
                        <c:v>72.58</c:v>
                      </c:pt>
                      <c:pt idx="2424">
                        <c:v>67.36</c:v>
                      </c:pt>
                      <c:pt idx="2425">
                        <c:v>62.24</c:v>
                      </c:pt>
                      <c:pt idx="2426">
                        <c:v>58.81</c:v>
                      </c:pt>
                      <c:pt idx="2427">
                        <c:v>59.08</c:v>
                      </c:pt>
                      <c:pt idx="2428">
                        <c:v>55.57</c:v>
                      </c:pt>
                      <c:pt idx="2429">
                        <c:v>74.63</c:v>
                      </c:pt>
                      <c:pt idx="2430">
                        <c:v>68.8</c:v>
                      </c:pt>
                      <c:pt idx="2431">
                        <c:v>52.2</c:v>
                      </c:pt>
                      <c:pt idx="2432">
                        <c:v>30</c:v>
                      </c:pt>
                      <c:pt idx="2433">
                        <c:v>10.050000000000001</c:v>
                      </c:pt>
                      <c:pt idx="2434">
                        <c:v>0.86</c:v>
                      </c:pt>
                      <c:pt idx="2435">
                        <c:v>0.91</c:v>
                      </c:pt>
                      <c:pt idx="2436">
                        <c:v>1.1000000000000001</c:v>
                      </c:pt>
                      <c:pt idx="2437">
                        <c:v>0.56999999999999995</c:v>
                      </c:pt>
                      <c:pt idx="2438">
                        <c:v>29.57</c:v>
                      </c:pt>
                      <c:pt idx="2439">
                        <c:v>59.74</c:v>
                      </c:pt>
                      <c:pt idx="2440">
                        <c:v>76.739999999999995</c:v>
                      </c:pt>
                      <c:pt idx="2441">
                        <c:v>100.7</c:v>
                      </c:pt>
                      <c:pt idx="2442">
                        <c:v>134.36000000000001</c:v>
                      </c:pt>
                      <c:pt idx="2443">
                        <c:v>137.82</c:v>
                      </c:pt>
                      <c:pt idx="2444">
                        <c:v>98.79</c:v>
                      </c:pt>
                      <c:pt idx="2445">
                        <c:v>82.42</c:v>
                      </c:pt>
                      <c:pt idx="2446">
                        <c:v>76.510000000000005</c:v>
                      </c:pt>
                      <c:pt idx="2447">
                        <c:v>75.709999999999994</c:v>
                      </c:pt>
                      <c:pt idx="2448">
                        <c:v>71.739999999999995</c:v>
                      </c:pt>
                      <c:pt idx="2449">
                        <c:v>68.89</c:v>
                      </c:pt>
                      <c:pt idx="2450">
                        <c:v>69.260000000000005</c:v>
                      </c:pt>
                      <c:pt idx="2451">
                        <c:v>69.52</c:v>
                      </c:pt>
                      <c:pt idx="2452">
                        <c:v>77.53</c:v>
                      </c:pt>
                      <c:pt idx="2453">
                        <c:v>91.23</c:v>
                      </c:pt>
                      <c:pt idx="2454">
                        <c:v>97</c:v>
                      </c:pt>
                      <c:pt idx="2455">
                        <c:v>86.83</c:v>
                      </c:pt>
                      <c:pt idx="2456">
                        <c:v>70.98</c:v>
                      </c:pt>
                      <c:pt idx="2457">
                        <c:v>42.86</c:v>
                      </c:pt>
                      <c:pt idx="2458">
                        <c:v>18.86</c:v>
                      </c:pt>
                      <c:pt idx="2459">
                        <c:v>0</c:v>
                      </c:pt>
                      <c:pt idx="2460">
                        <c:v>-7.0000000000000007E-2</c:v>
                      </c:pt>
                      <c:pt idx="2461">
                        <c:v>0.01</c:v>
                      </c:pt>
                      <c:pt idx="2462">
                        <c:v>0.18</c:v>
                      </c:pt>
                      <c:pt idx="2463">
                        <c:v>0.22</c:v>
                      </c:pt>
                      <c:pt idx="2464">
                        <c:v>57.37</c:v>
                      </c:pt>
                      <c:pt idx="2465">
                        <c:v>81.93</c:v>
                      </c:pt>
                      <c:pt idx="2466">
                        <c:v>125.95</c:v>
                      </c:pt>
                      <c:pt idx="2467">
                        <c:v>124.13</c:v>
                      </c:pt>
                      <c:pt idx="2468">
                        <c:v>86.6</c:v>
                      </c:pt>
                      <c:pt idx="2469">
                        <c:v>77.989999999999995</c:v>
                      </c:pt>
                      <c:pt idx="2470">
                        <c:v>68.099999999999994</c:v>
                      </c:pt>
                      <c:pt idx="2471">
                        <c:v>60.22</c:v>
                      </c:pt>
                      <c:pt idx="2472">
                        <c:v>49.07</c:v>
                      </c:pt>
                      <c:pt idx="2473">
                        <c:v>24.41</c:v>
                      </c:pt>
                      <c:pt idx="2474">
                        <c:v>19.41</c:v>
                      </c:pt>
                      <c:pt idx="2475">
                        <c:v>19.95</c:v>
                      </c:pt>
                      <c:pt idx="2476">
                        <c:v>25.32</c:v>
                      </c:pt>
                      <c:pt idx="2477">
                        <c:v>30.18</c:v>
                      </c:pt>
                      <c:pt idx="2478">
                        <c:v>35.26</c:v>
                      </c:pt>
                      <c:pt idx="2479">
                        <c:v>22.6</c:v>
                      </c:pt>
                      <c:pt idx="2480">
                        <c:v>8.8000000000000007</c:v>
                      </c:pt>
                      <c:pt idx="2481">
                        <c:v>-0.02</c:v>
                      </c:pt>
                      <c:pt idx="2482">
                        <c:v>-9.9700000000000006</c:v>
                      </c:pt>
                      <c:pt idx="2483">
                        <c:v>-25.96</c:v>
                      </c:pt>
                      <c:pt idx="2484">
                        <c:v>-50</c:v>
                      </c:pt>
                      <c:pt idx="2485">
                        <c:v>-55.01</c:v>
                      </c:pt>
                      <c:pt idx="2486">
                        <c:v>-49.91</c:v>
                      </c:pt>
                      <c:pt idx="2487">
                        <c:v>-19.16</c:v>
                      </c:pt>
                      <c:pt idx="2488">
                        <c:v>-0.16</c:v>
                      </c:pt>
                      <c:pt idx="2489">
                        <c:v>39.909999999999997</c:v>
                      </c:pt>
                      <c:pt idx="2490">
                        <c:v>73.44</c:v>
                      </c:pt>
                      <c:pt idx="2491">
                        <c:v>65.78</c:v>
                      </c:pt>
                      <c:pt idx="2492">
                        <c:v>39.35</c:v>
                      </c:pt>
                      <c:pt idx="2493">
                        <c:v>21.11</c:v>
                      </c:pt>
                      <c:pt idx="2494">
                        <c:v>7.05</c:v>
                      </c:pt>
                      <c:pt idx="2495">
                        <c:v>0.43</c:v>
                      </c:pt>
                      <c:pt idx="2496">
                        <c:v>0.83</c:v>
                      </c:pt>
                      <c:pt idx="2497">
                        <c:v>0.93</c:v>
                      </c:pt>
                      <c:pt idx="2498">
                        <c:v>1.1299999999999999</c:v>
                      </c:pt>
                      <c:pt idx="2499">
                        <c:v>2.34</c:v>
                      </c:pt>
                      <c:pt idx="2500">
                        <c:v>5.95</c:v>
                      </c:pt>
                      <c:pt idx="2501">
                        <c:v>12.86</c:v>
                      </c:pt>
                      <c:pt idx="2502">
                        <c:v>13</c:v>
                      </c:pt>
                      <c:pt idx="2503">
                        <c:v>7.41</c:v>
                      </c:pt>
                      <c:pt idx="2504">
                        <c:v>0</c:v>
                      </c:pt>
                      <c:pt idx="2505">
                        <c:v>-2.37</c:v>
                      </c:pt>
                      <c:pt idx="2506">
                        <c:v>-12.17</c:v>
                      </c:pt>
                      <c:pt idx="2507">
                        <c:v>-42.27</c:v>
                      </c:pt>
                      <c:pt idx="2508">
                        <c:v>-60.05</c:v>
                      </c:pt>
                      <c:pt idx="2509">
                        <c:v>-60.07</c:v>
                      </c:pt>
                      <c:pt idx="2510">
                        <c:v>-40.049999999999997</c:v>
                      </c:pt>
                      <c:pt idx="2511">
                        <c:v>-6.25</c:v>
                      </c:pt>
                      <c:pt idx="2512">
                        <c:v>1.57</c:v>
                      </c:pt>
                      <c:pt idx="2513">
                        <c:v>67.23</c:v>
                      </c:pt>
                      <c:pt idx="2514">
                        <c:v>87.8</c:v>
                      </c:pt>
                      <c:pt idx="2515">
                        <c:v>119.91</c:v>
                      </c:pt>
                      <c:pt idx="2516">
                        <c:v>112.61</c:v>
                      </c:pt>
                      <c:pt idx="2517">
                        <c:v>103.95</c:v>
                      </c:pt>
                      <c:pt idx="2518">
                        <c:v>87.24</c:v>
                      </c:pt>
                      <c:pt idx="2519">
                        <c:v>81.96</c:v>
                      </c:pt>
                      <c:pt idx="2520">
                        <c:v>81.260000000000005</c:v>
                      </c:pt>
                      <c:pt idx="2521">
                        <c:v>77.540000000000006</c:v>
                      </c:pt>
                      <c:pt idx="2522">
                        <c:v>78.180000000000007</c:v>
                      </c:pt>
                      <c:pt idx="2523">
                        <c:v>75.23</c:v>
                      </c:pt>
                      <c:pt idx="2524">
                        <c:v>86.74</c:v>
                      </c:pt>
                      <c:pt idx="2525">
                        <c:v>115.73</c:v>
                      </c:pt>
                      <c:pt idx="2526">
                        <c:v>169.15</c:v>
                      </c:pt>
                      <c:pt idx="2527">
                        <c:v>153.24</c:v>
                      </c:pt>
                      <c:pt idx="2528">
                        <c:v>91.56</c:v>
                      </c:pt>
                      <c:pt idx="2529">
                        <c:v>80.55</c:v>
                      </c:pt>
                      <c:pt idx="2530">
                        <c:v>63.15</c:v>
                      </c:pt>
                      <c:pt idx="2531">
                        <c:v>44.15</c:v>
                      </c:pt>
                      <c:pt idx="2532">
                        <c:v>31.74</c:v>
                      </c:pt>
                      <c:pt idx="2533">
                        <c:v>12.96</c:v>
                      </c:pt>
                      <c:pt idx="2534">
                        <c:v>7.8</c:v>
                      </c:pt>
                      <c:pt idx="2535">
                        <c:v>7.99</c:v>
                      </c:pt>
                      <c:pt idx="2536">
                        <c:v>46.3</c:v>
                      </c:pt>
                      <c:pt idx="2537">
                        <c:v>69.2</c:v>
                      </c:pt>
                      <c:pt idx="2538">
                        <c:v>78.92</c:v>
                      </c:pt>
                      <c:pt idx="2539">
                        <c:v>77.02</c:v>
                      </c:pt>
                      <c:pt idx="2540">
                        <c:v>66.31</c:v>
                      </c:pt>
                      <c:pt idx="2541">
                        <c:v>53.77</c:v>
                      </c:pt>
                      <c:pt idx="2542">
                        <c:v>34.17</c:v>
                      </c:pt>
                      <c:pt idx="2543">
                        <c:v>2.02</c:v>
                      </c:pt>
                      <c:pt idx="2544">
                        <c:v>0.04</c:v>
                      </c:pt>
                      <c:pt idx="2545">
                        <c:v>0.14000000000000001</c:v>
                      </c:pt>
                      <c:pt idx="2546">
                        <c:v>0.73</c:v>
                      </c:pt>
                      <c:pt idx="2547">
                        <c:v>17.47</c:v>
                      </c:pt>
                      <c:pt idx="2548">
                        <c:v>36.22</c:v>
                      </c:pt>
                      <c:pt idx="2549">
                        <c:v>63.14</c:v>
                      </c:pt>
                      <c:pt idx="2550">
                        <c:v>74.260000000000005</c:v>
                      </c:pt>
                      <c:pt idx="2551">
                        <c:v>74.260000000000005</c:v>
                      </c:pt>
                      <c:pt idx="2552">
                        <c:v>64.81</c:v>
                      </c:pt>
                      <c:pt idx="2553">
                        <c:v>51.03</c:v>
                      </c:pt>
                      <c:pt idx="2554">
                        <c:v>42.64</c:v>
                      </c:pt>
                      <c:pt idx="2555">
                        <c:v>40</c:v>
                      </c:pt>
                      <c:pt idx="2556">
                        <c:v>40.22</c:v>
                      </c:pt>
                      <c:pt idx="2557">
                        <c:v>42.08</c:v>
                      </c:pt>
                      <c:pt idx="2558">
                        <c:v>48.53</c:v>
                      </c:pt>
                      <c:pt idx="2559">
                        <c:v>62.84</c:v>
                      </c:pt>
                      <c:pt idx="2560">
                        <c:v>79.67</c:v>
                      </c:pt>
                      <c:pt idx="2561">
                        <c:v>92.92</c:v>
                      </c:pt>
                      <c:pt idx="2562">
                        <c:v>113.99</c:v>
                      </c:pt>
                      <c:pt idx="2563">
                        <c:v>124.52</c:v>
                      </c:pt>
                      <c:pt idx="2564">
                        <c:v>104.46</c:v>
                      </c:pt>
                      <c:pt idx="2565">
                        <c:v>90.1</c:v>
                      </c:pt>
                      <c:pt idx="2566">
                        <c:v>84.1</c:v>
                      </c:pt>
                      <c:pt idx="2567">
                        <c:v>83.84</c:v>
                      </c:pt>
                      <c:pt idx="2568">
                        <c:v>83.84</c:v>
                      </c:pt>
                      <c:pt idx="2569">
                        <c:v>81.349999999999994</c:v>
                      </c:pt>
                      <c:pt idx="2570">
                        <c:v>82.4</c:v>
                      </c:pt>
                      <c:pt idx="2571">
                        <c:v>82.96</c:v>
                      </c:pt>
                      <c:pt idx="2572">
                        <c:v>83.73</c:v>
                      </c:pt>
                      <c:pt idx="2573">
                        <c:v>109.39</c:v>
                      </c:pt>
                      <c:pt idx="2574">
                        <c:v>169.97</c:v>
                      </c:pt>
                      <c:pt idx="2575">
                        <c:v>155.16999999999999</c:v>
                      </c:pt>
                      <c:pt idx="2576">
                        <c:v>104.62</c:v>
                      </c:pt>
                      <c:pt idx="2577">
                        <c:v>83.9</c:v>
                      </c:pt>
                      <c:pt idx="2578">
                        <c:v>79.900000000000006</c:v>
                      </c:pt>
                      <c:pt idx="2579">
                        <c:v>82.98</c:v>
                      </c:pt>
                      <c:pt idx="2580">
                        <c:v>80.819999999999993</c:v>
                      </c:pt>
                      <c:pt idx="2581">
                        <c:v>77.709999999999994</c:v>
                      </c:pt>
                      <c:pt idx="2582">
                        <c:v>77.03</c:v>
                      </c:pt>
                      <c:pt idx="2583">
                        <c:v>80</c:v>
                      </c:pt>
                      <c:pt idx="2584">
                        <c:v>86.9</c:v>
                      </c:pt>
                      <c:pt idx="2585">
                        <c:v>114.97</c:v>
                      </c:pt>
                      <c:pt idx="2586">
                        <c:v>159.91999999999999</c:v>
                      </c:pt>
                      <c:pt idx="2587">
                        <c:v>169.9</c:v>
                      </c:pt>
                      <c:pt idx="2588">
                        <c:v>130.06</c:v>
                      </c:pt>
                      <c:pt idx="2589">
                        <c:v>99.04</c:v>
                      </c:pt>
                      <c:pt idx="2590">
                        <c:v>87.81</c:v>
                      </c:pt>
                      <c:pt idx="2591">
                        <c:v>91.83</c:v>
                      </c:pt>
                      <c:pt idx="2592">
                        <c:v>87.42</c:v>
                      </c:pt>
                      <c:pt idx="2593">
                        <c:v>88.53</c:v>
                      </c:pt>
                      <c:pt idx="2594">
                        <c:v>87.76</c:v>
                      </c:pt>
                      <c:pt idx="2595">
                        <c:v>89.61</c:v>
                      </c:pt>
                      <c:pt idx="2596">
                        <c:v>93.47</c:v>
                      </c:pt>
                      <c:pt idx="2597">
                        <c:v>121.88</c:v>
                      </c:pt>
                      <c:pt idx="2598">
                        <c:v>155.80000000000001</c:v>
                      </c:pt>
                      <c:pt idx="2599">
                        <c:v>131.19</c:v>
                      </c:pt>
                      <c:pt idx="2600">
                        <c:v>101.12</c:v>
                      </c:pt>
                      <c:pt idx="2601">
                        <c:v>90.21</c:v>
                      </c:pt>
                      <c:pt idx="2602">
                        <c:v>83.87</c:v>
                      </c:pt>
                      <c:pt idx="2603">
                        <c:v>80.64</c:v>
                      </c:pt>
                      <c:pt idx="2604">
                        <c:v>77.2</c:v>
                      </c:pt>
                      <c:pt idx="2605">
                        <c:v>73.010000000000005</c:v>
                      </c:pt>
                      <c:pt idx="2606">
                        <c:v>70.7</c:v>
                      </c:pt>
                      <c:pt idx="2607">
                        <c:v>70.88</c:v>
                      </c:pt>
                      <c:pt idx="2608">
                        <c:v>81.33</c:v>
                      </c:pt>
                      <c:pt idx="2609">
                        <c:v>94.03</c:v>
                      </c:pt>
                      <c:pt idx="2610">
                        <c:v>125.24</c:v>
                      </c:pt>
                      <c:pt idx="2611">
                        <c:v>128.83000000000001</c:v>
                      </c:pt>
                      <c:pt idx="2612">
                        <c:v>105.92</c:v>
                      </c:pt>
                      <c:pt idx="2613">
                        <c:v>89.89</c:v>
                      </c:pt>
                      <c:pt idx="2614">
                        <c:v>79.37</c:v>
                      </c:pt>
                      <c:pt idx="2615">
                        <c:v>77.209999999999994</c:v>
                      </c:pt>
                      <c:pt idx="2616">
                        <c:v>60.83</c:v>
                      </c:pt>
                      <c:pt idx="2617">
                        <c:v>50.53</c:v>
                      </c:pt>
                      <c:pt idx="2618">
                        <c:v>49.47</c:v>
                      </c:pt>
                      <c:pt idx="2619">
                        <c:v>47.97</c:v>
                      </c:pt>
                      <c:pt idx="2620">
                        <c:v>49.08</c:v>
                      </c:pt>
                      <c:pt idx="2621">
                        <c:v>60.12</c:v>
                      </c:pt>
                      <c:pt idx="2622">
                        <c:v>69.040000000000006</c:v>
                      </c:pt>
                      <c:pt idx="2623">
                        <c:v>76</c:v>
                      </c:pt>
                      <c:pt idx="2624">
                        <c:v>68.3</c:v>
                      </c:pt>
                      <c:pt idx="2625">
                        <c:v>60.2</c:v>
                      </c:pt>
                      <c:pt idx="2626">
                        <c:v>56.08</c:v>
                      </c:pt>
                      <c:pt idx="2627">
                        <c:v>50.91</c:v>
                      </c:pt>
                      <c:pt idx="2628">
                        <c:v>47</c:v>
                      </c:pt>
                      <c:pt idx="2629">
                        <c:v>44.94</c:v>
                      </c:pt>
                      <c:pt idx="2630">
                        <c:v>44.56</c:v>
                      </c:pt>
                      <c:pt idx="2631">
                        <c:v>50.91</c:v>
                      </c:pt>
                      <c:pt idx="2632">
                        <c:v>58.77</c:v>
                      </c:pt>
                      <c:pt idx="2633">
                        <c:v>63.49</c:v>
                      </c:pt>
                      <c:pt idx="2634">
                        <c:v>65.319999999999993</c:v>
                      </c:pt>
                      <c:pt idx="2635">
                        <c:v>66.28</c:v>
                      </c:pt>
                      <c:pt idx="2636">
                        <c:v>66.2</c:v>
                      </c:pt>
                      <c:pt idx="2637">
                        <c:v>65.27</c:v>
                      </c:pt>
                      <c:pt idx="2638">
                        <c:v>63.15</c:v>
                      </c:pt>
                      <c:pt idx="2639">
                        <c:v>60.24</c:v>
                      </c:pt>
                      <c:pt idx="2640">
                        <c:v>57.97</c:v>
                      </c:pt>
                      <c:pt idx="2641">
                        <c:v>57.33</c:v>
                      </c:pt>
                      <c:pt idx="2642">
                        <c:v>57.75</c:v>
                      </c:pt>
                      <c:pt idx="2643">
                        <c:v>61.04</c:v>
                      </c:pt>
                      <c:pt idx="2644">
                        <c:v>62.83</c:v>
                      </c:pt>
                      <c:pt idx="2645">
                        <c:v>63.92</c:v>
                      </c:pt>
                      <c:pt idx="2646">
                        <c:v>67.98</c:v>
                      </c:pt>
                      <c:pt idx="2647">
                        <c:v>65.040000000000006</c:v>
                      </c:pt>
                      <c:pt idx="2648">
                        <c:v>59.9</c:v>
                      </c:pt>
                      <c:pt idx="2649">
                        <c:v>50.05</c:v>
                      </c:pt>
                      <c:pt idx="2650">
                        <c:v>38.43</c:v>
                      </c:pt>
                      <c:pt idx="2651">
                        <c:v>28.97</c:v>
                      </c:pt>
                      <c:pt idx="2652">
                        <c:v>12.33</c:v>
                      </c:pt>
                      <c:pt idx="2653">
                        <c:v>10.55</c:v>
                      </c:pt>
                      <c:pt idx="2654">
                        <c:v>18.329999999999998</c:v>
                      </c:pt>
                      <c:pt idx="2655">
                        <c:v>37.409999999999997</c:v>
                      </c:pt>
                      <c:pt idx="2656">
                        <c:v>62.83</c:v>
                      </c:pt>
                      <c:pt idx="2657">
                        <c:v>78.900000000000006</c:v>
                      </c:pt>
                      <c:pt idx="2658">
                        <c:v>89.61</c:v>
                      </c:pt>
                      <c:pt idx="2659">
                        <c:v>97.04</c:v>
                      </c:pt>
                      <c:pt idx="2660">
                        <c:v>90.31</c:v>
                      </c:pt>
                      <c:pt idx="2661">
                        <c:v>86.07</c:v>
                      </c:pt>
                      <c:pt idx="2662">
                        <c:v>82.9</c:v>
                      </c:pt>
                      <c:pt idx="2663">
                        <c:v>81.849999999999994</c:v>
                      </c:pt>
                      <c:pt idx="2664">
                        <c:v>70.59</c:v>
                      </c:pt>
                      <c:pt idx="2665">
                        <c:v>69.53</c:v>
                      </c:pt>
                      <c:pt idx="2666">
                        <c:v>64.400000000000006</c:v>
                      </c:pt>
                      <c:pt idx="2667">
                        <c:v>63.88</c:v>
                      </c:pt>
                      <c:pt idx="2668">
                        <c:v>63.62</c:v>
                      </c:pt>
                      <c:pt idx="2669">
                        <c:v>64.430000000000007</c:v>
                      </c:pt>
                      <c:pt idx="2670">
                        <c:v>60.53</c:v>
                      </c:pt>
                      <c:pt idx="2671">
                        <c:v>60.88</c:v>
                      </c:pt>
                      <c:pt idx="2672">
                        <c:v>55.38</c:v>
                      </c:pt>
                      <c:pt idx="2673">
                        <c:v>32.99</c:v>
                      </c:pt>
                      <c:pt idx="2674">
                        <c:v>36.96</c:v>
                      </c:pt>
                      <c:pt idx="2675">
                        <c:v>6.06</c:v>
                      </c:pt>
                      <c:pt idx="2676">
                        <c:v>0.28000000000000003</c:v>
                      </c:pt>
                      <c:pt idx="2677">
                        <c:v>-0.9</c:v>
                      </c:pt>
                      <c:pt idx="2678">
                        <c:v>0.75</c:v>
                      </c:pt>
                      <c:pt idx="2679">
                        <c:v>6.01</c:v>
                      </c:pt>
                      <c:pt idx="2680">
                        <c:v>58.22</c:v>
                      </c:pt>
                      <c:pt idx="2681">
                        <c:v>74.599999999999994</c:v>
                      </c:pt>
                      <c:pt idx="2682">
                        <c:v>89.36</c:v>
                      </c:pt>
                      <c:pt idx="2683">
                        <c:v>95.26</c:v>
                      </c:pt>
                      <c:pt idx="2684">
                        <c:v>91.07</c:v>
                      </c:pt>
                      <c:pt idx="2685">
                        <c:v>89.41</c:v>
                      </c:pt>
                      <c:pt idx="2686">
                        <c:v>88.46</c:v>
                      </c:pt>
                      <c:pt idx="2687">
                        <c:v>78.97</c:v>
                      </c:pt>
                      <c:pt idx="2688">
                        <c:v>78.05</c:v>
                      </c:pt>
                      <c:pt idx="2689">
                        <c:v>78.44</c:v>
                      </c:pt>
                      <c:pt idx="2690">
                        <c:v>79.92</c:v>
                      </c:pt>
                      <c:pt idx="2691">
                        <c:v>79.790000000000006</c:v>
                      </c:pt>
                      <c:pt idx="2692">
                        <c:v>87.5</c:v>
                      </c:pt>
                      <c:pt idx="2693">
                        <c:v>105.9</c:v>
                      </c:pt>
                      <c:pt idx="2694">
                        <c:v>130.79</c:v>
                      </c:pt>
                      <c:pt idx="2695">
                        <c:v>117.46</c:v>
                      </c:pt>
                      <c:pt idx="2696">
                        <c:v>97.05</c:v>
                      </c:pt>
                      <c:pt idx="2697">
                        <c:v>81.86</c:v>
                      </c:pt>
                      <c:pt idx="2698">
                        <c:v>81.239999999999995</c:v>
                      </c:pt>
                      <c:pt idx="2699">
                        <c:v>77.05</c:v>
                      </c:pt>
                      <c:pt idx="2700">
                        <c:v>73.67</c:v>
                      </c:pt>
                      <c:pt idx="2701">
                        <c:v>74.17</c:v>
                      </c:pt>
                      <c:pt idx="2702">
                        <c:v>78.48</c:v>
                      </c:pt>
                      <c:pt idx="2703">
                        <c:v>81.569999999999993</c:v>
                      </c:pt>
                      <c:pt idx="2704">
                        <c:v>96.79</c:v>
                      </c:pt>
                      <c:pt idx="2705">
                        <c:v>118.2</c:v>
                      </c:pt>
                      <c:pt idx="2706">
                        <c:v>164.05</c:v>
                      </c:pt>
                      <c:pt idx="2707">
                        <c:v>170.96</c:v>
                      </c:pt>
                      <c:pt idx="2708">
                        <c:v>130.05000000000001</c:v>
                      </c:pt>
                      <c:pt idx="2709">
                        <c:v>105.77</c:v>
                      </c:pt>
                      <c:pt idx="2710">
                        <c:v>96.99</c:v>
                      </c:pt>
                      <c:pt idx="2711">
                        <c:v>88.32</c:v>
                      </c:pt>
                      <c:pt idx="2712">
                        <c:v>86.69</c:v>
                      </c:pt>
                      <c:pt idx="2713">
                        <c:v>85.95</c:v>
                      </c:pt>
                      <c:pt idx="2714">
                        <c:v>85.42</c:v>
                      </c:pt>
                      <c:pt idx="2715">
                        <c:v>86.35</c:v>
                      </c:pt>
                      <c:pt idx="2716">
                        <c:v>97.69</c:v>
                      </c:pt>
                      <c:pt idx="2717">
                        <c:v>121.4</c:v>
                      </c:pt>
                      <c:pt idx="2718">
                        <c:v>181.26</c:v>
                      </c:pt>
                      <c:pt idx="2719">
                        <c:v>136.28</c:v>
                      </c:pt>
                      <c:pt idx="2720">
                        <c:v>98.38</c:v>
                      </c:pt>
                      <c:pt idx="2721">
                        <c:v>82.87</c:v>
                      </c:pt>
                      <c:pt idx="2722">
                        <c:v>77.260000000000005</c:v>
                      </c:pt>
                      <c:pt idx="2723">
                        <c:v>77.459999999999994</c:v>
                      </c:pt>
                      <c:pt idx="2724">
                        <c:v>79.38</c:v>
                      </c:pt>
                      <c:pt idx="2725">
                        <c:v>78.62</c:v>
                      </c:pt>
                      <c:pt idx="2726">
                        <c:v>80.02</c:v>
                      </c:pt>
                      <c:pt idx="2727">
                        <c:v>83.02</c:v>
                      </c:pt>
                      <c:pt idx="2728">
                        <c:v>89.97</c:v>
                      </c:pt>
                      <c:pt idx="2729">
                        <c:v>102.4</c:v>
                      </c:pt>
                      <c:pt idx="2730">
                        <c:v>123.01</c:v>
                      </c:pt>
                      <c:pt idx="2731">
                        <c:v>125.07</c:v>
                      </c:pt>
                      <c:pt idx="2732">
                        <c:v>105.1</c:v>
                      </c:pt>
                      <c:pt idx="2733">
                        <c:v>92.73</c:v>
                      </c:pt>
                      <c:pt idx="2734">
                        <c:v>81.55</c:v>
                      </c:pt>
                      <c:pt idx="2735">
                        <c:v>81.8</c:v>
                      </c:pt>
                      <c:pt idx="2736">
                        <c:v>77.97</c:v>
                      </c:pt>
                      <c:pt idx="2737">
                        <c:v>77.16</c:v>
                      </c:pt>
                      <c:pt idx="2738">
                        <c:v>74.86</c:v>
                      </c:pt>
                      <c:pt idx="2739">
                        <c:v>77.37</c:v>
                      </c:pt>
                      <c:pt idx="2740">
                        <c:v>81.83</c:v>
                      </c:pt>
                      <c:pt idx="2741">
                        <c:v>101.66</c:v>
                      </c:pt>
                      <c:pt idx="2742">
                        <c:v>128.16999999999999</c:v>
                      </c:pt>
                      <c:pt idx="2743">
                        <c:v>107.07</c:v>
                      </c:pt>
                      <c:pt idx="2744">
                        <c:v>91.81</c:v>
                      </c:pt>
                      <c:pt idx="2745">
                        <c:v>90.74</c:v>
                      </c:pt>
                      <c:pt idx="2746">
                        <c:v>88.35</c:v>
                      </c:pt>
                      <c:pt idx="2747">
                        <c:v>82.6</c:v>
                      </c:pt>
                      <c:pt idx="2748">
                        <c:v>80.09</c:v>
                      </c:pt>
                      <c:pt idx="2749">
                        <c:v>76.53</c:v>
                      </c:pt>
                      <c:pt idx="2750">
                        <c:v>80.709999999999994</c:v>
                      </c:pt>
                      <c:pt idx="2751">
                        <c:v>81.12</c:v>
                      </c:pt>
                      <c:pt idx="2752">
                        <c:v>86.6</c:v>
                      </c:pt>
                      <c:pt idx="2753">
                        <c:v>101.54</c:v>
                      </c:pt>
                      <c:pt idx="2754">
                        <c:v>135.19999999999999</c:v>
                      </c:pt>
                      <c:pt idx="2755">
                        <c:v>143.44</c:v>
                      </c:pt>
                      <c:pt idx="2756">
                        <c:v>121.16</c:v>
                      </c:pt>
                      <c:pt idx="2757">
                        <c:v>105.31</c:v>
                      </c:pt>
                      <c:pt idx="2758">
                        <c:v>90.21</c:v>
                      </c:pt>
                      <c:pt idx="2759">
                        <c:v>83.5</c:v>
                      </c:pt>
                      <c:pt idx="2760">
                        <c:v>80</c:v>
                      </c:pt>
                      <c:pt idx="2761">
                        <c:v>77.37</c:v>
                      </c:pt>
                      <c:pt idx="2762">
                        <c:v>76.05</c:v>
                      </c:pt>
                      <c:pt idx="2763">
                        <c:v>75.239999999999995</c:v>
                      </c:pt>
                      <c:pt idx="2764">
                        <c:v>84.02</c:v>
                      </c:pt>
                      <c:pt idx="2765">
                        <c:v>102.44</c:v>
                      </c:pt>
                      <c:pt idx="2766">
                        <c:v>129.05000000000001</c:v>
                      </c:pt>
                      <c:pt idx="2767">
                        <c:v>112.71</c:v>
                      </c:pt>
                      <c:pt idx="2768">
                        <c:v>92.1</c:v>
                      </c:pt>
                      <c:pt idx="2769">
                        <c:v>80.010000000000005</c:v>
                      </c:pt>
                      <c:pt idx="2770">
                        <c:v>78.2</c:v>
                      </c:pt>
                      <c:pt idx="2771">
                        <c:v>73.92</c:v>
                      </c:pt>
                      <c:pt idx="2772">
                        <c:v>68.67</c:v>
                      </c:pt>
                      <c:pt idx="2773">
                        <c:v>66.41</c:v>
                      </c:pt>
                      <c:pt idx="2774">
                        <c:v>69.319999999999993</c:v>
                      </c:pt>
                      <c:pt idx="2775">
                        <c:v>72.81</c:v>
                      </c:pt>
                      <c:pt idx="2776">
                        <c:v>79.88</c:v>
                      </c:pt>
                      <c:pt idx="2777">
                        <c:v>95.17</c:v>
                      </c:pt>
                      <c:pt idx="2778">
                        <c:v>141.09</c:v>
                      </c:pt>
                      <c:pt idx="2779">
                        <c:v>152.29</c:v>
                      </c:pt>
                      <c:pt idx="2780">
                        <c:v>113.71</c:v>
                      </c:pt>
                      <c:pt idx="2781">
                        <c:v>91.35</c:v>
                      </c:pt>
                      <c:pt idx="2782">
                        <c:v>79.739999999999995</c:v>
                      </c:pt>
                      <c:pt idx="2783">
                        <c:v>79.87</c:v>
                      </c:pt>
                      <c:pt idx="2784">
                        <c:v>74</c:v>
                      </c:pt>
                      <c:pt idx="2785">
                        <c:v>74.7</c:v>
                      </c:pt>
                      <c:pt idx="2786">
                        <c:v>74.069999999999993</c:v>
                      </c:pt>
                      <c:pt idx="2787">
                        <c:v>77.099999999999994</c:v>
                      </c:pt>
                      <c:pt idx="2788">
                        <c:v>83.69</c:v>
                      </c:pt>
                      <c:pt idx="2789">
                        <c:v>93.5</c:v>
                      </c:pt>
                      <c:pt idx="2790">
                        <c:v>104.06</c:v>
                      </c:pt>
                      <c:pt idx="2791">
                        <c:v>96.06</c:v>
                      </c:pt>
                      <c:pt idx="2792">
                        <c:v>81.08</c:v>
                      </c:pt>
                      <c:pt idx="2793">
                        <c:v>77.81</c:v>
                      </c:pt>
                      <c:pt idx="2794">
                        <c:v>72.95</c:v>
                      </c:pt>
                      <c:pt idx="2795">
                        <c:v>70.349999999999994</c:v>
                      </c:pt>
                      <c:pt idx="2796">
                        <c:v>68.739999999999995</c:v>
                      </c:pt>
                      <c:pt idx="2797">
                        <c:v>65.37</c:v>
                      </c:pt>
                      <c:pt idx="2798">
                        <c:v>69.92</c:v>
                      </c:pt>
                      <c:pt idx="2799">
                        <c:v>71.7</c:v>
                      </c:pt>
                      <c:pt idx="2800">
                        <c:v>80.459999999999994</c:v>
                      </c:pt>
                      <c:pt idx="2801">
                        <c:v>94.78</c:v>
                      </c:pt>
                      <c:pt idx="2802">
                        <c:v>131.9</c:v>
                      </c:pt>
                      <c:pt idx="2803">
                        <c:v>141.58000000000001</c:v>
                      </c:pt>
                      <c:pt idx="2804">
                        <c:v>110</c:v>
                      </c:pt>
                      <c:pt idx="2805">
                        <c:v>92.71</c:v>
                      </c:pt>
                      <c:pt idx="2806">
                        <c:v>88.26</c:v>
                      </c:pt>
                      <c:pt idx="2807">
                        <c:v>90.29</c:v>
                      </c:pt>
                      <c:pt idx="2808">
                        <c:v>88.9</c:v>
                      </c:pt>
                      <c:pt idx="2809">
                        <c:v>86.59</c:v>
                      </c:pt>
                      <c:pt idx="2810">
                        <c:v>89.03</c:v>
                      </c:pt>
                      <c:pt idx="2811">
                        <c:v>87.69</c:v>
                      </c:pt>
                      <c:pt idx="2812">
                        <c:v>85.68</c:v>
                      </c:pt>
                      <c:pt idx="2813">
                        <c:v>86.08</c:v>
                      </c:pt>
                      <c:pt idx="2814">
                        <c:v>79.040000000000006</c:v>
                      </c:pt>
                      <c:pt idx="2815">
                        <c:v>68.650000000000006</c:v>
                      </c:pt>
                      <c:pt idx="2816">
                        <c:v>59.07</c:v>
                      </c:pt>
                      <c:pt idx="2817">
                        <c:v>36.020000000000003</c:v>
                      </c:pt>
                      <c:pt idx="2818">
                        <c:v>8.43</c:v>
                      </c:pt>
                      <c:pt idx="2819">
                        <c:v>0.03</c:v>
                      </c:pt>
                      <c:pt idx="2820">
                        <c:v>-0.06</c:v>
                      </c:pt>
                      <c:pt idx="2821">
                        <c:v>0</c:v>
                      </c:pt>
                      <c:pt idx="2822">
                        <c:v>0</c:v>
                      </c:pt>
                      <c:pt idx="2823">
                        <c:v>19.95</c:v>
                      </c:pt>
                      <c:pt idx="2824">
                        <c:v>62.18</c:v>
                      </c:pt>
                      <c:pt idx="2825">
                        <c:v>86.18</c:v>
                      </c:pt>
                      <c:pt idx="2826">
                        <c:v>119.9</c:v>
                      </c:pt>
                      <c:pt idx="2827">
                        <c:v>112.27</c:v>
                      </c:pt>
                      <c:pt idx="2828">
                        <c:v>85</c:v>
                      </c:pt>
                      <c:pt idx="2829">
                        <c:v>75.900000000000006</c:v>
                      </c:pt>
                      <c:pt idx="2830">
                        <c:v>65.23</c:v>
                      </c:pt>
                      <c:pt idx="2831">
                        <c:v>56.39</c:v>
                      </c:pt>
                      <c:pt idx="2832">
                        <c:v>46.14</c:v>
                      </c:pt>
                      <c:pt idx="2833">
                        <c:v>39.6</c:v>
                      </c:pt>
                      <c:pt idx="2834">
                        <c:v>31.55</c:v>
                      </c:pt>
                      <c:pt idx="2835">
                        <c:v>27.6</c:v>
                      </c:pt>
                      <c:pt idx="2836">
                        <c:v>26.05</c:v>
                      </c:pt>
                      <c:pt idx="2837">
                        <c:v>9.92</c:v>
                      </c:pt>
                      <c:pt idx="2838">
                        <c:v>0.1</c:v>
                      </c:pt>
                      <c:pt idx="2839">
                        <c:v>-7.0000000000000007E-2</c:v>
                      </c:pt>
                      <c:pt idx="2840">
                        <c:v>-1.02</c:v>
                      </c:pt>
                      <c:pt idx="2841">
                        <c:v>-16.63</c:v>
                      </c:pt>
                      <c:pt idx="2842">
                        <c:v>-36.72</c:v>
                      </c:pt>
                      <c:pt idx="2843">
                        <c:v>-60.05</c:v>
                      </c:pt>
                      <c:pt idx="2844">
                        <c:v>-60.09</c:v>
                      </c:pt>
                      <c:pt idx="2845">
                        <c:v>-65.06</c:v>
                      </c:pt>
                      <c:pt idx="2846">
                        <c:v>-52.43</c:v>
                      </c:pt>
                      <c:pt idx="2847">
                        <c:v>-23.45</c:v>
                      </c:pt>
                      <c:pt idx="2848">
                        <c:v>-0.02</c:v>
                      </c:pt>
                      <c:pt idx="2849">
                        <c:v>25.38</c:v>
                      </c:pt>
                      <c:pt idx="2850">
                        <c:v>69.36</c:v>
                      </c:pt>
                      <c:pt idx="2851">
                        <c:v>77.45</c:v>
                      </c:pt>
                      <c:pt idx="2852">
                        <c:v>78.56</c:v>
                      </c:pt>
                      <c:pt idx="2853">
                        <c:v>72.209999999999994</c:v>
                      </c:pt>
                      <c:pt idx="2854">
                        <c:v>66.94</c:v>
                      </c:pt>
                      <c:pt idx="2855">
                        <c:v>63.15</c:v>
                      </c:pt>
                      <c:pt idx="2856">
                        <c:v>60.05</c:v>
                      </c:pt>
                      <c:pt idx="2857">
                        <c:v>58.93</c:v>
                      </c:pt>
                      <c:pt idx="2858">
                        <c:v>62.46</c:v>
                      </c:pt>
                      <c:pt idx="2859">
                        <c:v>76.819999999999993</c:v>
                      </c:pt>
                      <c:pt idx="2860">
                        <c:v>85.18</c:v>
                      </c:pt>
                      <c:pt idx="2861">
                        <c:v>102.38</c:v>
                      </c:pt>
                      <c:pt idx="2862">
                        <c:v>117.95</c:v>
                      </c:pt>
                      <c:pt idx="2863">
                        <c:v>100.69</c:v>
                      </c:pt>
                      <c:pt idx="2864">
                        <c:v>75.17</c:v>
                      </c:pt>
                      <c:pt idx="2865">
                        <c:v>59.21</c:v>
                      </c:pt>
                      <c:pt idx="2866">
                        <c:v>36.46</c:v>
                      </c:pt>
                      <c:pt idx="2867">
                        <c:v>36.18</c:v>
                      </c:pt>
                      <c:pt idx="2868">
                        <c:v>35.590000000000003</c:v>
                      </c:pt>
                      <c:pt idx="2869">
                        <c:v>33.630000000000003</c:v>
                      </c:pt>
                      <c:pt idx="2870">
                        <c:v>35.57</c:v>
                      </c:pt>
                      <c:pt idx="2871">
                        <c:v>47.68</c:v>
                      </c:pt>
                      <c:pt idx="2872">
                        <c:v>85.75</c:v>
                      </c:pt>
                      <c:pt idx="2873">
                        <c:v>104.73</c:v>
                      </c:pt>
                      <c:pt idx="2874">
                        <c:v>180.04</c:v>
                      </c:pt>
                      <c:pt idx="2875">
                        <c:v>204.57</c:v>
                      </c:pt>
                      <c:pt idx="2876">
                        <c:v>108.55</c:v>
                      </c:pt>
                      <c:pt idx="2877">
                        <c:v>87.29</c:v>
                      </c:pt>
                      <c:pt idx="2878">
                        <c:v>81.150000000000006</c:v>
                      </c:pt>
                      <c:pt idx="2879">
                        <c:v>73.760000000000005</c:v>
                      </c:pt>
                      <c:pt idx="2880">
                        <c:v>66.77</c:v>
                      </c:pt>
                      <c:pt idx="2881">
                        <c:v>70.41</c:v>
                      </c:pt>
                      <c:pt idx="2882">
                        <c:v>70</c:v>
                      </c:pt>
                      <c:pt idx="2883">
                        <c:v>70</c:v>
                      </c:pt>
                      <c:pt idx="2884">
                        <c:v>78.77</c:v>
                      </c:pt>
                      <c:pt idx="2885">
                        <c:v>94.95</c:v>
                      </c:pt>
                      <c:pt idx="2886">
                        <c:v>101.95</c:v>
                      </c:pt>
                      <c:pt idx="2887">
                        <c:v>88.46</c:v>
                      </c:pt>
                      <c:pt idx="2888">
                        <c:v>77</c:v>
                      </c:pt>
                      <c:pt idx="2889">
                        <c:v>62.06</c:v>
                      </c:pt>
                      <c:pt idx="2890">
                        <c:v>47.1</c:v>
                      </c:pt>
                      <c:pt idx="2891">
                        <c:v>28.05</c:v>
                      </c:pt>
                      <c:pt idx="2892">
                        <c:v>11.3</c:v>
                      </c:pt>
                      <c:pt idx="2893">
                        <c:v>10</c:v>
                      </c:pt>
                      <c:pt idx="2894">
                        <c:v>19.14</c:v>
                      </c:pt>
                      <c:pt idx="2895">
                        <c:v>45.84</c:v>
                      </c:pt>
                      <c:pt idx="2896">
                        <c:v>66.95</c:v>
                      </c:pt>
                      <c:pt idx="2897">
                        <c:v>86.2</c:v>
                      </c:pt>
                      <c:pt idx="2898">
                        <c:v>122.01</c:v>
                      </c:pt>
                      <c:pt idx="2899">
                        <c:v>132.41</c:v>
                      </c:pt>
                      <c:pt idx="2900">
                        <c:v>88.37</c:v>
                      </c:pt>
                      <c:pt idx="2901">
                        <c:v>77.97</c:v>
                      </c:pt>
                      <c:pt idx="2902">
                        <c:v>75.69</c:v>
                      </c:pt>
                      <c:pt idx="2903">
                        <c:v>66.81</c:v>
                      </c:pt>
                      <c:pt idx="2904">
                        <c:v>55.09</c:v>
                      </c:pt>
                      <c:pt idx="2905">
                        <c:v>50.31</c:v>
                      </c:pt>
                      <c:pt idx="2906">
                        <c:v>43.99</c:v>
                      </c:pt>
                      <c:pt idx="2907">
                        <c:v>47.81</c:v>
                      </c:pt>
                      <c:pt idx="2908">
                        <c:v>44.69</c:v>
                      </c:pt>
                      <c:pt idx="2909">
                        <c:v>42.48</c:v>
                      </c:pt>
                      <c:pt idx="2910">
                        <c:v>28.08</c:v>
                      </c:pt>
                      <c:pt idx="2911">
                        <c:v>8.4499999999999993</c:v>
                      </c:pt>
                      <c:pt idx="2912">
                        <c:v>0.01</c:v>
                      </c:pt>
                      <c:pt idx="2913">
                        <c:v>-0.97</c:v>
                      </c:pt>
                      <c:pt idx="2914">
                        <c:v>-40.049999999999997</c:v>
                      </c:pt>
                      <c:pt idx="2915">
                        <c:v>-91.9</c:v>
                      </c:pt>
                      <c:pt idx="2916">
                        <c:v>-120</c:v>
                      </c:pt>
                      <c:pt idx="2917">
                        <c:v>-120.07</c:v>
                      </c:pt>
                      <c:pt idx="2918">
                        <c:v>-79.98</c:v>
                      </c:pt>
                      <c:pt idx="2919">
                        <c:v>-30.01</c:v>
                      </c:pt>
                      <c:pt idx="2920">
                        <c:v>-1.1399999999999999</c:v>
                      </c:pt>
                      <c:pt idx="2921">
                        <c:v>15.32</c:v>
                      </c:pt>
                      <c:pt idx="2922">
                        <c:v>50.4</c:v>
                      </c:pt>
                      <c:pt idx="2923">
                        <c:v>50</c:v>
                      </c:pt>
                      <c:pt idx="2924">
                        <c:v>34.01</c:v>
                      </c:pt>
                      <c:pt idx="2925">
                        <c:v>29.92</c:v>
                      </c:pt>
                      <c:pt idx="2926">
                        <c:v>22</c:v>
                      </c:pt>
                      <c:pt idx="2927">
                        <c:v>14.56</c:v>
                      </c:pt>
                      <c:pt idx="2928">
                        <c:v>10.94</c:v>
                      </c:pt>
                      <c:pt idx="2929">
                        <c:v>10</c:v>
                      </c:pt>
                      <c:pt idx="2930">
                        <c:v>7.8</c:v>
                      </c:pt>
                      <c:pt idx="2931">
                        <c:v>10.63</c:v>
                      </c:pt>
                      <c:pt idx="2932">
                        <c:v>32.06</c:v>
                      </c:pt>
                      <c:pt idx="2933">
                        <c:v>72.72</c:v>
                      </c:pt>
                      <c:pt idx="2934">
                        <c:v>78.28</c:v>
                      </c:pt>
                      <c:pt idx="2935">
                        <c:v>62.9</c:v>
                      </c:pt>
                      <c:pt idx="2936">
                        <c:v>31.45</c:v>
                      </c:pt>
                      <c:pt idx="2937">
                        <c:v>5.0999999999999996</c:v>
                      </c:pt>
                      <c:pt idx="2938">
                        <c:v>-0.08</c:v>
                      </c:pt>
                      <c:pt idx="2939">
                        <c:v>-1.73</c:v>
                      </c:pt>
                      <c:pt idx="2940">
                        <c:v>-4.1900000000000004</c:v>
                      </c:pt>
                      <c:pt idx="2941">
                        <c:v>-0.05</c:v>
                      </c:pt>
                      <c:pt idx="2942">
                        <c:v>-1.39</c:v>
                      </c:pt>
                      <c:pt idx="2943">
                        <c:v>4.04</c:v>
                      </c:pt>
                      <c:pt idx="2944">
                        <c:v>55.16</c:v>
                      </c:pt>
                      <c:pt idx="2945">
                        <c:v>81.22</c:v>
                      </c:pt>
                      <c:pt idx="2946">
                        <c:v>87.96</c:v>
                      </c:pt>
                      <c:pt idx="2947">
                        <c:v>85.14</c:v>
                      </c:pt>
                      <c:pt idx="2948">
                        <c:v>82.31</c:v>
                      </c:pt>
                      <c:pt idx="2949">
                        <c:v>78.209999999999994</c:v>
                      </c:pt>
                      <c:pt idx="2950">
                        <c:v>71.02</c:v>
                      </c:pt>
                      <c:pt idx="2951">
                        <c:v>61.9</c:v>
                      </c:pt>
                      <c:pt idx="2952">
                        <c:v>59.14</c:v>
                      </c:pt>
                      <c:pt idx="2953">
                        <c:v>57.95</c:v>
                      </c:pt>
                      <c:pt idx="2954">
                        <c:v>58.5</c:v>
                      </c:pt>
                      <c:pt idx="2955">
                        <c:v>59.14</c:v>
                      </c:pt>
                      <c:pt idx="2956">
                        <c:v>69.17</c:v>
                      </c:pt>
                      <c:pt idx="2957">
                        <c:v>83.76</c:v>
                      </c:pt>
                      <c:pt idx="2958">
                        <c:v>85.47</c:v>
                      </c:pt>
                      <c:pt idx="2959">
                        <c:v>92.31</c:v>
                      </c:pt>
                      <c:pt idx="2960">
                        <c:v>88.25</c:v>
                      </c:pt>
                      <c:pt idx="2961">
                        <c:v>77.95</c:v>
                      </c:pt>
                      <c:pt idx="2962">
                        <c:v>72.58</c:v>
                      </c:pt>
                      <c:pt idx="2963">
                        <c:v>64.11</c:v>
                      </c:pt>
                      <c:pt idx="2964">
                        <c:v>59.33</c:v>
                      </c:pt>
                      <c:pt idx="2965">
                        <c:v>60.05</c:v>
                      </c:pt>
                      <c:pt idx="2966">
                        <c:v>64.69</c:v>
                      </c:pt>
                      <c:pt idx="2967">
                        <c:v>72.290000000000006</c:v>
                      </c:pt>
                      <c:pt idx="2968">
                        <c:v>79.55</c:v>
                      </c:pt>
                      <c:pt idx="2969">
                        <c:v>88.89</c:v>
                      </c:pt>
                      <c:pt idx="2970">
                        <c:v>105.49</c:v>
                      </c:pt>
                      <c:pt idx="2971">
                        <c:v>119.94</c:v>
                      </c:pt>
                      <c:pt idx="2972">
                        <c:v>107.95</c:v>
                      </c:pt>
                      <c:pt idx="2973">
                        <c:v>93.46</c:v>
                      </c:pt>
                      <c:pt idx="2974">
                        <c:v>85.56</c:v>
                      </c:pt>
                      <c:pt idx="2975">
                        <c:v>90.8</c:v>
                      </c:pt>
                      <c:pt idx="2976">
                        <c:v>87.79</c:v>
                      </c:pt>
                      <c:pt idx="2977">
                        <c:v>86.26</c:v>
                      </c:pt>
                      <c:pt idx="2978">
                        <c:v>87.72</c:v>
                      </c:pt>
                      <c:pt idx="2979">
                        <c:v>90.64</c:v>
                      </c:pt>
                      <c:pt idx="2980">
                        <c:v>98.34</c:v>
                      </c:pt>
                      <c:pt idx="2981">
                        <c:v>94.19</c:v>
                      </c:pt>
                      <c:pt idx="2982">
                        <c:v>90.02</c:v>
                      </c:pt>
                      <c:pt idx="2983">
                        <c:v>78.48</c:v>
                      </c:pt>
                      <c:pt idx="2984">
                        <c:v>62.38</c:v>
                      </c:pt>
                      <c:pt idx="2985">
                        <c:v>41.17</c:v>
                      </c:pt>
                      <c:pt idx="2986">
                        <c:v>31.18</c:v>
                      </c:pt>
                      <c:pt idx="2987">
                        <c:v>24.93</c:v>
                      </c:pt>
                      <c:pt idx="2988">
                        <c:v>14.53</c:v>
                      </c:pt>
                      <c:pt idx="2989">
                        <c:v>13.34</c:v>
                      </c:pt>
                      <c:pt idx="2990">
                        <c:v>26.03</c:v>
                      </c:pt>
                      <c:pt idx="2991">
                        <c:v>63.62</c:v>
                      </c:pt>
                      <c:pt idx="2992">
                        <c:v>79.36</c:v>
                      </c:pt>
                      <c:pt idx="2993">
                        <c:v>98.01</c:v>
                      </c:pt>
                      <c:pt idx="2994">
                        <c:v>121.92</c:v>
                      </c:pt>
                      <c:pt idx="2995">
                        <c:v>135.4</c:v>
                      </c:pt>
                      <c:pt idx="2996">
                        <c:v>113.56</c:v>
                      </c:pt>
                      <c:pt idx="2997">
                        <c:v>90.26</c:v>
                      </c:pt>
                      <c:pt idx="2998">
                        <c:v>83.6</c:v>
                      </c:pt>
                      <c:pt idx="2999">
                        <c:v>90.58</c:v>
                      </c:pt>
                      <c:pt idx="3000">
                        <c:v>84.82</c:v>
                      </c:pt>
                      <c:pt idx="3001">
                        <c:v>83.52</c:v>
                      </c:pt>
                      <c:pt idx="3002">
                        <c:v>80.489999999999995</c:v>
                      </c:pt>
                      <c:pt idx="3003">
                        <c:v>74.739999999999995</c:v>
                      </c:pt>
                      <c:pt idx="3004">
                        <c:v>71.13</c:v>
                      </c:pt>
                      <c:pt idx="3005">
                        <c:v>62.16</c:v>
                      </c:pt>
                      <c:pt idx="3006">
                        <c:v>55.08</c:v>
                      </c:pt>
                      <c:pt idx="3007">
                        <c:v>41.33</c:v>
                      </c:pt>
                      <c:pt idx="3008">
                        <c:v>26.12</c:v>
                      </c:pt>
                      <c:pt idx="3009">
                        <c:v>8.85</c:v>
                      </c:pt>
                      <c:pt idx="3010">
                        <c:v>0.44</c:v>
                      </c:pt>
                      <c:pt idx="3011">
                        <c:v>0</c:v>
                      </c:pt>
                      <c:pt idx="3012">
                        <c:v>-0.04</c:v>
                      </c:pt>
                      <c:pt idx="3013">
                        <c:v>-0.97</c:v>
                      </c:pt>
                      <c:pt idx="3014">
                        <c:v>-0.1</c:v>
                      </c:pt>
                      <c:pt idx="3015">
                        <c:v>0</c:v>
                      </c:pt>
                      <c:pt idx="3016">
                        <c:v>32</c:v>
                      </c:pt>
                      <c:pt idx="3017">
                        <c:v>86.5</c:v>
                      </c:pt>
                      <c:pt idx="3018">
                        <c:v>96.24</c:v>
                      </c:pt>
                      <c:pt idx="3019">
                        <c:v>111.92</c:v>
                      </c:pt>
                      <c:pt idx="3020">
                        <c:v>107.53</c:v>
                      </c:pt>
                      <c:pt idx="3021">
                        <c:v>98.74</c:v>
                      </c:pt>
                      <c:pt idx="3022">
                        <c:v>88.67</c:v>
                      </c:pt>
                      <c:pt idx="3023">
                        <c:v>82.86</c:v>
                      </c:pt>
                      <c:pt idx="3024">
                        <c:v>79.59</c:v>
                      </c:pt>
                      <c:pt idx="3025">
                        <c:v>80.41</c:v>
                      </c:pt>
                      <c:pt idx="3026">
                        <c:v>79.95</c:v>
                      </c:pt>
                      <c:pt idx="3027">
                        <c:v>81.69</c:v>
                      </c:pt>
                      <c:pt idx="3028">
                        <c:v>88.78</c:v>
                      </c:pt>
                      <c:pt idx="3029">
                        <c:v>107.09</c:v>
                      </c:pt>
                      <c:pt idx="3030">
                        <c:v>130.26</c:v>
                      </c:pt>
                      <c:pt idx="3031">
                        <c:v>101.35</c:v>
                      </c:pt>
                      <c:pt idx="3032">
                        <c:v>89</c:v>
                      </c:pt>
                      <c:pt idx="3033">
                        <c:v>81.11</c:v>
                      </c:pt>
                      <c:pt idx="3034">
                        <c:v>76.23</c:v>
                      </c:pt>
                      <c:pt idx="3035">
                        <c:v>76.260000000000005</c:v>
                      </c:pt>
                      <c:pt idx="3036">
                        <c:v>74.709999999999994</c:v>
                      </c:pt>
                      <c:pt idx="3037">
                        <c:v>74.89</c:v>
                      </c:pt>
                      <c:pt idx="3038">
                        <c:v>81.11</c:v>
                      </c:pt>
                      <c:pt idx="3039">
                        <c:v>81.62</c:v>
                      </c:pt>
                      <c:pt idx="3040">
                        <c:v>93.36</c:v>
                      </c:pt>
                      <c:pt idx="3041">
                        <c:v>108.37</c:v>
                      </c:pt>
                      <c:pt idx="3042">
                        <c:v>136.65</c:v>
                      </c:pt>
                      <c:pt idx="3043">
                        <c:v>143.99</c:v>
                      </c:pt>
                      <c:pt idx="3044">
                        <c:v>107.98</c:v>
                      </c:pt>
                      <c:pt idx="3045">
                        <c:v>94.58</c:v>
                      </c:pt>
                      <c:pt idx="3046">
                        <c:v>84.42</c:v>
                      </c:pt>
                      <c:pt idx="3047">
                        <c:v>81.73</c:v>
                      </c:pt>
                      <c:pt idx="3048">
                        <c:v>79.17</c:v>
                      </c:pt>
                      <c:pt idx="3049">
                        <c:v>77.23</c:v>
                      </c:pt>
                      <c:pt idx="3050">
                        <c:v>79.989999999999995</c:v>
                      </c:pt>
                      <c:pt idx="3051">
                        <c:v>80.08</c:v>
                      </c:pt>
                      <c:pt idx="3052">
                        <c:v>82.06</c:v>
                      </c:pt>
                      <c:pt idx="3053">
                        <c:v>98.84</c:v>
                      </c:pt>
                      <c:pt idx="3054">
                        <c:v>121.7</c:v>
                      </c:pt>
                      <c:pt idx="3055">
                        <c:v>112.66</c:v>
                      </c:pt>
                      <c:pt idx="3056">
                        <c:v>91.75</c:v>
                      </c:pt>
                      <c:pt idx="3057">
                        <c:v>85.21</c:v>
                      </c:pt>
                      <c:pt idx="3058">
                        <c:v>81.08</c:v>
                      </c:pt>
                      <c:pt idx="3059">
                        <c:v>74.73</c:v>
                      </c:pt>
                      <c:pt idx="3060">
                        <c:v>70.430000000000007</c:v>
                      </c:pt>
                      <c:pt idx="3061">
                        <c:v>65.53</c:v>
                      </c:pt>
                      <c:pt idx="3062">
                        <c:v>74.05</c:v>
                      </c:pt>
                      <c:pt idx="3063">
                        <c:v>83.12</c:v>
                      </c:pt>
                      <c:pt idx="3064">
                        <c:v>90.82</c:v>
                      </c:pt>
                      <c:pt idx="3065">
                        <c:v>105.86</c:v>
                      </c:pt>
                      <c:pt idx="3066">
                        <c:v>133.85</c:v>
                      </c:pt>
                      <c:pt idx="3067">
                        <c:v>151.05000000000001</c:v>
                      </c:pt>
                      <c:pt idx="3068">
                        <c:v>122.04</c:v>
                      </c:pt>
                      <c:pt idx="3069">
                        <c:v>101.7</c:v>
                      </c:pt>
                      <c:pt idx="3070">
                        <c:v>88.22</c:v>
                      </c:pt>
                      <c:pt idx="3071">
                        <c:v>83.97</c:v>
                      </c:pt>
                      <c:pt idx="3072">
                        <c:v>80.84</c:v>
                      </c:pt>
                      <c:pt idx="3073">
                        <c:v>80.88</c:v>
                      </c:pt>
                      <c:pt idx="3074">
                        <c:v>82.47</c:v>
                      </c:pt>
                      <c:pt idx="3075">
                        <c:v>82.48</c:v>
                      </c:pt>
                      <c:pt idx="3076">
                        <c:v>89.59</c:v>
                      </c:pt>
                      <c:pt idx="3077">
                        <c:v>107.48</c:v>
                      </c:pt>
                      <c:pt idx="3078">
                        <c:v>118.96</c:v>
                      </c:pt>
                      <c:pt idx="3079">
                        <c:v>110.12</c:v>
                      </c:pt>
                      <c:pt idx="3080">
                        <c:v>92.41</c:v>
                      </c:pt>
                      <c:pt idx="3081">
                        <c:v>85.4</c:v>
                      </c:pt>
                      <c:pt idx="3082">
                        <c:v>79.48</c:v>
                      </c:pt>
                      <c:pt idx="3083">
                        <c:v>72.930000000000007</c:v>
                      </c:pt>
                      <c:pt idx="3084">
                        <c:v>68.790000000000006</c:v>
                      </c:pt>
                      <c:pt idx="3085">
                        <c:v>66.58</c:v>
                      </c:pt>
                      <c:pt idx="3086">
                        <c:v>66.95</c:v>
                      </c:pt>
                      <c:pt idx="3087">
                        <c:v>75.72</c:v>
                      </c:pt>
                      <c:pt idx="3088">
                        <c:v>91.1</c:v>
                      </c:pt>
                      <c:pt idx="3089">
                        <c:v>106.5</c:v>
                      </c:pt>
                      <c:pt idx="3090">
                        <c:v>127.54</c:v>
                      </c:pt>
                      <c:pt idx="3091">
                        <c:v>134.41999999999999</c:v>
                      </c:pt>
                      <c:pt idx="3092">
                        <c:v>114.65</c:v>
                      </c:pt>
                      <c:pt idx="3093">
                        <c:v>96.54</c:v>
                      </c:pt>
                      <c:pt idx="3094">
                        <c:v>87.96</c:v>
                      </c:pt>
                      <c:pt idx="3095">
                        <c:v>87.6</c:v>
                      </c:pt>
                      <c:pt idx="3096">
                        <c:v>88.06</c:v>
                      </c:pt>
                      <c:pt idx="3097">
                        <c:v>82.97</c:v>
                      </c:pt>
                      <c:pt idx="3098">
                        <c:v>82.95</c:v>
                      </c:pt>
                      <c:pt idx="3099">
                        <c:v>88.83</c:v>
                      </c:pt>
                      <c:pt idx="3100">
                        <c:v>90.39</c:v>
                      </c:pt>
                      <c:pt idx="3101">
                        <c:v>88.13</c:v>
                      </c:pt>
                      <c:pt idx="3102">
                        <c:v>80.650000000000006</c:v>
                      </c:pt>
                      <c:pt idx="3103">
                        <c:v>65.53</c:v>
                      </c:pt>
                      <c:pt idx="3104">
                        <c:v>23.34</c:v>
                      </c:pt>
                      <c:pt idx="3105">
                        <c:v>5.07</c:v>
                      </c:pt>
                      <c:pt idx="3106">
                        <c:v>-0.52</c:v>
                      </c:pt>
                      <c:pt idx="3107">
                        <c:v>-0.88</c:v>
                      </c:pt>
                      <c:pt idx="3108">
                        <c:v>-1.35</c:v>
                      </c:pt>
                      <c:pt idx="3109">
                        <c:v>-2.0299999999999998</c:v>
                      </c:pt>
                      <c:pt idx="3110">
                        <c:v>-0.93</c:v>
                      </c:pt>
                      <c:pt idx="3111">
                        <c:v>0.68</c:v>
                      </c:pt>
                      <c:pt idx="3112">
                        <c:v>64.48</c:v>
                      </c:pt>
                      <c:pt idx="3113">
                        <c:v>89.72</c:v>
                      </c:pt>
                      <c:pt idx="3114">
                        <c:v>107.85</c:v>
                      </c:pt>
                      <c:pt idx="3115">
                        <c:v>132.79</c:v>
                      </c:pt>
                      <c:pt idx="3116">
                        <c:v>123.67</c:v>
                      </c:pt>
                      <c:pt idx="3117">
                        <c:v>99.94</c:v>
                      </c:pt>
                      <c:pt idx="3118">
                        <c:v>87.75</c:v>
                      </c:pt>
                      <c:pt idx="3119">
                        <c:v>92.13</c:v>
                      </c:pt>
                      <c:pt idx="3120">
                        <c:v>84.93</c:v>
                      </c:pt>
                      <c:pt idx="3121">
                        <c:v>77.069999999999993</c:v>
                      </c:pt>
                      <c:pt idx="3122">
                        <c:v>74.48</c:v>
                      </c:pt>
                      <c:pt idx="3123">
                        <c:v>74.78</c:v>
                      </c:pt>
                      <c:pt idx="3124">
                        <c:v>90.45</c:v>
                      </c:pt>
                      <c:pt idx="3125">
                        <c:v>115.2</c:v>
                      </c:pt>
                      <c:pt idx="3126">
                        <c:v>109.47</c:v>
                      </c:pt>
                      <c:pt idx="3127">
                        <c:v>95.6</c:v>
                      </c:pt>
                      <c:pt idx="3128">
                        <c:v>67.39</c:v>
                      </c:pt>
                      <c:pt idx="3129">
                        <c:v>20.84</c:v>
                      </c:pt>
                      <c:pt idx="3130">
                        <c:v>2.87</c:v>
                      </c:pt>
                      <c:pt idx="3131">
                        <c:v>0.52</c:v>
                      </c:pt>
                      <c:pt idx="3132">
                        <c:v>0.02</c:v>
                      </c:pt>
                      <c:pt idx="3133">
                        <c:v>0.02</c:v>
                      </c:pt>
                      <c:pt idx="3134">
                        <c:v>20.420000000000002</c:v>
                      </c:pt>
                      <c:pt idx="3135">
                        <c:v>65.459999999999994</c:v>
                      </c:pt>
                      <c:pt idx="3136">
                        <c:v>85.88</c:v>
                      </c:pt>
                      <c:pt idx="3137">
                        <c:v>105.91</c:v>
                      </c:pt>
                      <c:pt idx="3138">
                        <c:v>136.26</c:v>
                      </c:pt>
                      <c:pt idx="3139">
                        <c:v>170.72</c:v>
                      </c:pt>
                      <c:pt idx="3140">
                        <c:v>136.31</c:v>
                      </c:pt>
                      <c:pt idx="3141">
                        <c:v>104.87</c:v>
                      </c:pt>
                      <c:pt idx="3142">
                        <c:v>92.16</c:v>
                      </c:pt>
                      <c:pt idx="3143">
                        <c:v>96.76</c:v>
                      </c:pt>
                      <c:pt idx="3144">
                        <c:v>94.18</c:v>
                      </c:pt>
                      <c:pt idx="3145">
                        <c:v>90.03</c:v>
                      </c:pt>
                      <c:pt idx="3146">
                        <c:v>89.09</c:v>
                      </c:pt>
                      <c:pt idx="3147">
                        <c:v>89.91</c:v>
                      </c:pt>
                      <c:pt idx="3148">
                        <c:v>90.7</c:v>
                      </c:pt>
                      <c:pt idx="3149">
                        <c:v>86.72</c:v>
                      </c:pt>
                      <c:pt idx="3150">
                        <c:v>79.84</c:v>
                      </c:pt>
                      <c:pt idx="3151">
                        <c:v>56.47</c:v>
                      </c:pt>
                      <c:pt idx="3152">
                        <c:v>6.8</c:v>
                      </c:pt>
                      <c:pt idx="3153">
                        <c:v>0</c:v>
                      </c:pt>
                      <c:pt idx="3154">
                        <c:v>-10.47</c:v>
                      </c:pt>
                      <c:pt idx="3155">
                        <c:v>-21.21</c:v>
                      </c:pt>
                      <c:pt idx="3156">
                        <c:v>-21.99</c:v>
                      </c:pt>
                      <c:pt idx="3157">
                        <c:v>-24.23</c:v>
                      </c:pt>
                      <c:pt idx="3158">
                        <c:v>-11.46</c:v>
                      </c:pt>
                      <c:pt idx="3159">
                        <c:v>-0.41</c:v>
                      </c:pt>
                      <c:pt idx="3160">
                        <c:v>32.770000000000003</c:v>
                      </c:pt>
                      <c:pt idx="3161">
                        <c:v>81.83</c:v>
                      </c:pt>
                      <c:pt idx="3162">
                        <c:v>101.68</c:v>
                      </c:pt>
                      <c:pt idx="3163">
                        <c:v>122.5</c:v>
                      </c:pt>
                      <c:pt idx="3164">
                        <c:v>103.48</c:v>
                      </c:pt>
                      <c:pt idx="3165">
                        <c:v>86.26</c:v>
                      </c:pt>
                      <c:pt idx="3166">
                        <c:v>68.37</c:v>
                      </c:pt>
                      <c:pt idx="3167">
                        <c:v>65.489999999999995</c:v>
                      </c:pt>
                      <c:pt idx="3168">
                        <c:v>54.5</c:v>
                      </c:pt>
                      <c:pt idx="3169">
                        <c:v>44.52</c:v>
                      </c:pt>
                      <c:pt idx="3170">
                        <c:v>41.22</c:v>
                      </c:pt>
                      <c:pt idx="3171">
                        <c:v>46.33</c:v>
                      </c:pt>
                      <c:pt idx="3172">
                        <c:v>43.5</c:v>
                      </c:pt>
                      <c:pt idx="3173">
                        <c:v>17.61</c:v>
                      </c:pt>
                      <c:pt idx="3174">
                        <c:v>4.79</c:v>
                      </c:pt>
                      <c:pt idx="3175">
                        <c:v>2.35</c:v>
                      </c:pt>
                      <c:pt idx="3176">
                        <c:v>-2.8</c:v>
                      </c:pt>
                      <c:pt idx="3177">
                        <c:v>-25</c:v>
                      </c:pt>
                      <c:pt idx="3178">
                        <c:v>-69.64</c:v>
                      </c:pt>
                      <c:pt idx="3179">
                        <c:v>-100.06</c:v>
                      </c:pt>
                      <c:pt idx="3180">
                        <c:v>-135.44999999999999</c:v>
                      </c:pt>
                      <c:pt idx="3181">
                        <c:v>-132.85</c:v>
                      </c:pt>
                      <c:pt idx="3182">
                        <c:v>-85.08</c:v>
                      </c:pt>
                      <c:pt idx="3183">
                        <c:v>-30</c:v>
                      </c:pt>
                      <c:pt idx="3184">
                        <c:v>-1.33</c:v>
                      </c:pt>
                      <c:pt idx="3185">
                        <c:v>22.5</c:v>
                      </c:pt>
                      <c:pt idx="3186">
                        <c:v>67.94</c:v>
                      </c:pt>
                      <c:pt idx="3187">
                        <c:v>75.739999999999995</c:v>
                      </c:pt>
                      <c:pt idx="3188">
                        <c:v>58.26</c:v>
                      </c:pt>
                      <c:pt idx="3189">
                        <c:v>44.6</c:v>
                      </c:pt>
                      <c:pt idx="3190">
                        <c:v>35.61</c:v>
                      </c:pt>
                      <c:pt idx="3191">
                        <c:v>26.84</c:v>
                      </c:pt>
                      <c:pt idx="3192">
                        <c:v>25.88</c:v>
                      </c:pt>
                      <c:pt idx="3193">
                        <c:v>25.71</c:v>
                      </c:pt>
                      <c:pt idx="3194">
                        <c:v>24.7</c:v>
                      </c:pt>
                      <c:pt idx="3195">
                        <c:v>27</c:v>
                      </c:pt>
                      <c:pt idx="3196">
                        <c:v>39.68</c:v>
                      </c:pt>
                      <c:pt idx="3197">
                        <c:v>79.97</c:v>
                      </c:pt>
                      <c:pt idx="3198">
                        <c:v>106.6</c:v>
                      </c:pt>
                      <c:pt idx="3199">
                        <c:v>78.47</c:v>
                      </c:pt>
                      <c:pt idx="3200">
                        <c:v>43.51</c:v>
                      </c:pt>
                      <c:pt idx="3201">
                        <c:v>10.38</c:v>
                      </c:pt>
                      <c:pt idx="3202">
                        <c:v>-0.97</c:v>
                      </c:pt>
                      <c:pt idx="3203">
                        <c:v>-2.69</c:v>
                      </c:pt>
                      <c:pt idx="3204">
                        <c:v>-2.27</c:v>
                      </c:pt>
                      <c:pt idx="3205">
                        <c:v>-2.46</c:v>
                      </c:pt>
                      <c:pt idx="3206">
                        <c:v>-0.73</c:v>
                      </c:pt>
                      <c:pt idx="3207">
                        <c:v>7.0000000000000007E-2</c:v>
                      </c:pt>
                      <c:pt idx="3208">
                        <c:v>55.01</c:v>
                      </c:pt>
                      <c:pt idx="3209">
                        <c:v>83.12</c:v>
                      </c:pt>
                      <c:pt idx="3210">
                        <c:v>146.18</c:v>
                      </c:pt>
                      <c:pt idx="3211">
                        <c:v>139</c:v>
                      </c:pt>
                      <c:pt idx="3212">
                        <c:v>88.7</c:v>
                      </c:pt>
                      <c:pt idx="3213">
                        <c:v>69.55</c:v>
                      </c:pt>
                      <c:pt idx="3214">
                        <c:v>52.7</c:v>
                      </c:pt>
                      <c:pt idx="3215">
                        <c:v>48.58</c:v>
                      </c:pt>
                      <c:pt idx="3216">
                        <c:v>43.43</c:v>
                      </c:pt>
                      <c:pt idx="3217">
                        <c:v>35.35</c:v>
                      </c:pt>
                      <c:pt idx="3218">
                        <c:v>34.08</c:v>
                      </c:pt>
                      <c:pt idx="3219">
                        <c:v>28.89</c:v>
                      </c:pt>
                      <c:pt idx="3220">
                        <c:v>52.35</c:v>
                      </c:pt>
                      <c:pt idx="3221">
                        <c:v>71.88</c:v>
                      </c:pt>
                      <c:pt idx="3222">
                        <c:v>77.33</c:v>
                      </c:pt>
                      <c:pt idx="3223">
                        <c:v>51.5</c:v>
                      </c:pt>
                      <c:pt idx="3224">
                        <c:v>5.64</c:v>
                      </c:pt>
                      <c:pt idx="3225">
                        <c:v>-2.33</c:v>
                      </c:pt>
                      <c:pt idx="3226">
                        <c:v>-11.12</c:v>
                      </c:pt>
                      <c:pt idx="3227">
                        <c:v>-36.33</c:v>
                      </c:pt>
                      <c:pt idx="3228">
                        <c:v>-42.95</c:v>
                      </c:pt>
                      <c:pt idx="3229">
                        <c:v>-39.659999999999997</c:v>
                      </c:pt>
                      <c:pt idx="3230">
                        <c:v>-19.86</c:v>
                      </c:pt>
                      <c:pt idx="3231">
                        <c:v>-2.93</c:v>
                      </c:pt>
                      <c:pt idx="3232">
                        <c:v>-0.04</c:v>
                      </c:pt>
                      <c:pt idx="3233">
                        <c:v>43.74</c:v>
                      </c:pt>
                      <c:pt idx="3234">
                        <c:v>83.9</c:v>
                      </c:pt>
                      <c:pt idx="3235">
                        <c:v>93.47</c:v>
                      </c:pt>
                      <c:pt idx="3236">
                        <c:v>76.41</c:v>
                      </c:pt>
                      <c:pt idx="3237">
                        <c:v>45.35</c:v>
                      </c:pt>
                      <c:pt idx="3238">
                        <c:v>27.71</c:v>
                      </c:pt>
                      <c:pt idx="3239">
                        <c:v>30.56</c:v>
                      </c:pt>
                      <c:pt idx="3240">
                        <c:v>32.340000000000003</c:v>
                      </c:pt>
                      <c:pt idx="3241">
                        <c:v>39.380000000000003</c:v>
                      </c:pt>
                      <c:pt idx="3242">
                        <c:v>41.8</c:v>
                      </c:pt>
                      <c:pt idx="3243">
                        <c:v>37.96</c:v>
                      </c:pt>
                      <c:pt idx="3244">
                        <c:v>52.87</c:v>
                      </c:pt>
                      <c:pt idx="3245">
                        <c:v>85.01</c:v>
                      </c:pt>
                      <c:pt idx="3246">
                        <c:v>88.16</c:v>
                      </c:pt>
                      <c:pt idx="3247">
                        <c:v>84.45</c:v>
                      </c:pt>
                      <c:pt idx="3248">
                        <c:v>48.42</c:v>
                      </c:pt>
                      <c:pt idx="3249">
                        <c:v>7.36</c:v>
                      </c:pt>
                      <c:pt idx="3250">
                        <c:v>-0.08</c:v>
                      </c:pt>
                      <c:pt idx="3251">
                        <c:v>-9.9499999999999993</c:v>
                      </c:pt>
                      <c:pt idx="3252">
                        <c:v>-11.18</c:v>
                      </c:pt>
                      <c:pt idx="3253">
                        <c:v>-9.91</c:v>
                      </c:pt>
                      <c:pt idx="3254">
                        <c:v>-0.09</c:v>
                      </c:pt>
                      <c:pt idx="3255">
                        <c:v>1.73</c:v>
                      </c:pt>
                      <c:pt idx="3256">
                        <c:v>30.33</c:v>
                      </c:pt>
                      <c:pt idx="3257">
                        <c:v>73.66</c:v>
                      </c:pt>
                      <c:pt idx="3258">
                        <c:v>101.24</c:v>
                      </c:pt>
                      <c:pt idx="3259">
                        <c:v>110.2</c:v>
                      </c:pt>
                      <c:pt idx="3260">
                        <c:v>83.8</c:v>
                      </c:pt>
                      <c:pt idx="3261">
                        <c:v>63.64</c:v>
                      </c:pt>
                      <c:pt idx="3262">
                        <c:v>48.67</c:v>
                      </c:pt>
                      <c:pt idx="3263">
                        <c:v>51.14</c:v>
                      </c:pt>
                      <c:pt idx="3264">
                        <c:v>47.76</c:v>
                      </c:pt>
                      <c:pt idx="3265">
                        <c:v>39.619999999999997</c:v>
                      </c:pt>
                      <c:pt idx="3266">
                        <c:v>49.49</c:v>
                      </c:pt>
                      <c:pt idx="3267">
                        <c:v>44.44</c:v>
                      </c:pt>
                      <c:pt idx="3268">
                        <c:v>57.5</c:v>
                      </c:pt>
                      <c:pt idx="3269">
                        <c:v>81.349999999999994</c:v>
                      </c:pt>
                      <c:pt idx="3270">
                        <c:v>95.81</c:v>
                      </c:pt>
                      <c:pt idx="3271">
                        <c:v>82.98</c:v>
                      </c:pt>
                      <c:pt idx="3272">
                        <c:v>53.1</c:v>
                      </c:pt>
                      <c:pt idx="3273">
                        <c:v>11.5</c:v>
                      </c:pt>
                      <c:pt idx="3274">
                        <c:v>0.08</c:v>
                      </c:pt>
                      <c:pt idx="3275">
                        <c:v>-0.02</c:v>
                      </c:pt>
                      <c:pt idx="3276">
                        <c:v>-0.71</c:v>
                      </c:pt>
                      <c:pt idx="3277">
                        <c:v>-0.16</c:v>
                      </c:pt>
                      <c:pt idx="3278">
                        <c:v>0.01</c:v>
                      </c:pt>
                      <c:pt idx="3279">
                        <c:v>10</c:v>
                      </c:pt>
                      <c:pt idx="3280">
                        <c:v>44.95</c:v>
                      </c:pt>
                      <c:pt idx="3281">
                        <c:v>74.959999999999994</c:v>
                      </c:pt>
                      <c:pt idx="3282">
                        <c:v>96.06</c:v>
                      </c:pt>
                      <c:pt idx="3283">
                        <c:v>109.91</c:v>
                      </c:pt>
                      <c:pt idx="3284">
                        <c:v>87.89</c:v>
                      </c:pt>
                      <c:pt idx="3285">
                        <c:v>82.57</c:v>
                      </c:pt>
                      <c:pt idx="3286">
                        <c:v>69.180000000000007</c:v>
                      </c:pt>
                      <c:pt idx="3287">
                        <c:v>69.52</c:v>
                      </c:pt>
                      <c:pt idx="3288">
                        <c:v>63.2</c:v>
                      </c:pt>
                      <c:pt idx="3289">
                        <c:v>63.22</c:v>
                      </c:pt>
                      <c:pt idx="3290">
                        <c:v>62.48</c:v>
                      </c:pt>
                      <c:pt idx="3291">
                        <c:v>64.39</c:v>
                      </c:pt>
                      <c:pt idx="3292">
                        <c:v>63.24</c:v>
                      </c:pt>
                      <c:pt idx="3293">
                        <c:v>83.73</c:v>
                      </c:pt>
                      <c:pt idx="3294">
                        <c:v>99.94</c:v>
                      </c:pt>
                      <c:pt idx="3295">
                        <c:v>94.71</c:v>
                      </c:pt>
                      <c:pt idx="3296">
                        <c:v>73.900000000000006</c:v>
                      </c:pt>
                      <c:pt idx="3297">
                        <c:v>64.459999999999994</c:v>
                      </c:pt>
                      <c:pt idx="3298">
                        <c:v>57.41</c:v>
                      </c:pt>
                      <c:pt idx="3299">
                        <c:v>38.11</c:v>
                      </c:pt>
                      <c:pt idx="3300">
                        <c:v>28.24</c:v>
                      </c:pt>
                      <c:pt idx="3301">
                        <c:v>31.6</c:v>
                      </c:pt>
                      <c:pt idx="3302">
                        <c:v>37.5</c:v>
                      </c:pt>
                      <c:pt idx="3303">
                        <c:v>52.09</c:v>
                      </c:pt>
                      <c:pt idx="3304">
                        <c:v>70.540000000000006</c:v>
                      </c:pt>
                      <c:pt idx="3305">
                        <c:v>69.88</c:v>
                      </c:pt>
                      <c:pt idx="3306">
                        <c:v>94.95</c:v>
                      </c:pt>
                      <c:pt idx="3307">
                        <c:v>107.94</c:v>
                      </c:pt>
                      <c:pt idx="3308">
                        <c:v>95.22</c:v>
                      </c:pt>
                      <c:pt idx="3309">
                        <c:v>89.39</c:v>
                      </c:pt>
                      <c:pt idx="3310">
                        <c:v>80.650000000000006</c:v>
                      </c:pt>
                      <c:pt idx="3311">
                        <c:v>67.55</c:v>
                      </c:pt>
                      <c:pt idx="3312">
                        <c:v>63.61</c:v>
                      </c:pt>
                      <c:pt idx="3313">
                        <c:v>63.82</c:v>
                      </c:pt>
                      <c:pt idx="3314">
                        <c:v>65.180000000000007</c:v>
                      </c:pt>
                      <c:pt idx="3315">
                        <c:v>69.010000000000005</c:v>
                      </c:pt>
                      <c:pt idx="3316">
                        <c:v>72.510000000000005</c:v>
                      </c:pt>
                      <c:pt idx="3317">
                        <c:v>71.86</c:v>
                      </c:pt>
                      <c:pt idx="3318">
                        <c:v>70.39</c:v>
                      </c:pt>
                      <c:pt idx="3319">
                        <c:v>63.86</c:v>
                      </c:pt>
                      <c:pt idx="3320">
                        <c:v>47.36</c:v>
                      </c:pt>
                      <c:pt idx="3321">
                        <c:v>9.43</c:v>
                      </c:pt>
                      <c:pt idx="3322">
                        <c:v>0.71</c:v>
                      </c:pt>
                      <c:pt idx="3323">
                        <c:v>-0.02</c:v>
                      </c:pt>
                      <c:pt idx="3324">
                        <c:v>-1.3</c:v>
                      </c:pt>
                      <c:pt idx="3325">
                        <c:v>-2.79</c:v>
                      </c:pt>
                      <c:pt idx="3326">
                        <c:v>-1.92</c:v>
                      </c:pt>
                      <c:pt idx="3327">
                        <c:v>-0.04</c:v>
                      </c:pt>
                      <c:pt idx="3328">
                        <c:v>50.66</c:v>
                      </c:pt>
                      <c:pt idx="3329">
                        <c:v>81.91</c:v>
                      </c:pt>
                      <c:pt idx="3330">
                        <c:v>109.94</c:v>
                      </c:pt>
                      <c:pt idx="3331">
                        <c:v>131.66</c:v>
                      </c:pt>
                      <c:pt idx="3332">
                        <c:v>122.78</c:v>
                      </c:pt>
                      <c:pt idx="3333">
                        <c:v>96.52</c:v>
                      </c:pt>
                      <c:pt idx="3334">
                        <c:v>86.6</c:v>
                      </c:pt>
                      <c:pt idx="3335">
                        <c:v>90.69</c:v>
                      </c:pt>
                      <c:pt idx="3336">
                        <c:v>89.06</c:v>
                      </c:pt>
                      <c:pt idx="3337">
                        <c:v>88.66</c:v>
                      </c:pt>
                      <c:pt idx="3338">
                        <c:v>86.91</c:v>
                      </c:pt>
                      <c:pt idx="3339">
                        <c:v>86.13</c:v>
                      </c:pt>
                      <c:pt idx="3340">
                        <c:v>80.56</c:v>
                      </c:pt>
                      <c:pt idx="3341">
                        <c:v>75.569999999999993</c:v>
                      </c:pt>
                      <c:pt idx="3342">
                        <c:v>70.239999999999995</c:v>
                      </c:pt>
                      <c:pt idx="3343">
                        <c:v>46.96</c:v>
                      </c:pt>
                      <c:pt idx="3344">
                        <c:v>5.6</c:v>
                      </c:pt>
                      <c:pt idx="3345">
                        <c:v>-0.03</c:v>
                      </c:pt>
                      <c:pt idx="3346">
                        <c:v>-0.18</c:v>
                      </c:pt>
                      <c:pt idx="3347">
                        <c:v>-2.06</c:v>
                      </c:pt>
                      <c:pt idx="3348">
                        <c:v>-7.41</c:v>
                      </c:pt>
                      <c:pt idx="3349">
                        <c:v>-15.13</c:v>
                      </c:pt>
                      <c:pt idx="3350">
                        <c:v>-10</c:v>
                      </c:pt>
                      <c:pt idx="3351">
                        <c:v>-3.79</c:v>
                      </c:pt>
                      <c:pt idx="3352">
                        <c:v>-0.06</c:v>
                      </c:pt>
                      <c:pt idx="3353">
                        <c:v>64.17</c:v>
                      </c:pt>
                      <c:pt idx="3354">
                        <c:v>89.59</c:v>
                      </c:pt>
                      <c:pt idx="3355">
                        <c:v>113.66</c:v>
                      </c:pt>
                      <c:pt idx="3356">
                        <c:v>122.86</c:v>
                      </c:pt>
                      <c:pt idx="3357">
                        <c:v>101.93</c:v>
                      </c:pt>
                      <c:pt idx="3358">
                        <c:v>86.14</c:v>
                      </c:pt>
                      <c:pt idx="3359">
                        <c:v>91.09</c:v>
                      </c:pt>
                      <c:pt idx="3360">
                        <c:v>82.64</c:v>
                      </c:pt>
                      <c:pt idx="3361">
                        <c:v>86.73</c:v>
                      </c:pt>
                      <c:pt idx="3362">
                        <c:v>86.09</c:v>
                      </c:pt>
                      <c:pt idx="3363">
                        <c:v>88.21</c:v>
                      </c:pt>
                      <c:pt idx="3364">
                        <c:v>91.46</c:v>
                      </c:pt>
                      <c:pt idx="3365">
                        <c:v>104.72</c:v>
                      </c:pt>
                      <c:pt idx="3366">
                        <c:v>105.69</c:v>
                      </c:pt>
                      <c:pt idx="3367">
                        <c:v>72.239999999999995</c:v>
                      </c:pt>
                      <c:pt idx="3368">
                        <c:v>32.799999999999997</c:v>
                      </c:pt>
                      <c:pt idx="3369">
                        <c:v>12.41</c:v>
                      </c:pt>
                      <c:pt idx="3370">
                        <c:v>6.06</c:v>
                      </c:pt>
                      <c:pt idx="3371">
                        <c:v>2.41</c:v>
                      </c:pt>
                      <c:pt idx="3372">
                        <c:v>0</c:v>
                      </c:pt>
                      <c:pt idx="3373">
                        <c:v>-0.33</c:v>
                      </c:pt>
                      <c:pt idx="3374">
                        <c:v>-7.0000000000000007E-2</c:v>
                      </c:pt>
                      <c:pt idx="3375">
                        <c:v>0.89</c:v>
                      </c:pt>
                      <c:pt idx="3376">
                        <c:v>64.17</c:v>
                      </c:pt>
                      <c:pt idx="3377">
                        <c:v>85.94</c:v>
                      </c:pt>
                      <c:pt idx="3378">
                        <c:v>113.63</c:v>
                      </c:pt>
                      <c:pt idx="3379">
                        <c:v>135.9</c:v>
                      </c:pt>
                      <c:pt idx="3380">
                        <c:v>120.33</c:v>
                      </c:pt>
                      <c:pt idx="3381">
                        <c:v>96.63</c:v>
                      </c:pt>
                      <c:pt idx="3382">
                        <c:v>79.86</c:v>
                      </c:pt>
                      <c:pt idx="3383">
                        <c:v>81.459999999999994</c:v>
                      </c:pt>
                      <c:pt idx="3384">
                        <c:v>76.400000000000006</c:v>
                      </c:pt>
                      <c:pt idx="3385">
                        <c:v>76.209999999999994</c:v>
                      </c:pt>
                      <c:pt idx="3386">
                        <c:v>77.92</c:v>
                      </c:pt>
                      <c:pt idx="3387">
                        <c:v>74.930000000000007</c:v>
                      </c:pt>
                      <c:pt idx="3388">
                        <c:v>79.58</c:v>
                      </c:pt>
                      <c:pt idx="3389">
                        <c:v>112.26</c:v>
                      </c:pt>
                      <c:pt idx="3390">
                        <c:v>122.98</c:v>
                      </c:pt>
                      <c:pt idx="3391">
                        <c:v>97.35</c:v>
                      </c:pt>
                      <c:pt idx="3392">
                        <c:v>81.86</c:v>
                      </c:pt>
                      <c:pt idx="3393">
                        <c:v>66.98</c:v>
                      </c:pt>
                      <c:pt idx="3394">
                        <c:v>54.42</c:v>
                      </c:pt>
                      <c:pt idx="3395">
                        <c:v>28.47</c:v>
                      </c:pt>
                      <c:pt idx="3396">
                        <c:v>31.34</c:v>
                      </c:pt>
                      <c:pt idx="3397">
                        <c:v>54.09</c:v>
                      </c:pt>
                      <c:pt idx="3398">
                        <c:v>69.650000000000006</c:v>
                      </c:pt>
                      <c:pt idx="3399">
                        <c:v>79.61</c:v>
                      </c:pt>
                      <c:pt idx="3400">
                        <c:v>87.98</c:v>
                      </c:pt>
                      <c:pt idx="3401">
                        <c:v>103.44</c:v>
                      </c:pt>
                      <c:pt idx="3402">
                        <c:v>126.98</c:v>
                      </c:pt>
                      <c:pt idx="3403">
                        <c:v>99.07</c:v>
                      </c:pt>
                      <c:pt idx="3404">
                        <c:v>83.58</c:v>
                      </c:pt>
                      <c:pt idx="3405">
                        <c:v>83.05</c:v>
                      </c:pt>
                      <c:pt idx="3406">
                        <c:v>65.91</c:v>
                      </c:pt>
                      <c:pt idx="3407">
                        <c:v>70.03</c:v>
                      </c:pt>
                      <c:pt idx="3408">
                        <c:v>66.400000000000006</c:v>
                      </c:pt>
                      <c:pt idx="3409">
                        <c:v>64.900000000000006</c:v>
                      </c:pt>
                      <c:pt idx="3410">
                        <c:v>54.12</c:v>
                      </c:pt>
                      <c:pt idx="3411">
                        <c:v>62.66</c:v>
                      </c:pt>
                      <c:pt idx="3412">
                        <c:v>70.2</c:v>
                      </c:pt>
                      <c:pt idx="3413">
                        <c:v>98.14</c:v>
                      </c:pt>
                      <c:pt idx="3414">
                        <c:v>103.12</c:v>
                      </c:pt>
                      <c:pt idx="3415">
                        <c:v>94.98</c:v>
                      </c:pt>
                      <c:pt idx="3416">
                        <c:v>81.209999999999994</c:v>
                      </c:pt>
                      <c:pt idx="3417">
                        <c:v>70</c:v>
                      </c:pt>
                      <c:pt idx="3418">
                        <c:v>69.78</c:v>
                      </c:pt>
                      <c:pt idx="3419">
                        <c:v>65.650000000000006</c:v>
                      </c:pt>
                      <c:pt idx="3420">
                        <c:v>56.91</c:v>
                      </c:pt>
                      <c:pt idx="3421">
                        <c:v>56.14</c:v>
                      </c:pt>
                      <c:pt idx="3422">
                        <c:v>67.17</c:v>
                      </c:pt>
                      <c:pt idx="3423">
                        <c:v>77.61</c:v>
                      </c:pt>
                      <c:pt idx="3424">
                        <c:v>92.45</c:v>
                      </c:pt>
                      <c:pt idx="3425">
                        <c:v>99.98</c:v>
                      </c:pt>
                      <c:pt idx="3426">
                        <c:v>147.02000000000001</c:v>
                      </c:pt>
                      <c:pt idx="3427">
                        <c:v>154.88</c:v>
                      </c:pt>
                      <c:pt idx="3428">
                        <c:v>135.99</c:v>
                      </c:pt>
                      <c:pt idx="3429">
                        <c:v>107.71</c:v>
                      </c:pt>
                      <c:pt idx="3430">
                        <c:v>93.22</c:v>
                      </c:pt>
                      <c:pt idx="3431">
                        <c:v>79.27</c:v>
                      </c:pt>
                      <c:pt idx="3432">
                        <c:v>78.45</c:v>
                      </c:pt>
                      <c:pt idx="3433">
                        <c:v>74.930000000000007</c:v>
                      </c:pt>
                      <c:pt idx="3434">
                        <c:v>76.680000000000007</c:v>
                      </c:pt>
                      <c:pt idx="3435">
                        <c:v>78.650000000000006</c:v>
                      </c:pt>
                      <c:pt idx="3436">
                        <c:v>84.8</c:v>
                      </c:pt>
                      <c:pt idx="3437">
                        <c:v>107.98</c:v>
                      </c:pt>
                      <c:pt idx="3438">
                        <c:v>118</c:v>
                      </c:pt>
                      <c:pt idx="3439">
                        <c:v>97.84</c:v>
                      </c:pt>
                      <c:pt idx="3440">
                        <c:v>75.650000000000006</c:v>
                      </c:pt>
                      <c:pt idx="3441">
                        <c:v>74.89</c:v>
                      </c:pt>
                      <c:pt idx="3442">
                        <c:v>64.099999999999994</c:v>
                      </c:pt>
                      <c:pt idx="3443">
                        <c:v>52.5</c:v>
                      </c:pt>
                      <c:pt idx="3444">
                        <c:v>45.31</c:v>
                      </c:pt>
                      <c:pt idx="3445">
                        <c:v>56.98</c:v>
                      </c:pt>
                      <c:pt idx="3446">
                        <c:v>71.400000000000006</c:v>
                      </c:pt>
                      <c:pt idx="3447">
                        <c:v>83.77</c:v>
                      </c:pt>
                      <c:pt idx="3448">
                        <c:v>96.64</c:v>
                      </c:pt>
                      <c:pt idx="3449">
                        <c:v>111.49</c:v>
                      </c:pt>
                      <c:pt idx="3450">
                        <c:v>156.28</c:v>
                      </c:pt>
                      <c:pt idx="3451">
                        <c:v>180.06</c:v>
                      </c:pt>
                      <c:pt idx="3452">
                        <c:v>155.97999999999999</c:v>
                      </c:pt>
                      <c:pt idx="3453">
                        <c:v>126.15</c:v>
                      </c:pt>
                      <c:pt idx="3454">
                        <c:v>105.03</c:v>
                      </c:pt>
                      <c:pt idx="3455">
                        <c:v>103.17</c:v>
                      </c:pt>
                      <c:pt idx="3456">
                        <c:v>94.12</c:v>
                      </c:pt>
                      <c:pt idx="3457">
                        <c:v>89.79</c:v>
                      </c:pt>
                      <c:pt idx="3458">
                        <c:v>88.22</c:v>
                      </c:pt>
                      <c:pt idx="3459">
                        <c:v>91.8</c:v>
                      </c:pt>
                      <c:pt idx="3460">
                        <c:v>103.23</c:v>
                      </c:pt>
                      <c:pt idx="3461">
                        <c:v>123.84</c:v>
                      </c:pt>
                      <c:pt idx="3462">
                        <c:v>122.07</c:v>
                      </c:pt>
                      <c:pt idx="3463">
                        <c:v>115.9</c:v>
                      </c:pt>
                      <c:pt idx="3464">
                        <c:v>106.1</c:v>
                      </c:pt>
                      <c:pt idx="3465">
                        <c:v>96.16</c:v>
                      </c:pt>
                      <c:pt idx="3466">
                        <c:v>90.07</c:v>
                      </c:pt>
                      <c:pt idx="3467">
                        <c:v>88.98</c:v>
                      </c:pt>
                      <c:pt idx="3468">
                        <c:v>87.74</c:v>
                      </c:pt>
                      <c:pt idx="3469">
                        <c:v>88.12</c:v>
                      </c:pt>
                      <c:pt idx="3470">
                        <c:v>88.18</c:v>
                      </c:pt>
                      <c:pt idx="3471">
                        <c:v>84.27</c:v>
                      </c:pt>
                      <c:pt idx="3472">
                        <c:v>98.79</c:v>
                      </c:pt>
                      <c:pt idx="3473">
                        <c:v>111.77</c:v>
                      </c:pt>
                      <c:pt idx="3474">
                        <c:v>129.99</c:v>
                      </c:pt>
                      <c:pt idx="3475">
                        <c:v>125</c:v>
                      </c:pt>
                      <c:pt idx="3476">
                        <c:v>115.84</c:v>
                      </c:pt>
                      <c:pt idx="3477">
                        <c:v>109.67</c:v>
                      </c:pt>
                      <c:pt idx="3478">
                        <c:v>99.84</c:v>
                      </c:pt>
                      <c:pt idx="3479">
                        <c:v>94.88</c:v>
                      </c:pt>
                      <c:pt idx="3480">
                        <c:v>91.83</c:v>
                      </c:pt>
                      <c:pt idx="3481">
                        <c:v>90.43</c:v>
                      </c:pt>
                      <c:pt idx="3482">
                        <c:v>89.16</c:v>
                      </c:pt>
                      <c:pt idx="3483">
                        <c:v>89.03</c:v>
                      </c:pt>
                      <c:pt idx="3484">
                        <c:v>90.26</c:v>
                      </c:pt>
                      <c:pt idx="3485">
                        <c:v>90.68</c:v>
                      </c:pt>
                      <c:pt idx="3486">
                        <c:v>86.23</c:v>
                      </c:pt>
                      <c:pt idx="3487">
                        <c:v>78.58</c:v>
                      </c:pt>
                      <c:pt idx="3488">
                        <c:v>74.75</c:v>
                      </c:pt>
                      <c:pt idx="3489">
                        <c:v>54.23</c:v>
                      </c:pt>
                      <c:pt idx="3490">
                        <c:v>9.34</c:v>
                      </c:pt>
                      <c:pt idx="3491">
                        <c:v>3.24</c:v>
                      </c:pt>
                      <c:pt idx="3492">
                        <c:v>0.04</c:v>
                      </c:pt>
                      <c:pt idx="3493">
                        <c:v>0</c:v>
                      </c:pt>
                      <c:pt idx="3494">
                        <c:v>0.02</c:v>
                      </c:pt>
                      <c:pt idx="3495">
                        <c:v>14.23</c:v>
                      </c:pt>
                      <c:pt idx="3496">
                        <c:v>76.040000000000006</c:v>
                      </c:pt>
                      <c:pt idx="3497">
                        <c:v>96.23</c:v>
                      </c:pt>
                      <c:pt idx="3498">
                        <c:v>115.77</c:v>
                      </c:pt>
                      <c:pt idx="3499">
                        <c:v>131.91999999999999</c:v>
                      </c:pt>
                      <c:pt idx="3500">
                        <c:v>136.94999999999999</c:v>
                      </c:pt>
                      <c:pt idx="3501">
                        <c:v>115.77</c:v>
                      </c:pt>
                      <c:pt idx="3502">
                        <c:v>104.54</c:v>
                      </c:pt>
                      <c:pt idx="3503">
                        <c:v>107.36</c:v>
                      </c:pt>
                      <c:pt idx="3504">
                        <c:v>98.3</c:v>
                      </c:pt>
                      <c:pt idx="3505">
                        <c:v>90.77</c:v>
                      </c:pt>
                      <c:pt idx="3506">
                        <c:v>90.1</c:v>
                      </c:pt>
                      <c:pt idx="3507">
                        <c:v>91.16</c:v>
                      </c:pt>
                      <c:pt idx="3508">
                        <c:v>88.61</c:v>
                      </c:pt>
                      <c:pt idx="3509">
                        <c:v>83.49</c:v>
                      </c:pt>
                      <c:pt idx="3510">
                        <c:v>71.900000000000006</c:v>
                      </c:pt>
                      <c:pt idx="3511">
                        <c:v>13.25</c:v>
                      </c:pt>
                      <c:pt idx="3512">
                        <c:v>0.02</c:v>
                      </c:pt>
                      <c:pt idx="3513">
                        <c:v>0</c:v>
                      </c:pt>
                      <c:pt idx="3514">
                        <c:v>-0.09</c:v>
                      </c:pt>
                      <c:pt idx="3515">
                        <c:v>-2.12</c:v>
                      </c:pt>
                      <c:pt idx="3516">
                        <c:v>-10.66</c:v>
                      </c:pt>
                      <c:pt idx="3517">
                        <c:v>-23.88</c:v>
                      </c:pt>
                      <c:pt idx="3518">
                        <c:v>-9.91</c:v>
                      </c:pt>
                      <c:pt idx="3519">
                        <c:v>-0.6</c:v>
                      </c:pt>
                      <c:pt idx="3520">
                        <c:v>57</c:v>
                      </c:pt>
                      <c:pt idx="3521">
                        <c:v>93.26</c:v>
                      </c:pt>
                      <c:pt idx="3522">
                        <c:v>118.08</c:v>
                      </c:pt>
                      <c:pt idx="3523">
                        <c:v>118.74</c:v>
                      </c:pt>
                      <c:pt idx="3524">
                        <c:v>121.1</c:v>
                      </c:pt>
                      <c:pt idx="3525">
                        <c:v>106.94</c:v>
                      </c:pt>
                      <c:pt idx="3526">
                        <c:v>87.5</c:v>
                      </c:pt>
                      <c:pt idx="3527">
                        <c:v>78.34</c:v>
                      </c:pt>
                      <c:pt idx="3528">
                        <c:v>75.069999999999993</c:v>
                      </c:pt>
                      <c:pt idx="3529">
                        <c:v>74.44</c:v>
                      </c:pt>
                      <c:pt idx="3530">
                        <c:v>74.430000000000007</c:v>
                      </c:pt>
                      <c:pt idx="3531">
                        <c:v>77.87</c:v>
                      </c:pt>
                      <c:pt idx="3532">
                        <c:v>84.04</c:v>
                      </c:pt>
                      <c:pt idx="3533">
                        <c:v>112.94</c:v>
                      </c:pt>
                      <c:pt idx="3534">
                        <c:v>128.74</c:v>
                      </c:pt>
                      <c:pt idx="3535">
                        <c:v>124.55</c:v>
                      </c:pt>
                      <c:pt idx="3536">
                        <c:v>107.22</c:v>
                      </c:pt>
                      <c:pt idx="3537">
                        <c:v>88.44</c:v>
                      </c:pt>
                      <c:pt idx="3538">
                        <c:v>86.26</c:v>
                      </c:pt>
                      <c:pt idx="3539">
                        <c:v>77.34</c:v>
                      </c:pt>
                      <c:pt idx="3540">
                        <c:v>74.459999999999994</c:v>
                      </c:pt>
                      <c:pt idx="3541">
                        <c:v>72.959999999999994</c:v>
                      </c:pt>
                      <c:pt idx="3542">
                        <c:v>77.78</c:v>
                      </c:pt>
                      <c:pt idx="3543">
                        <c:v>84.66</c:v>
                      </c:pt>
                      <c:pt idx="3544">
                        <c:v>111.04</c:v>
                      </c:pt>
                      <c:pt idx="3545">
                        <c:v>131.4</c:v>
                      </c:pt>
                      <c:pt idx="3546">
                        <c:v>186.68</c:v>
                      </c:pt>
                      <c:pt idx="3547">
                        <c:v>221.46</c:v>
                      </c:pt>
                      <c:pt idx="3548">
                        <c:v>169.86</c:v>
                      </c:pt>
                      <c:pt idx="3549">
                        <c:v>131.4</c:v>
                      </c:pt>
                      <c:pt idx="3550">
                        <c:v>113.78</c:v>
                      </c:pt>
                      <c:pt idx="3551">
                        <c:v>97.78</c:v>
                      </c:pt>
                      <c:pt idx="3552">
                        <c:v>90.5</c:v>
                      </c:pt>
                      <c:pt idx="3553">
                        <c:v>87.64</c:v>
                      </c:pt>
                      <c:pt idx="3554">
                        <c:v>85.22</c:v>
                      </c:pt>
                      <c:pt idx="3555">
                        <c:v>83.96</c:v>
                      </c:pt>
                      <c:pt idx="3556">
                        <c:v>88.04</c:v>
                      </c:pt>
                      <c:pt idx="3557">
                        <c:v>110.34</c:v>
                      </c:pt>
                      <c:pt idx="3558">
                        <c:v>120.1</c:v>
                      </c:pt>
                      <c:pt idx="3559">
                        <c:v>102.23</c:v>
                      </c:pt>
                      <c:pt idx="3560">
                        <c:v>85.43</c:v>
                      </c:pt>
                      <c:pt idx="3561">
                        <c:v>72.52</c:v>
                      </c:pt>
                      <c:pt idx="3562">
                        <c:v>69.17</c:v>
                      </c:pt>
                      <c:pt idx="3563">
                        <c:v>61.1</c:v>
                      </c:pt>
                      <c:pt idx="3564">
                        <c:v>55.25</c:v>
                      </c:pt>
                      <c:pt idx="3565">
                        <c:v>55.27</c:v>
                      </c:pt>
                      <c:pt idx="3566">
                        <c:v>65.66</c:v>
                      </c:pt>
                      <c:pt idx="3567">
                        <c:v>72.52</c:v>
                      </c:pt>
                      <c:pt idx="3568">
                        <c:v>85.8</c:v>
                      </c:pt>
                      <c:pt idx="3569">
                        <c:v>102.28</c:v>
                      </c:pt>
                      <c:pt idx="3570">
                        <c:v>130.05000000000001</c:v>
                      </c:pt>
                      <c:pt idx="3571">
                        <c:v>144.31</c:v>
                      </c:pt>
                      <c:pt idx="3572">
                        <c:v>124</c:v>
                      </c:pt>
                      <c:pt idx="3573">
                        <c:v>100.09</c:v>
                      </c:pt>
                      <c:pt idx="3574">
                        <c:v>88.78</c:v>
                      </c:pt>
                      <c:pt idx="3575">
                        <c:v>72.22</c:v>
                      </c:pt>
                      <c:pt idx="3576">
                        <c:v>57.54</c:v>
                      </c:pt>
                      <c:pt idx="3577">
                        <c:v>54.28</c:v>
                      </c:pt>
                      <c:pt idx="3578">
                        <c:v>50.59</c:v>
                      </c:pt>
                      <c:pt idx="3579">
                        <c:v>49.83</c:v>
                      </c:pt>
                      <c:pt idx="3580">
                        <c:v>45.91</c:v>
                      </c:pt>
                      <c:pt idx="3581">
                        <c:v>72.150000000000006</c:v>
                      </c:pt>
                      <c:pt idx="3582">
                        <c:v>86.45</c:v>
                      </c:pt>
                      <c:pt idx="3583">
                        <c:v>91.52</c:v>
                      </c:pt>
                      <c:pt idx="3584">
                        <c:v>69.11</c:v>
                      </c:pt>
                      <c:pt idx="3585">
                        <c:v>67.849999999999994</c:v>
                      </c:pt>
                      <c:pt idx="3586">
                        <c:v>62.12</c:v>
                      </c:pt>
                      <c:pt idx="3587">
                        <c:v>59.07</c:v>
                      </c:pt>
                      <c:pt idx="3588">
                        <c:v>62.25</c:v>
                      </c:pt>
                      <c:pt idx="3589">
                        <c:v>62.18</c:v>
                      </c:pt>
                      <c:pt idx="3590">
                        <c:v>69.489999999999995</c:v>
                      </c:pt>
                      <c:pt idx="3591">
                        <c:v>72.67</c:v>
                      </c:pt>
                      <c:pt idx="3592">
                        <c:v>89.23</c:v>
                      </c:pt>
                      <c:pt idx="3593">
                        <c:v>94.66</c:v>
                      </c:pt>
                      <c:pt idx="3594">
                        <c:v>111.44</c:v>
                      </c:pt>
                      <c:pt idx="3595">
                        <c:v>140.5</c:v>
                      </c:pt>
                      <c:pt idx="3596">
                        <c:v>143.26</c:v>
                      </c:pt>
                      <c:pt idx="3597">
                        <c:v>120.39</c:v>
                      </c:pt>
                      <c:pt idx="3598">
                        <c:v>95.53</c:v>
                      </c:pt>
                      <c:pt idx="3599">
                        <c:v>100.43</c:v>
                      </c:pt>
                      <c:pt idx="3600">
                        <c:v>96.2</c:v>
                      </c:pt>
                      <c:pt idx="3601">
                        <c:v>91.21</c:v>
                      </c:pt>
                      <c:pt idx="3602">
                        <c:v>93.63</c:v>
                      </c:pt>
                      <c:pt idx="3603">
                        <c:v>94.56</c:v>
                      </c:pt>
                      <c:pt idx="3604">
                        <c:v>100.79</c:v>
                      </c:pt>
                      <c:pt idx="3605">
                        <c:v>103.37</c:v>
                      </c:pt>
                      <c:pt idx="3606">
                        <c:v>106.67</c:v>
                      </c:pt>
                      <c:pt idx="3607">
                        <c:v>97.71</c:v>
                      </c:pt>
                      <c:pt idx="3608">
                        <c:v>93.9</c:v>
                      </c:pt>
                      <c:pt idx="3609">
                        <c:v>85</c:v>
                      </c:pt>
                      <c:pt idx="3610">
                        <c:v>80</c:v>
                      </c:pt>
                      <c:pt idx="3611">
                        <c:v>70.92</c:v>
                      </c:pt>
                      <c:pt idx="3612">
                        <c:v>62.97</c:v>
                      </c:pt>
                      <c:pt idx="3613">
                        <c:v>62.97</c:v>
                      </c:pt>
                      <c:pt idx="3614">
                        <c:v>67.69</c:v>
                      </c:pt>
                      <c:pt idx="3615">
                        <c:v>83.75</c:v>
                      </c:pt>
                      <c:pt idx="3616">
                        <c:v>90.13</c:v>
                      </c:pt>
                      <c:pt idx="3617">
                        <c:v>110.67</c:v>
                      </c:pt>
                      <c:pt idx="3618">
                        <c:v>135.22999999999999</c:v>
                      </c:pt>
                      <c:pt idx="3619">
                        <c:v>154.72999999999999</c:v>
                      </c:pt>
                      <c:pt idx="3620">
                        <c:v>143.44999999999999</c:v>
                      </c:pt>
                      <c:pt idx="3621">
                        <c:v>112.11</c:v>
                      </c:pt>
                      <c:pt idx="3622">
                        <c:v>100.71</c:v>
                      </c:pt>
                      <c:pt idx="3623">
                        <c:v>96.21</c:v>
                      </c:pt>
                      <c:pt idx="3624">
                        <c:v>80.709999999999994</c:v>
                      </c:pt>
                      <c:pt idx="3625">
                        <c:v>79.489999999999995</c:v>
                      </c:pt>
                      <c:pt idx="3626">
                        <c:v>73.709999999999994</c:v>
                      </c:pt>
                      <c:pt idx="3627">
                        <c:v>74.53</c:v>
                      </c:pt>
                      <c:pt idx="3628">
                        <c:v>90.06</c:v>
                      </c:pt>
                      <c:pt idx="3629">
                        <c:v>106.27</c:v>
                      </c:pt>
                      <c:pt idx="3630">
                        <c:v>109.11</c:v>
                      </c:pt>
                      <c:pt idx="3631">
                        <c:v>108.72</c:v>
                      </c:pt>
                      <c:pt idx="3632">
                        <c:v>102.36</c:v>
                      </c:pt>
                      <c:pt idx="3633">
                        <c:v>91.97</c:v>
                      </c:pt>
                      <c:pt idx="3634">
                        <c:v>82.02</c:v>
                      </c:pt>
                      <c:pt idx="3635">
                        <c:v>74.91</c:v>
                      </c:pt>
                      <c:pt idx="3636">
                        <c:v>68.5</c:v>
                      </c:pt>
                      <c:pt idx="3637">
                        <c:v>65.3</c:v>
                      </c:pt>
                      <c:pt idx="3638">
                        <c:v>66.94</c:v>
                      </c:pt>
                      <c:pt idx="3639">
                        <c:v>75.069999999999993</c:v>
                      </c:pt>
                      <c:pt idx="3640">
                        <c:v>84.1</c:v>
                      </c:pt>
                      <c:pt idx="3641">
                        <c:v>94.46</c:v>
                      </c:pt>
                      <c:pt idx="3642">
                        <c:v>107.94</c:v>
                      </c:pt>
                      <c:pt idx="3643">
                        <c:v>115</c:v>
                      </c:pt>
                      <c:pt idx="3644">
                        <c:v>107.91</c:v>
                      </c:pt>
                      <c:pt idx="3645">
                        <c:v>101.74</c:v>
                      </c:pt>
                      <c:pt idx="3646">
                        <c:v>84.18</c:v>
                      </c:pt>
                      <c:pt idx="3647">
                        <c:v>88.58</c:v>
                      </c:pt>
                      <c:pt idx="3648">
                        <c:v>88.82</c:v>
                      </c:pt>
                      <c:pt idx="3649">
                        <c:v>79.66</c:v>
                      </c:pt>
                      <c:pt idx="3650">
                        <c:v>72.14</c:v>
                      </c:pt>
                      <c:pt idx="3651">
                        <c:v>71.87</c:v>
                      </c:pt>
                      <c:pt idx="3652">
                        <c:v>71.83</c:v>
                      </c:pt>
                      <c:pt idx="3653">
                        <c:v>75.2</c:v>
                      </c:pt>
                      <c:pt idx="3654">
                        <c:v>74.400000000000006</c:v>
                      </c:pt>
                      <c:pt idx="3655">
                        <c:v>72.489999999999995</c:v>
                      </c:pt>
                      <c:pt idx="3656">
                        <c:v>61.35</c:v>
                      </c:pt>
                      <c:pt idx="3657">
                        <c:v>47.16</c:v>
                      </c:pt>
                      <c:pt idx="3658">
                        <c:v>41.86</c:v>
                      </c:pt>
                      <c:pt idx="3659">
                        <c:v>21.21</c:v>
                      </c:pt>
                      <c:pt idx="3660">
                        <c:v>7.44</c:v>
                      </c:pt>
                      <c:pt idx="3661">
                        <c:v>2.92</c:v>
                      </c:pt>
                      <c:pt idx="3662">
                        <c:v>5.8</c:v>
                      </c:pt>
                      <c:pt idx="3663">
                        <c:v>13</c:v>
                      </c:pt>
                      <c:pt idx="3664">
                        <c:v>52.08</c:v>
                      </c:pt>
                      <c:pt idx="3665">
                        <c:v>67.5</c:v>
                      </c:pt>
                      <c:pt idx="3666">
                        <c:v>81.900000000000006</c:v>
                      </c:pt>
                      <c:pt idx="3667">
                        <c:v>85.86</c:v>
                      </c:pt>
                      <c:pt idx="3668">
                        <c:v>81.760000000000005</c:v>
                      </c:pt>
                      <c:pt idx="3669">
                        <c:v>84.48</c:v>
                      </c:pt>
                      <c:pt idx="3670">
                        <c:v>65.39</c:v>
                      </c:pt>
                      <c:pt idx="3671">
                        <c:v>35.71</c:v>
                      </c:pt>
                      <c:pt idx="3672">
                        <c:v>31.12</c:v>
                      </c:pt>
                      <c:pt idx="3673">
                        <c:v>15.85</c:v>
                      </c:pt>
                      <c:pt idx="3674">
                        <c:v>7.22</c:v>
                      </c:pt>
                      <c:pt idx="3675">
                        <c:v>8.9600000000000009</c:v>
                      </c:pt>
                      <c:pt idx="3676">
                        <c:v>5.13</c:v>
                      </c:pt>
                      <c:pt idx="3677">
                        <c:v>4.91</c:v>
                      </c:pt>
                      <c:pt idx="3678">
                        <c:v>4.1100000000000003</c:v>
                      </c:pt>
                      <c:pt idx="3679">
                        <c:v>0.97</c:v>
                      </c:pt>
                      <c:pt idx="3680">
                        <c:v>0</c:v>
                      </c:pt>
                      <c:pt idx="3681">
                        <c:v>1.56</c:v>
                      </c:pt>
                      <c:pt idx="3682">
                        <c:v>0.77</c:v>
                      </c:pt>
                      <c:pt idx="3683">
                        <c:v>-0.1</c:v>
                      </c:pt>
                      <c:pt idx="3684">
                        <c:v>-4.01</c:v>
                      </c:pt>
                      <c:pt idx="3685">
                        <c:v>-15.93</c:v>
                      </c:pt>
                      <c:pt idx="3686">
                        <c:v>-19.579999999999998</c:v>
                      </c:pt>
                      <c:pt idx="3687">
                        <c:v>-8.98</c:v>
                      </c:pt>
                      <c:pt idx="3688">
                        <c:v>-1.27</c:v>
                      </c:pt>
                      <c:pt idx="3689">
                        <c:v>13.95</c:v>
                      </c:pt>
                      <c:pt idx="3690">
                        <c:v>67.23</c:v>
                      </c:pt>
                      <c:pt idx="3691">
                        <c:v>94.99</c:v>
                      </c:pt>
                      <c:pt idx="3692">
                        <c:v>106.93</c:v>
                      </c:pt>
                      <c:pt idx="3693">
                        <c:v>109.01</c:v>
                      </c:pt>
                      <c:pt idx="3694">
                        <c:v>99.16</c:v>
                      </c:pt>
                      <c:pt idx="3695">
                        <c:v>98.26</c:v>
                      </c:pt>
                      <c:pt idx="3696">
                        <c:v>84.58</c:v>
                      </c:pt>
                      <c:pt idx="3697">
                        <c:v>83.67</c:v>
                      </c:pt>
                      <c:pt idx="3698">
                        <c:v>83.81</c:v>
                      </c:pt>
                      <c:pt idx="3699">
                        <c:v>82.17</c:v>
                      </c:pt>
                      <c:pt idx="3700">
                        <c:v>96.17</c:v>
                      </c:pt>
                      <c:pt idx="3701">
                        <c:v>133.28</c:v>
                      </c:pt>
                      <c:pt idx="3702">
                        <c:v>193.06</c:v>
                      </c:pt>
                      <c:pt idx="3703">
                        <c:v>164.48</c:v>
                      </c:pt>
                      <c:pt idx="3704">
                        <c:v>128.08000000000001</c:v>
                      </c:pt>
                      <c:pt idx="3705">
                        <c:v>99.05</c:v>
                      </c:pt>
                      <c:pt idx="3706">
                        <c:v>95.9</c:v>
                      </c:pt>
                      <c:pt idx="3707">
                        <c:v>81.09</c:v>
                      </c:pt>
                      <c:pt idx="3708">
                        <c:v>74.900000000000006</c:v>
                      </c:pt>
                      <c:pt idx="3709">
                        <c:v>67.3</c:v>
                      </c:pt>
                      <c:pt idx="3710">
                        <c:v>72.02</c:v>
                      </c:pt>
                      <c:pt idx="3711">
                        <c:v>78</c:v>
                      </c:pt>
                      <c:pt idx="3712">
                        <c:v>105.95</c:v>
                      </c:pt>
                      <c:pt idx="3713">
                        <c:v>127.32</c:v>
                      </c:pt>
                      <c:pt idx="3714">
                        <c:v>182.91</c:v>
                      </c:pt>
                      <c:pt idx="3715">
                        <c:v>215.28</c:v>
                      </c:pt>
                      <c:pt idx="3716">
                        <c:v>198.79</c:v>
                      </c:pt>
                      <c:pt idx="3717">
                        <c:v>149.29</c:v>
                      </c:pt>
                      <c:pt idx="3718">
                        <c:v>116.04</c:v>
                      </c:pt>
                      <c:pt idx="3719">
                        <c:v>106.87</c:v>
                      </c:pt>
                      <c:pt idx="3720">
                        <c:v>99.98</c:v>
                      </c:pt>
                      <c:pt idx="3721">
                        <c:v>95.42</c:v>
                      </c:pt>
                      <c:pt idx="3722">
                        <c:v>92.94</c:v>
                      </c:pt>
                      <c:pt idx="3723">
                        <c:v>92.25</c:v>
                      </c:pt>
                      <c:pt idx="3724">
                        <c:v>104.69</c:v>
                      </c:pt>
                      <c:pt idx="3725">
                        <c:v>162</c:v>
                      </c:pt>
                      <c:pt idx="3726">
                        <c:v>177.66</c:v>
                      </c:pt>
                      <c:pt idx="3727">
                        <c:v>141.68</c:v>
                      </c:pt>
                      <c:pt idx="3728">
                        <c:v>112.37</c:v>
                      </c:pt>
                      <c:pt idx="3729">
                        <c:v>91.6</c:v>
                      </c:pt>
                      <c:pt idx="3730">
                        <c:v>81.31</c:v>
                      </c:pt>
                      <c:pt idx="3731">
                        <c:v>67.34</c:v>
                      </c:pt>
                      <c:pt idx="3732">
                        <c:v>55.27</c:v>
                      </c:pt>
                      <c:pt idx="3733">
                        <c:v>43.86</c:v>
                      </c:pt>
                      <c:pt idx="3734">
                        <c:v>47.06</c:v>
                      </c:pt>
                      <c:pt idx="3735">
                        <c:v>64.03</c:v>
                      </c:pt>
                      <c:pt idx="3736">
                        <c:v>84.88</c:v>
                      </c:pt>
                      <c:pt idx="3737">
                        <c:v>116.22</c:v>
                      </c:pt>
                      <c:pt idx="3738">
                        <c:v>176.78</c:v>
                      </c:pt>
                      <c:pt idx="3739">
                        <c:v>235.52</c:v>
                      </c:pt>
                      <c:pt idx="3740">
                        <c:v>140.68</c:v>
                      </c:pt>
                      <c:pt idx="3741">
                        <c:v>107.34</c:v>
                      </c:pt>
                      <c:pt idx="3742">
                        <c:v>75.81</c:v>
                      </c:pt>
                      <c:pt idx="3743">
                        <c:v>56.85</c:v>
                      </c:pt>
                      <c:pt idx="3744">
                        <c:v>43.93</c:v>
                      </c:pt>
                      <c:pt idx="3745">
                        <c:v>44.55</c:v>
                      </c:pt>
                      <c:pt idx="3746">
                        <c:v>50.05</c:v>
                      </c:pt>
                      <c:pt idx="3747">
                        <c:v>48.09</c:v>
                      </c:pt>
                      <c:pt idx="3748">
                        <c:v>71.19</c:v>
                      </c:pt>
                      <c:pt idx="3749">
                        <c:v>103.55</c:v>
                      </c:pt>
                      <c:pt idx="3750">
                        <c:v>142.76</c:v>
                      </c:pt>
                      <c:pt idx="3751">
                        <c:v>112.92</c:v>
                      </c:pt>
                      <c:pt idx="3752">
                        <c:v>84.16</c:v>
                      </c:pt>
                      <c:pt idx="3753">
                        <c:v>69.930000000000007</c:v>
                      </c:pt>
                      <c:pt idx="3754">
                        <c:v>62.03</c:v>
                      </c:pt>
                      <c:pt idx="3755">
                        <c:v>48.4</c:v>
                      </c:pt>
                      <c:pt idx="3756">
                        <c:v>30.17</c:v>
                      </c:pt>
                      <c:pt idx="3757">
                        <c:v>26.3</c:v>
                      </c:pt>
                      <c:pt idx="3758">
                        <c:v>30.06</c:v>
                      </c:pt>
                      <c:pt idx="3759">
                        <c:v>62.57</c:v>
                      </c:pt>
                      <c:pt idx="3760">
                        <c:v>80.430000000000007</c:v>
                      </c:pt>
                      <c:pt idx="3761">
                        <c:v>105.09</c:v>
                      </c:pt>
                      <c:pt idx="3762">
                        <c:v>126.97</c:v>
                      </c:pt>
                      <c:pt idx="3763">
                        <c:v>155.9</c:v>
                      </c:pt>
                      <c:pt idx="3764">
                        <c:v>158.02000000000001</c:v>
                      </c:pt>
                      <c:pt idx="3765">
                        <c:v>141.47</c:v>
                      </c:pt>
                      <c:pt idx="3766">
                        <c:v>105.99</c:v>
                      </c:pt>
                      <c:pt idx="3767">
                        <c:v>93.24</c:v>
                      </c:pt>
                      <c:pt idx="3768">
                        <c:v>89.92</c:v>
                      </c:pt>
                      <c:pt idx="3769">
                        <c:v>85.86</c:v>
                      </c:pt>
                      <c:pt idx="3770">
                        <c:v>85.35</c:v>
                      </c:pt>
                      <c:pt idx="3771">
                        <c:v>88.25</c:v>
                      </c:pt>
                      <c:pt idx="3772">
                        <c:v>98.97</c:v>
                      </c:pt>
                      <c:pt idx="3773">
                        <c:v>123.9</c:v>
                      </c:pt>
                      <c:pt idx="3774">
                        <c:v>127.92</c:v>
                      </c:pt>
                      <c:pt idx="3775">
                        <c:v>96.83</c:v>
                      </c:pt>
                      <c:pt idx="3776">
                        <c:v>71.89</c:v>
                      </c:pt>
                      <c:pt idx="3777">
                        <c:v>57.8</c:v>
                      </c:pt>
                      <c:pt idx="3778">
                        <c:v>30.25</c:v>
                      </c:pt>
                      <c:pt idx="3779">
                        <c:v>24.33</c:v>
                      </c:pt>
                      <c:pt idx="3780">
                        <c:v>19.5</c:v>
                      </c:pt>
                      <c:pt idx="3781">
                        <c:v>24.23</c:v>
                      </c:pt>
                      <c:pt idx="3782">
                        <c:v>37.65</c:v>
                      </c:pt>
                      <c:pt idx="3783">
                        <c:v>62.11</c:v>
                      </c:pt>
                      <c:pt idx="3784">
                        <c:v>80.67</c:v>
                      </c:pt>
                      <c:pt idx="3785">
                        <c:v>89.92</c:v>
                      </c:pt>
                      <c:pt idx="3786">
                        <c:v>115.69</c:v>
                      </c:pt>
                      <c:pt idx="3787">
                        <c:v>163.98</c:v>
                      </c:pt>
                      <c:pt idx="3788">
                        <c:v>167.72</c:v>
                      </c:pt>
                      <c:pt idx="3789">
                        <c:v>132.44999999999999</c:v>
                      </c:pt>
                      <c:pt idx="3790">
                        <c:v>104.39</c:v>
                      </c:pt>
                      <c:pt idx="3791">
                        <c:v>101</c:v>
                      </c:pt>
                      <c:pt idx="3792">
                        <c:v>96.13</c:v>
                      </c:pt>
                      <c:pt idx="3793">
                        <c:v>91.7</c:v>
                      </c:pt>
                      <c:pt idx="3794">
                        <c:v>87.53</c:v>
                      </c:pt>
                      <c:pt idx="3795">
                        <c:v>84.25</c:v>
                      </c:pt>
                      <c:pt idx="3796">
                        <c:v>91.9</c:v>
                      </c:pt>
                      <c:pt idx="3797">
                        <c:v>113.95</c:v>
                      </c:pt>
                      <c:pt idx="3798">
                        <c:v>119.05</c:v>
                      </c:pt>
                      <c:pt idx="3799">
                        <c:v>102.76</c:v>
                      </c:pt>
                      <c:pt idx="3800">
                        <c:v>78.56</c:v>
                      </c:pt>
                      <c:pt idx="3801">
                        <c:v>60.66</c:v>
                      </c:pt>
                      <c:pt idx="3802">
                        <c:v>41.39</c:v>
                      </c:pt>
                      <c:pt idx="3803">
                        <c:v>33.909999999999997</c:v>
                      </c:pt>
                      <c:pt idx="3804">
                        <c:v>25.36</c:v>
                      </c:pt>
                      <c:pt idx="3805">
                        <c:v>17.41</c:v>
                      </c:pt>
                      <c:pt idx="3806">
                        <c:v>13.08</c:v>
                      </c:pt>
                      <c:pt idx="3807">
                        <c:v>25.57</c:v>
                      </c:pt>
                      <c:pt idx="3808">
                        <c:v>64.56</c:v>
                      </c:pt>
                      <c:pt idx="3809">
                        <c:v>85.21</c:v>
                      </c:pt>
                      <c:pt idx="3810">
                        <c:v>128.58000000000001</c:v>
                      </c:pt>
                      <c:pt idx="3811">
                        <c:v>154.75</c:v>
                      </c:pt>
                      <c:pt idx="3812">
                        <c:v>153.85</c:v>
                      </c:pt>
                      <c:pt idx="3813">
                        <c:v>126.88</c:v>
                      </c:pt>
                      <c:pt idx="3814">
                        <c:v>97.45</c:v>
                      </c:pt>
                      <c:pt idx="3815">
                        <c:v>98.36</c:v>
                      </c:pt>
                      <c:pt idx="3816">
                        <c:v>90.04</c:v>
                      </c:pt>
                      <c:pt idx="3817">
                        <c:v>83.31</c:v>
                      </c:pt>
                      <c:pt idx="3818">
                        <c:v>83.53</c:v>
                      </c:pt>
                      <c:pt idx="3819">
                        <c:v>79.64</c:v>
                      </c:pt>
                      <c:pt idx="3820">
                        <c:v>82.11</c:v>
                      </c:pt>
                      <c:pt idx="3821">
                        <c:v>79.38</c:v>
                      </c:pt>
                      <c:pt idx="3822">
                        <c:v>62.82</c:v>
                      </c:pt>
                      <c:pt idx="3823">
                        <c:v>42.2</c:v>
                      </c:pt>
                      <c:pt idx="3824">
                        <c:v>12.24</c:v>
                      </c:pt>
                      <c:pt idx="3825">
                        <c:v>-0.13</c:v>
                      </c:pt>
                      <c:pt idx="3826">
                        <c:v>-2.27</c:v>
                      </c:pt>
                      <c:pt idx="3827">
                        <c:v>-10.26</c:v>
                      </c:pt>
                      <c:pt idx="3828">
                        <c:v>-23.7</c:v>
                      </c:pt>
                      <c:pt idx="3829">
                        <c:v>-30.03</c:v>
                      </c:pt>
                      <c:pt idx="3830">
                        <c:v>-20.62</c:v>
                      </c:pt>
                      <c:pt idx="3831">
                        <c:v>-8.25</c:v>
                      </c:pt>
                      <c:pt idx="3832">
                        <c:v>0.01</c:v>
                      </c:pt>
                      <c:pt idx="3833">
                        <c:v>44.91</c:v>
                      </c:pt>
                      <c:pt idx="3834">
                        <c:v>68.84</c:v>
                      </c:pt>
                      <c:pt idx="3835">
                        <c:v>99.32</c:v>
                      </c:pt>
                      <c:pt idx="3836">
                        <c:v>93.01</c:v>
                      </c:pt>
                      <c:pt idx="3837">
                        <c:v>100</c:v>
                      </c:pt>
                      <c:pt idx="3838">
                        <c:v>78.790000000000006</c:v>
                      </c:pt>
                      <c:pt idx="3839">
                        <c:v>74.28</c:v>
                      </c:pt>
                      <c:pt idx="3840">
                        <c:v>63.59</c:v>
                      </c:pt>
                      <c:pt idx="3841">
                        <c:v>42.52</c:v>
                      </c:pt>
                      <c:pt idx="3842">
                        <c:v>15.57</c:v>
                      </c:pt>
                      <c:pt idx="3843">
                        <c:v>18.190000000000001</c:v>
                      </c:pt>
                      <c:pt idx="3844">
                        <c:v>11.56</c:v>
                      </c:pt>
                      <c:pt idx="3845">
                        <c:v>8.4</c:v>
                      </c:pt>
                      <c:pt idx="3846">
                        <c:v>2.2200000000000002</c:v>
                      </c:pt>
                      <c:pt idx="3847">
                        <c:v>-0.08</c:v>
                      </c:pt>
                      <c:pt idx="3848">
                        <c:v>-2.0099999999999998</c:v>
                      </c:pt>
                      <c:pt idx="3849">
                        <c:v>-7.6</c:v>
                      </c:pt>
                      <c:pt idx="3850">
                        <c:v>-15</c:v>
                      </c:pt>
                      <c:pt idx="3851">
                        <c:v>-25</c:v>
                      </c:pt>
                      <c:pt idx="3852">
                        <c:v>-32.69</c:v>
                      </c:pt>
                      <c:pt idx="3853">
                        <c:v>-37.14</c:v>
                      </c:pt>
                      <c:pt idx="3854">
                        <c:v>-28.68</c:v>
                      </c:pt>
                      <c:pt idx="3855">
                        <c:v>-5.84</c:v>
                      </c:pt>
                      <c:pt idx="3856">
                        <c:v>-0.5</c:v>
                      </c:pt>
                      <c:pt idx="3857">
                        <c:v>42.76</c:v>
                      </c:pt>
                      <c:pt idx="3858">
                        <c:v>96.85</c:v>
                      </c:pt>
                      <c:pt idx="3859">
                        <c:v>115.86</c:v>
                      </c:pt>
                      <c:pt idx="3860">
                        <c:v>111.24</c:v>
                      </c:pt>
                      <c:pt idx="3861">
                        <c:v>108.42</c:v>
                      </c:pt>
                      <c:pt idx="3862">
                        <c:v>97.21</c:v>
                      </c:pt>
                      <c:pt idx="3863">
                        <c:v>73.959999999999994</c:v>
                      </c:pt>
                      <c:pt idx="3864">
                        <c:v>71.59</c:v>
                      </c:pt>
                      <c:pt idx="3865">
                        <c:v>68.73</c:v>
                      </c:pt>
                      <c:pt idx="3866">
                        <c:v>68.27</c:v>
                      </c:pt>
                      <c:pt idx="3867">
                        <c:v>69</c:v>
                      </c:pt>
                      <c:pt idx="3868">
                        <c:v>78.319999999999993</c:v>
                      </c:pt>
                      <c:pt idx="3869">
                        <c:v>117.4</c:v>
                      </c:pt>
                      <c:pt idx="3870">
                        <c:v>185.18</c:v>
                      </c:pt>
                      <c:pt idx="3871">
                        <c:v>146.21</c:v>
                      </c:pt>
                      <c:pt idx="3872">
                        <c:v>107.25</c:v>
                      </c:pt>
                      <c:pt idx="3873">
                        <c:v>89.46</c:v>
                      </c:pt>
                      <c:pt idx="3874">
                        <c:v>85.04</c:v>
                      </c:pt>
                      <c:pt idx="3875">
                        <c:v>74.3</c:v>
                      </c:pt>
                      <c:pt idx="3876">
                        <c:v>73.59</c:v>
                      </c:pt>
                      <c:pt idx="3877">
                        <c:v>67.069999999999993</c:v>
                      </c:pt>
                      <c:pt idx="3878">
                        <c:v>65.88</c:v>
                      </c:pt>
                      <c:pt idx="3879">
                        <c:v>70</c:v>
                      </c:pt>
                      <c:pt idx="3880">
                        <c:v>81.2</c:v>
                      </c:pt>
                      <c:pt idx="3881">
                        <c:v>98.53</c:v>
                      </c:pt>
                      <c:pt idx="3882">
                        <c:v>118.59</c:v>
                      </c:pt>
                      <c:pt idx="3883">
                        <c:v>124.45</c:v>
                      </c:pt>
                      <c:pt idx="3884">
                        <c:v>113.32</c:v>
                      </c:pt>
                      <c:pt idx="3885">
                        <c:v>98.41</c:v>
                      </c:pt>
                      <c:pt idx="3886">
                        <c:v>77.760000000000005</c:v>
                      </c:pt>
                      <c:pt idx="3887">
                        <c:v>60.07</c:v>
                      </c:pt>
                      <c:pt idx="3888">
                        <c:v>56.96</c:v>
                      </c:pt>
                      <c:pt idx="3889">
                        <c:v>62.95</c:v>
                      </c:pt>
                      <c:pt idx="3890">
                        <c:v>55.82</c:v>
                      </c:pt>
                      <c:pt idx="3891">
                        <c:v>60.06</c:v>
                      </c:pt>
                      <c:pt idx="3892">
                        <c:v>59.11</c:v>
                      </c:pt>
                      <c:pt idx="3893">
                        <c:v>81.83</c:v>
                      </c:pt>
                      <c:pt idx="3894">
                        <c:v>100.26</c:v>
                      </c:pt>
                      <c:pt idx="3895">
                        <c:v>91.5</c:v>
                      </c:pt>
                      <c:pt idx="3896">
                        <c:v>68.27</c:v>
                      </c:pt>
                      <c:pt idx="3897">
                        <c:v>49.92</c:v>
                      </c:pt>
                      <c:pt idx="3898">
                        <c:v>32.130000000000003</c:v>
                      </c:pt>
                      <c:pt idx="3899">
                        <c:v>11.12</c:v>
                      </c:pt>
                      <c:pt idx="3900">
                        <c:v>0.76</c:v>
                      </c:pt>
                      <c:pt idx="3901">
                        <c:v>0</c:v>
                      </c:pt>
                      <c:pt idx="3902">
                        <c:v>0.03</c:v>
                      </c:pt>
                      <c:pt idx="3903">
                        <c:v>13.89</c:v>
                      </c:pt>
                      <c:pt idx="3904">
                        <c:v>55.27</c:v>
                      </c:pt>
                      <c:pt idx="3905">
                        <c:v>71.650000000000006</c:v>
                      </c:pt>
                      <c:pt idx="3906">
                        <c:v>100</c:v>
                      </c:pt>
                      <c:pt idx="3907">
                        <c:v>127.64</c:v>
                      </c:pt>
                      <c:pt idx="3908">
                        <c:v>122.37</c:v>
                      </c:pt>
                      <c:pt idx="3909">
                        <c:v>106.74</c:v>
                      </c:pt>
                      <c:pt idx="3910">
                        <c:v>90.82</c:v>
                      </c:pt>
                      <c:pt idx="3911">
                        <c:v>88.85</c:v>
                      </c:pt>
                      <c:pt idx="3912">
                        <c:v>85.35</c:v>
                      </c:pt>
                      <c:pt idx="3913">
                        <c:v>80.290000000000006</c:v>
                      </c:pt>
                      <c:pt idx="3914">
                        <c:v>82.11</c:v>
                      </c:pt>
                      <c:pt idx="3915">
                        <c:v>86.11</c:v>
                      </c:pt>
                      <c:pt idx="3916">
                        <c:v>94.65</c:v>
                      </c:pt>
                      <c:pt idx="3917">
                        <c:v>124.74</c:v>
                      </c:pt>
                      <c:pt idx="3918">
                        <c:v>136.4</c:v>
                      </c:pt>
                      <c:pt idx="3919">
                        <c:v>114.62</c:v>
                      </c:pt>
                      <c:pt idx="3920">
                        <c:v>78.650000000000006</c:v>
                      </c:pt>
                      <c:pt idx="3921">
                        <c:v>64.19</c:v>
                      </c:pt>
                      <c:pt idx="3922">
                        <c:v>58</c:v>
                      </c:pt>
                      <c:pt idx="3923">
                        <c:v>42.09</c:v>
                      </c:pt>
                      <c:pt idx="3924">
                        <c:v>40.72</c:v>
                      </c:pt>
                      <c:pt idx="3925">
                        <c:v>39.68</c:v>
                      </c:pt>
                      <c:pt idx="3926">
                        <c:v>45.34</c:v>
                      </c:pt>
                      <c:pt idx="3927">
                        <c:v>63</c:v>
                      </c:pt>
                      <c:pt idx="3928">
                        <c:v>81.2</c:v>
                      </c:pt>
                      <c:pt idx="3929">
                        <c:v>99.95</c:v>
                      </c:pt>
                      <c:pt idx="3930">
                        <c:v>135.69999999999999</c:v>
                      </c:pt>
                      <c:pt idx="3931">
                        <c:v>154.34</c:v>
                      </c:pt>
                      <c:pt idx="3932">
                        <c:v>154.66</c:v>
                      </c:pt>
                      <c:pt idx="3933">
                        <c:v>130.88</c:v>
                      </c:pt>
                      <c:pt idx="3934">
                        <c:v>107.07</c:v>
                      </c:pt>
                      <c:pt idx="3935">
                        <c:v>99</c:v>
                      </c:pt>
                      <c:pt idx="3936">
                        <c:v>93.26</c:v>
                      </c:pt>
                      <c:pt idx="3937">
                        <c:v>84.19</c:v>
                      </c:pt>
                      <c:pt idx="3938">
                        <c:v>85.21</c:v>
                      </c:pt>
                      <c:pt idx="3939">
                        <c:v>83.83</c:v>
                      </c:pt>
                      <c:pt idx="3940">
                        <c:v>98.96</c:v>
                      </c:pt>
                      <c:pt idx="3941">
                        <c:v>122.41</c:v>
                      </c:pt>
                      <c:pt idx="3942">
                        <c:v>131.09</c:v>
                      </c:pt>
                      <c:pt idx="3943">
                        <c:v>115.02</c:v>
                      </c:pt>
                      <c:pt idx="3944">
                        <c:v>83.8</c:v>
                      </c:pt>
                      <c:pt idx="3945">
                        <c:v>69.010000000000005</c:v>
                      </c:pt>
                      <c:pt idx="3946">
                        <c:v>61.71</c:v>
                      </c:pt>
                      <c:pt idx="3947">
                        <c:v>53.36</c:v>
                      </c:pt>
                      <c:pt idx="3948">
                        <c:v>46.96</c:v>
                      </c:pt>
                      <c:pt idx="3949">
                        <c:v>43.35</c:v>
                      </c:pt>
                      <c:pt idx="3950">
                        <c:v>53.74</c:v>
                      </c:pt>
                      <c:pt idx="3951">
                        <c:v>77.42</c:v>
                      </c:pt>
                      <c:pt idx="3952">
                        <c:v>80.08</c:v>
                      </c:pt>
                      <c:pt idx="3953">
                        <c:v>106.91</c:v>
                      </c:pt>
                      <c:pt idx="3954">
                        <c:v>139.66</c:v>
                      </c:pt>
                      <c:pt idx="3955">
                        <c:v>188.35</c:v>
                      </c:pt>
                      <c:pt idx="3956">
                        <c:v>163.84</c:v>
                      </c:pt>
                      <c:pt idx="3957">
                        <c:v>108.37</c:v>
                      </c:pt>
                      <c:pt idx="3958">
                        <c:v>85.18</c:v>
                      </c:pt>
                      <c:pt idx="3959">
                        <c:v>83.13</c:v>
                      </c:pt>
                      <c:pt idx="3960">
                        <c:v>71.45</c:v>
                      </c:pt>
                      <c:pt idx="3961">
                        <c:v>63.93</c:v>
                      </c:pt>
                      <c:pt idx="3962">
                        <c:v>59.53</c:v>
                      </c:pt>
                      <c:pt idx="3963">
                        <c:v>55.82</c:v>
                      </c:pt>
                      <c:pt idx="3964">
                        <c:v>64.22</c:v>
                      </c:pt>
                      <c:pt idx="3965">
                        <c:v>85.01</c:v>
                      </c:pt>
                      <c:pt idx="3966">
                        <c:v>100.95</c:v>
                      </c:pt>
                      <c:pt idx="3967">
                        <c:v>104.99</c:v>
                      </c:pt>
                      <c:pt idx="3968">
                        <c:v>102.54</c:v>
                      </c:pt>
                      <c:pt idx="3969">
                        <c:v>82.18</c:v>
                      </c:pt>
                      <c:pt idx="3970">
                        <c:v>68.099999999999994</c:v>
                      </c:pt>
                      <c:pt idx="3971">
                        <c:v>60.88</c:v>
                      </c:pt>
                      <c:pt idx="3972">
                        <c:v>47.46</c:v>
                      </c:pt>
                      <c:pt idx="3973">
                        <c:v>40.74</c:v>
                      </c:pt>
                      <c:pt idx="3974">
                        <c:v>41</c:v>
                      </c:pt>
                      <c:pt idx="3975">
                        <c:v>60.31</c:v>
                      </c:pt>
                      <c:pt idx="3976">
                        <c:v>75</c:v>
                      </c:pt>
                      <c:pt idx="3977">
                        <c:v>90.98</c:v>
                      </c:pt>
                      <c:pt idx="3978">
                        <c:v>136</c:v>
                      </c:pt>
                      <c:pt idx="3979">
                        <c:v>127.31</c:v>
                      </c:pt>
                      <c:pt idx="3980">
                        <c:v>117.12</c:v>
                      </c:pt>
                      <c:pt idx="3981">
                        <c:v>83.41</c:v>
                      </c:pt>
                      <c:pt idx="3982">
                        <c:v>59.42</c:v>
                      </c:pt>
                      <c:pt idx="3983">
                        <c:v>60.68</c:v>
                      </c:pt>
                      <c:pt idx="3984">
                        <c:v>41.04</c:v>
                      </c:pt>
                      <c:pt idx="3985">
                        <c:v>29.97</c:v>
                      </c:pt>
                      <c:pt idx="3986">
                        <c:v>28.86</c:v>
                      </c:pt>
                      <c:pt idx="3987">
                        <c:v>22.51</c:v>
                      </c:pt>
                      <c:pt idx="3988">
                        <c:v>10.039999999999999</c:v>
                      </c:pt>
                      <c:pt idx="3989">
                        <c:v>1.54</c:v>
                      </c:pt>
                      <c:pt idx="3990">
                        <c:v>0.09</c:v>
                      </c:pt>
                      <c:pt idx="3991">
                        <c:v>0</c:v>
                      </c:pt>
                      <c:pt idx="3992">
                        <c:v>-0.06</c:v>
                      </c:pt>
                      <c:pt idx="3993">
                        <c:v>-10.08</c:v>
                      </c:pt>
                      <c:pt idx="3994">
                        <c:v>-29.04</c:v>
                      </c:pt>
                      <c:pt idx="3995">
                        <c:v>-44.92</c:v>
                      </c:pt>
                      <c:pt idx="3996">
                        <c:v>-65.459999999999994</c:v>
                      </c:pt>
                      <c:pt idx="3997">
                        <c:v>-80.010000000000005</c:v>
                      </c:pt>
                      <c:pt idx="3998">
                        <c:v>-56.23</c:v>
                      </c:pt>
                      <c:pt idx="3999">
                        <c:v>-29.53</c:v>
                      </c:pt>
                      <c:pt idx="4000">
                        <c:v>-4.84</c:v>
                      </c:pt>
                      <c:pt idx="4001">
                        <c:v>-0.01</c:v>
                      </c:pt>
                      <c:pt idx="4002">
                        <c:v>40</c:v>
                      </c:pt>
                      <c:pt idx="4003">
                        <c:v>84.28</c:v>
                      </c:pt>
                      <c:pt idx="4004">
                        <c:v>79.92</c:v>
                      </c:pt>
                      <c:pt idx="4005">
                        <c:v>64.3</c:v>
                      </c:pt>
                      <c:pt idx="4006">
                        <c:v>40.4</c:v>
                      </c:pt>
                      <c:pt idx="4007">
                        <c:v>24.91</c:v>
                      </c:pt>
                      <c:pt idx="4008">
                        <c:v>10.36</c:v>
                      </c:pt>
                      <c:pt idx="4009">
                        <c:v>4.92</c:v>
                      </c:pt>
                      <c:pt idx="4010">
                        <c:v>2.92</c:v>
                      </c:pt>
                      <c:pt idx="4011">
                        <c:v>2.19</c:v>
                      </c:pt>
                      <c:pt idx="4012">
                        <c:v>2.5299999999999998</c:v>
                      </c:pt>
                      <c:pt idx="4013">
                        <c:v>2.95</c:v>
                      </c:pt>
                      <c:pt idx="4014">
                        <c:v>0.69</c:v>
                      </c:pt>
                      <c:pt idx="4015">
                        <c:v>-0.02</c:v>
                      </c:pt>
                      <c:pt idx="4016">
                        <c:v>-1.28</c:v>
                      </c:pt>
                      <c:pt idx="4017">
                        <c:v>-10</c:v>
                      </c:pt>
                      <c:pt idx="4018">
                        <c:v>-13.33</c:v>
                      </c:pt>
                      <c:pt idx="4019">
                        <c:v>-20.010000000000002</c:v>
                      </c:pt>
                      <c:pt idx="4020">
                        <c:v>-30.01</c:v>
                      </c:pt>
                      <c:pt idx="4021">
                        <c:v>-35.67</c:v>
                      </c:pt>
                      <c:pt idx="4022">
                        <c:v>-29.04</c:v>
                      </c:pt>
                      <c:pt idx="4023">
                        <c:v>-10.14</c:v>
                      </c:pt>
                      <c:pt idx="4024">
                        <c:v>-2.34</c:v>
                      </c:pt>
                      <c:pt idx="4025">
                        <c:v>56.22</c:v>
                      </c:pt>
                      <c:pt idx="4026">
                        <c:v>99.65</c:v>
                      </c:pt>
                      <c:pt idx="4027">
                        <c:v>119.15</c:v>
                      </c:pt>
                      <c:pt idx="4028">
                        <c:v>124.28</c:v>
                      </c:pt>
                      <c:pt idx="4029">
                        <c:v>120.34</c:v>
                      </c:pt>
                      <c:pt idx="4030">
                        <c:v>94.44</c:v>
                      </c:pt>
                      <c:pt idx="4031">
                        <c:v>76.62</c:v>
                      </c:pt>
                      <c:pt idx="4032">
                        <c:v>66.73</c:v>
                      </c:pt>
                      <c:pt idx="4033">
                        <c:v>68.81</c:v>
                      </c:pt>
                      <c:pt idx="4034">
                        <c:v>71.81</c:v>
                      </c:pt>
                      <c:pt idx="4035">
                        <c:v>73.56</c:v>
                      </c:pt>
                      <c:pt idx="4036">
                        <c:v>90.02</c:v>
                      </c:pt>
                      <c:pt idx="4037">
                        <c:v>119.13</c:v>
                      </c:pt>
                      <c:pt idx="4038">
                        <c:v>132.68</c:v>
                      </c:pt>
                      <c:pt idx="4039">
                        <c:v>116.23</c:v>
                      </c:pt>
                      <c:pt idx="4040">
                        <c:v>84.73</c:v>
                      </c:pt>
                      <c:pt idx="4041">
                        <c:v>62.11</c:v>
                      </c:pt>
                      <c:pt idx="4042">
                        <c:v>55.01</c:v>
                      </c:pt>
                      <c:pt idx="4043">
                        <c:v>41.86</c:v>
                      </c:pt>
                      <c:pt idx="4044">
                        <c:v>39.450000000000003</c:v>
                      </c:pt>
                      <c:pt idx="4045">
                        <c:v>46.62</c:v>
                      </c:pt>
                      <c:pt idx="4046">
                        <c:v>54.54</c:v>
                      </c:pt>
                      <c:pt idx="4047">
                        <c:v>64.209999999999994</c:v>
                      </c:pt>
                      <c:pt idx="4048">
                        <c:v>88.58</c:v>
                      </c:pt>
                      <c:pt idx="4049">
                        <c:v>114.16</c:v>
                      </c:pt>
                      <c:pt idx="4050">
                        <c:v>157.37</c:v>
                      </c:pt>
                      <c:pt idx="4051">
                        <c:v>210.16</c:v>
                      </c:pt>
                      <c:pt idx="4052">
                        <c:v>200.01</c:v>
                      </c:pt>
                      <c:pt idx="4053">
                        <c:v>128.15</c:v>
                      </c:pt>
                      <c:pt idx="4054">
                        <c:v>101.55</c:v>
                      </c:pt>
                      <c:pt idx="4055">
                        <c:v>96.92</c:v>
                      </c:pt>
                      <c:pt idx="4056">
                        <c:v>90.29</c:v>
                      </c:pt>
                      <c:pt idx="4057">
                        <c:v>87.53</c:v>
                      </c:pt>
                      <c:pt idx="4058">
                        <c:v>89.29</c:v>
                      </c:pt>
                      <c:pt idx="4059">
                        <c:v>90.29</c:v>
                      </c:pt>
                      <c:pt idx="4060">
                        <c:v>95.94</c:v>
                      </c:pt>
                      <c:pt idx="4061">
                        <c:v>134.49</c:v>
                      </c:pt>
                      <c:pt idx="4062">
                        <c:v>130.16999999999999</c:v>
                      </c:pt>
                      <c:pt idx="4063">
                        <c:v>95.96</c:v>
                      </c:pt>
                      <c:pt idx="4064">
                        <c:v>80.900000000000006</c:v>
                      </c:pt>
                      <c:pt idx="4065">
                        <c:v>69.91</c:v>
                      </c:pt>
                      <c:pt idx="4066">
                        <c:v>54.81</c:v>
                      </c:pt>
                      <c:pt idx="4067">
                        <c:v>51.16</c:v>
                      </c:pt>
                      <c:pt idx="4068">
                        <c:v>51.03</c:v>
                      </c:pt>
                      <c:pt idx="4069">
                        <c:v>57.04</c:v>
                      </c:pt>
                      <c:pt idx="4070">
                        <c:v>73.12</c:v>
                      </c:pt>
                      <c:pt idx="4071">
                        <c:v>76.239999999999995</c:v>
                      </c:pt>
                      <c:pt idx="4072">
                        <c:v>90.06</c:v>
                      </c:pt>
                      <c:pt idx="4073">
                        <c:v>133.25</c:v>
                      </c:pt>
                      <c:pt idx="4074">
                        <c:v>158.19</c:v>
                      </c:pt>
                      <c:pt idx="4075">
                        <c:v>171.87</c:v>
                      </c:pt>
                      <c:pt idx="4076">
                        <c:v>134.47</c:v>
                      </c:pt>
                      <c:pt idx="4077">
                        <c:v>104.2</c:v>
                      </c:pt>
                      <c:pt idx="4078">
                        <c:v>91.63</c:v>
                      </c:pt>
                      <c:pt idx="4079">
                        <c:v>99.95</c:v>
                      </c:pt>
                      <c:pt idx="4080">
                        <c:v>91.43</c:v>
                      </c:pt>
                      <c:pt idx="4081">
                        <c:v>86.85</c:v>
                      </c:pt>
                      <c:pt idx="4082">
                        <c:v>85.78</c:v>
                      </c:pt>
                      <c:pt idx="4083">
                        <c:v>83.47</c:v>
                      </c:pt>
                      <c:pt idx="4084">
                        <c:v>86.41</c:v>
                      </c:pt>
                      <c:pt idx="4085">
                        <c:v>112.55</c:v>
                      </c:pt>
                      <c:pt idx="4086">
                        <c:v>116.83</c:v>
                      </c:pt>
                      <c:pt idx="4087">
                        <c:v>107.33</c:v>
                      </c:pt>
                      <c:pt idx="4088">
                        <c:v>86.31</c:v>
                      </c:pt>
                      <c:pt idx="4089">
                        <c:v>75.099999999999994</c:v>
                      </c:pt>
                      <c:pt idx="4090">
                        <c:v>66.23</c:v>
                      </c:pt>
                      <c:pt idx="4091">
                        <c:v>58.03</c:v>
                      </c:pt>
                      <c:pt idx="4092">
                        <c:v>39.840000000000003</c:v>
                      </c:pt>
                      <c:pt idx="4093">
                        <c:v>22.41</c:v>
                      </c:pt>
                      <c:pt idx="4094">
                        <c:v>23.56</c:v>
                      </c:pt>
                      <c:pt idx="4095">
                        <c:v>59.9</c:v>
                      </c:pt>
                      <c:pt idx="4096">
                        <c:v>70</c:v>
                      </c:pt>
                      <c:pt idx="4097">
                        <c:v>88.44</c:v>
                      </c:pt>
                      <c:pt idx="4098">
                        <c:v>102.9</c:v>
                      </c:pt>
                      <c:pt idx="4099">
                        <c:v>143.66</c:v>
                      </c:pt>
                      <c:pt idx="4100">
                        <c:v>115.08</c:v>
                      </c:pt>
                      <c:pt idx="4101">
                        <c:v>108.26</c:v>
                      </c:pt>
                      <c:pt idx="4102">
                        <c:v>93.21</c:v>
                      </c:pt>
                      <c:pt idx="4103">
                        <c:v>85.89</c:v>
                      </c:pt>
                      <c:pt idx="4104">
                        <c:v>78.62</c:v>
                      </c:pt>
                      <c:pt idx="4105">
                        <c:v>78.88</c:v>
                      </c:pt>
                      <c:pt idx="4106">
                        <c:v>78.819999999999993</c:v>
                      </c:pt>
                      <c:pt idx="4107">
                        <c:v>78.62</c:v>
                      </c:pt>
                      <c:pt idx="4108">
                        <c:v>86.55</c:v>
                      </c:pt>
                      <c:pt idx="4109">
                        <c:v>114.11</c:v>
                      </c:pt>
                      <c:pt idx="4110">
                        <c:v>112.84</c:v>
                      </c:pt>
                      <c:pt idx="4111">
                        <c:v>102.99</c:v>
                      </c:pt>
                      <c:pt idx="4112">
                        <c:v>80.69</c:v>
                      </c:pt>
                      <c:pt idx="4113">
                        <c:v>69.13</c:v>
                      </c:pt>
                      <c:pt idx="4114">
                        <c:v>58.77</c:v>
                      </c:pt>
                      <c:pt idx="4115">
                        <c:v>55.46</c:v>
                      </c:pt>
                      <c:pt idx="4116">
                        <c:v>53.81</c:v>
                      </c:pt>
                      <c:pt idx="4117">
                        <c:v>57.18</c:v>
                      </c:pt>
                      <c:pt idx="4118">
                        <c:v>68.58</c:v>
                      </c:pt>
                      <c:pt idx="4119">
                        <c:v>80</c:v>
                      </c:pt>
                      <c:pt idx="4120">
                        <c:v>98.27</c:v>
                      </c:pt>
                      <c:pt idx="4121">
                        <c:v>119.31</c:v>
                      </c:pt>
                      <c:pt idx="4122">
                        <c:v>155.62</c:v>
                      </c:pt>
                      <c:pt idx="4123">
                        <c:v>200.09</c:v>
                      </c:pt>
                      <c:pt idx="4124">
                        <c:v>130.06</c:v>
                      </c:pt>
                      <c:pt idx="4125">
                        <c:v>111.83</c:v>
                      </c:pt>
                      <c:pt idx="4126">
                        <c:v>95.05</c:v>
                      </c:pt>
                      <c:pt idx="4127">
                        <c:v>100.81</c:v>
                      </c:pt>
                      <c:pt idx="4128">
                        <c:v>90.77</c:v>
                      </c:pt>
                      <c:pt idx="4129">
                        <c:v>89.95</c:v>
                      </c:pt>
                      <c:pt idx="4130">
                        <c:v>87.83</c:v>
                      </c:pt>
                      <c:pt idx="4131">
                        <c:v>86.31</c:v>
                      </c:pt>
                      <c:pt idx="4132">
                        <c:v>86.14</c:v>
                      </c:pt>
                      <c:pt idx="4133">
                        <c:v>96.92</c:v>
                      </c:pt>
                      <c:pt idx="4134">
                        <c:v>122.8</c:v>
                      </c:pt>
                      <c:pt idx="4135">
                        <c:v>121.84</c:v>
                      </c:pt>
                      <c:pt idx="4136">
                        <c:v>111.67</c:v>
                      </c:pt>
                      <c:pt idx="4137">
                        <c:v>100.65</c:v>
                      </c:pt>
                      <c:pt idx="4138">
                        <c:v>89.94</c:v>
                      </c:pt>
                      <c:pt idx="4139">
                        <c:v>88.54</c:v>
                      </c:pt>
                      <c:pt idx="4140">
                        <c:v>82.68</c:v>
                      </c:pt>
                      <c:pt idx="4141">
                        <c:v>78.22</c:v>
                      </c:pt>
                      <c:pt idx="4142">
                        <c:v>82.03</c:v>
                      </c:pt>
                      <c:pt idx="4143">
                        <c:v>88.85</c:v>
                      </c:pt>
                      <c:pt idx="4144">
                        <c:v>100.65</c:v>
                      </c:pt>
                      <c:pt idx="4145">
                        <c:v>110</c:v>
                      </c:pt>
                      <c:pt idx="4146">
                        <c:v>116.93</c:v>
                      </c:pt>
                      <c:pt idx="4147">
                        <c:v>114.4</c:v>
                      </c:pt>
                      <c:pt idx="4148">
                        <c:v>105.26</c:v>
                      </c:pt>
                      <c:pt idx="4149">
                        <c:v>95.99</c:v>
                      </c:pt>
                      <c:pt idx="4150">
                        <c:v>82.14</c:v>
                      </c:pt>
                      <c:pt idx="4151">
                        <c:v>80.069999999999993</c:v>
                      </c:pt>
                      <c:pt idx="4152">
                        <c:v>70.25</c:v>
                      </c:pt>
                      <c:pt idx="4153">
                        <c:v>62.43</c:v>
                      </c:pt>
                      <c:pt idx="4154">
                        <c:v>50.5</c:v>
                      </c:pt>
                      <c:pt idx="4155">
                        <c:v>49.62</c:v>
                      </c:pt>
                      <c:pt idx="4156">
                        <c:v>46.47</c:v>
                      </c:pt>
                      <c:pt idx="4157">
                        <c:v>60.56</c:v>
                      </c:pt>
                      <c:pt idx="4158">
                        <c:v>48.89</c:v>
                      </c:pt>
                      <c:pt idx="4159">
                        <c:v>44.92</c:v>
                      </c:pt>
                      <c:pt idx="4160">
                        <c:v>34.65</c:v>
                      </c:pt>
                      <c:pt idx="4161">
                        <c:v>12.54</c:v>
                      </c:pt>
                      <c:pt idx="4162">
                        <c:v>3.59</c:v>
                      </c:pt>
                      <c:pt idx="4163">
                        <c:v>2.62</c:v>
                      </c:pt>
                      <c:pt idx="4164">
                        <c:v>0.03</c:v>
                      </c:pt>
                      <c:pt idx="4165">
                        <c:v>-0.01</c:v>
                      </c:pt>
                      <c:pt idx="4166">
                        <c:v>-7.0000000000000007E-2</c:v>
                      </c:pt>
                      <c:pt idx="4167">
                        <c:v>4.2300000000000004</c:v>
                      </c:pt>
                      <c:pt idx="4168">
                        <c:v>42.59</c:v>
                      </c:pt>
                      <c:pt idx="4169">
                        <c:v>80.489999999999995</c:v>
                      </c:pt>
                      <c:pt idx="4170">
                        <c:v>112.16</c:v>
                      </c:pt>
                      <c:pt idx="4171">
                        <c:v>122.81</c:v>
                      </c:pt>
                      <c:pt idx="4172">
                        <c:v>124.05</c:v>
                      </c:pt>
                      <c:pt idx="4173">
                        <c:v>110.17</c:v>
                      </c:pt>
                      <c:pt idx="4174">
                        <c:v>89.77</c:v>
                      </c:pt>
                      <c:pt idx="4175">
                        <c:v>90.49</c:v>
                      </c:pt>
                      <c:pt idx="4176">
                        <c:v>79.25</c:v>
                      </c:pt>
                      <c:pt idx="4177">
                        <c:v>71.239999999999995</c:v>
                      </c:pt>
                      <c:pt idx="4178">
                        <c:v>70.67</c:v>
                      </c:pt>
                      <c:pt idx="4179">
                        <c:v>66.94</c:v>
                      </c:pt>
                      <c:pt idx="4180">
                        <c:v>62.09</c:v>
                      </c:pt>
                      <c:pt idx="4181">
                        <c:v>57.9</c:v>
                      </c:pt>
                      <c:pt idx="4182">
                        <c:v>46.35</c:v>
                      </c:pt>
                      <c:pt idx="4183">
                        <c:v>19.77</c:v>
                      </c:pt>
                      <c:pt idx="4184">
                        <c:v>4.24</c:v>
                      </c:pt>
                      <c:pt idx="4185">
                        <c:v>0</c:v>
                      </c:pt>
                      <c:pt idx="4186">
                        <c:v>-0.05</c:v>
                      </c:pt>
                      <c:pt idx="4187">
                        <c:v>-0.1</c:v>
                      </c:pt>
                      <c:pt idx="4188">
                        <c:v>-1.05</c:v>
                      </c:pt>
                      <c:pt idx="4189">
                        <c:v>-2.21</c:v>
                      </c:pt>
                      <c:pt idx="4190">
                        <c:v>-2.0499999999999998</c:v>
                      </c:pt>
                      <c:pt idx="4191">
                        <c:v>-0.27</c:v>
                      </c:pt>
                      <c:pt idx="4192">
                        <c:v>22.61</c:v>
                      </c:pt>
                      <c:pt idx="4193">
                        <c:v>71.12</c:v>
                      </c:pt>
                      <c:pt idx="4194">
                        <c:v>99.5</c:v>
                      </c:pt>
                      <c:pt idx="4195">
                        <c:v>115.14</c:v>
                      </c:pt>
                      <c:pt idx="4196">
                        <c:v>115.44</c:v>
                      </c:pt>
                      <c:pt idx="4197">
                        <c:v>114.33</c:v>
                      </c:pt>
                      <c:pt idx="4198">
                        <c:v>99.79</c:v>
                      </c:pt>
                      <c:pt idx="4199">
                        <c:v>106.18</c:v>
                      </c:pt>
                      <c:pt idx="4200">
                        <c:v>92.19</c:v>
                      </c:pt>
                      <c:pt idx="4201">
                        <c:v>84.93</c:v>
                      </c:pt>
                      <c:pt idx="4202">
                        <c:v>84.46</c:v>
                      </c:pt>
                      <c:pt idx="4203">
                        <c:v>84.96</c:v>
                      </c:pt>
                      <c:pt idx="4204">
                        <c:v>97.02</c:v>
                      </c:pt>
                      <c:pt idx="4205">
                        <c:v>136.06</c:v>
                      </c:pt>
                      <c:pt idx="4206">
                        <c:v>136</c:v>
                      </c:pt>
                      <c:pt idx="4207">
                        <c:v>102.99</c:v>
                      </c:pt>
                      <c:pt idx="4208">
                        <c:v>79.34</c:v>
                      </c:pt>
                      <c:pt idx="4209">
                        <c:v>53.88</c:v>
                      </c:pt>
                      <c:pt idx="4210">
                        <c:v>37.81</c:v>
                      </c:pt>
                      <c:pt idx="4211">
                        <c:v>31.19</c:v>
                      </c:pt>
                      <c:pt idx="4212">
                        <c:v>29.96</c:v>
                      </c:pt>
                      <c:pt idx="4213">
                        <c:v>30.93</c:v>
                      </c:pt>
                      <c:pt idx="4214">
                        <c:v>47.85</c:v>
                      </c:pt>
                      <c:pt idx="4215">
                        <c:v>66.319999999999993</c:v>
                      </c:pt>
                      <c:pt idx="4216">
                        <c:v>82.49</c:v>
                      </c:pt>
                      <c:pt idx="4217">
                        <c:v>98.39</c:v>
                      </c:pt>
                      <c:pt idx="4218">
                        <c:v>153.30000000000001</c:v>
                      </c:pt>
                      <c:pt idx="4219">
                        <c:v>209.32</c:v>
                      </c:pt>
                      <c:pt idx="4220">
                        <c:v>156</c:v>
                      </c:pt>
                      <c:pt idx="4221">
                        <c:v>116.59</c:v>
                      </c:pt>
                      <c:pt idx="4222">
                        <c:v>91.89</c:v>
                      </c:pt>
                      <c:pt idx="4223">
                        <c:v>88.8</c:v>
                      </c:pt>
                      <c:pt idx="4224">
                        <c:v>84.8</c:v>
                      </c:pt>
                      <c:pt idx="4225">
                        <c:v>84.78</c:v>
                      </c:pt>
                      <c:pt idx="4226">
                        <c:v>85.22</c:v>
                      </c:pt>
                      <c:pt idx="4227">
                        <c:v>85.5</c:v>
                      </c:pt>
                      <c:pt idx="4228">
                        <c:v>94.9</c:v>
                      </c:pt>
                      <c:pt idx="4229">
                        <c:v>114.8</c:v>
                      </c:pt>
                      <c:pt idx="4230">
                        <c:v>122</c:v>
                      </c:pt>
                      <c:pt idx="4231">
                        <c:v>103.8</c:v>
                      </c:pt>
                      <c:pt idx="4232">
                        <c:v>74.64</c:v>
                      </c:pt>
                      <c:pt idx="4233">
                        <c:v>48.32</c:v>
                      </c:pt>
                      <c:pt idx="4234">
                        <c:v>12.83</c:v>
                      </c:pt>
                      <c:pt idx="4235">
                        <c:v>0</c:v>
                      </c:pt>
                      <c:pt idx="4236">
                        <c:v>-0.05</c:v>
                      </c:pt>
                      <c:pt idx="4237">
                        <c:v>-0.04</c:v>
                      </c:pt>
                      <c:pt idx="4238">
                        <c:v>11.59</c:v>
                      </c:pt>
                      <c:pt idx="4239">
                        <c:v>48.37</c:v>
                      </c:pt>
                      <c:pt idx="4240">
                        <c:v>74</c:v>
                      </c:pt>
                      <c:pt idx="4241">
                        <c:v>95.9</c:v>
                      </c:pt>
                      <c:pt idx="4242">
                        <c:v>128.9</c:v>
                      </c:pt>
                      <c:pt idx="4243">
                        <c:v>136.69</c:v>
                      </c:pt>
                      <c:pt idx="4244">
                        <c:v>122.09</c:v>
                      </c:pt>
                      <c:pt idx="4245">
                        <c:v>106.57</c:v>
                      </c:pt>
                      <c:pt idx="4246">
                        <c:v>89.95</c:v>
                      </c:pt>
                      <c:pt idx="4247">
                        <c:v>300.02999999999997</c:v>
                      </c:pt>
                      <c:pt idx="4248">
                        <c:v>235.13</c:v>
                      </c:pt>
                      <c:pt idx="4249">
                        <c:v>279.75</c:v>
                      </c:pt>
                      <c:pt idx="4250">
                        <c:v>400</c:v>
                      </c:pt>
                      <c:pt idx="4251">
                        <c:v>400.04</c:v>
                      </c:pt>
                      <c:pt idx="4252">
                        <c:v>988.71</c:v>
                      </c:pt>
                      <c:pt idx="4253">
                        <c:v>2325.83</c:v>
                      </c:pt>
                      <c:pt idx="4254">
                        <c:v>1000</c:v>
                      </c:pt>
                      <c:pt idx="4255">
                        <c:v>400.01</c:v>
                      </c:pt>
                      <c:pt idx="4256">
                        <c:v>98.1</c:v>
                      </c:pt>
                      <c:pt idx="4257">
                        <c:v>61.48</c:v>
                      </c:pt>
                      <c:pt idx="4258">
                        <c:v>24.94</c:v>
                      </c:pt>
                      <c:pt idx="4259">
                        <c:v>-0.06</c:v>
                      </c:pt>
                      <c:pt idx="4260">
                        <c:v>-0.02</c:v>
                      </c:pt>
                      <c:pt idx="4261">
                        <c:v>6.23</c:v>
                      </c:pt>
                      <c:pt idx="4262">
                        <c:v>65.03</c:v>
                      </c:pt>
                      <c:pt idx="4263">
                        <c:v>75.84</c:v>
                      </c:pt>
                      <c:pt idx="4264">
                        <c:v>142.69</c:v>
                      </c:pt>
                      <c:pt idx="4265">
                        <c:v>400.07</c:v>
                      </c:pt>
                      <c:pt idx="4266">
                        <c:v>999.09</c:v>
                      </c:pt>
                      <c:pt idx="4267">
                        <c:v>1796.32</c:v>
                      </c:pt>
                      <c:pt idx="4268">
                        <c:v>1004.66</c:v>
                      </c:pt>
                      <c:pt idx="4269">
                        <c:v>404.91</c:v>
                      </c:pt>
                      <c:pt idx="4270">
                        <c:v>400.06</c:v>
                      </c:pt>
                      <c:pt idx="4271">
                        <c:v>96</c:v>
                      </c:pt>
                      <c:pt idx="4272">
                        <c:v>86.9</c:v>
                      </c:pt>
                      <c:pt idx="4273">
                        <c:v>80.400000000000006</c:v>
                      </c:pt>
                      <c:pt idx="4274">
                        <c:v>82.84</c:v>
                      </c:pt>
                      <c:pt idx="4275">
                        <c:v>78.790000000000006</c:v>
                      </c:pt>
                      <c:pt idx="4276">
                        <c:v>84.98</c:v>
                      </c:pt>
                      <c:pt idx="4277">
                        <c:v>117.51</c:v>
                      </c:pt>
                      <c:pt idx="4278">
                        <c:v>125.11</c:v>
                      </c:pt>
                      <c:pt idx="4279">
                        <c:v>115</c:v>
                      </c:pt>
                      <c:pt idx="4280">
                        <c:v>88.87</c:v>
                      </c:pt>
                      <c:pt idx="4281">
                        <c:v>66.739999999999995</c:v>
                      </c:pt>
                      <c:pt idx="4282">
                        <c:v>52.4</c:v>
                      </c:pt>
                      <c:pt idx="4283">
                        <c:v>48.82</c:v>
                      </c:pt>
                      <c:pt idx="4284">
                        <c:v>45.31</c:v>
                      </c:pt>
                      <c:pt idx="4285">
                        <c:v>44.56</c:v>
                      </c:pt>
                      <c:pt idx="4286">
                        <c:v>48.39</c:v>
                      </c:pt>
                      <c:pt idx="4287">
                        <c:v>61.92</c:v>
                      </c:pt>
                      <c:pt idx="4288">
                        <c:v>75.59</c:v>
                      </c:pt>
                      <c:pt idx="4289">
                        <c:v>79.53</c:v>
                      </c:pt>
                      <c:pt idx="4290">
                        <c:v>110.08</c:v>
                      </c:pt>
                      <c:pt idx="4291">
                        <c:v>200.04</c:v>
                      </c:pt>
                      <c:pt idx="4292">
                        <c:v>186.18</c:v>
                      </c:pt>
                      <c:pt idx="4293">
                        <c:v>125.21</c:v>
                      </c:pt>
                      <c:pt idx="4294">
                        <c:v>101.8</c:v>
                      </c:pt>
                      <c:pt idx="4295">
                        <c:v>96.85</c:v>
                      </c:pt>
                      <c:pt idx="4296">
                        <c:v>95.42</c:v>
                      </c:pt>
                      <c:pt idx="4297">
                        <c:v>86.08</c:v>
                      </c:pt>
                      <c:pt idx="4298">
                        <c:v>79.97</c:v>
                      </c:pt>
                      <c:pt idx="4299">
                        <c:v>83.61</c:v>
                      </c:pt>
                      <c:pt idx="4300">
                        <c:v>91.28</c:v>
                      </c:pt>
                      <c:pt idx="4301">
                        <c:v>120.29</c:v>
                      </c:pt>
                      <c:pt idx="4302">
                        <c:v>108.93</c:v>
                      </c:pt>
                      <c:pt idx="4303">
                        <c:v>84.89</c:v>
                      </c:pt>
                      <c:pt idx="4304">
                        <c:v>59.9</c:v>
                      </c:pt>
                      <c:pt idx="4305">
                        <c:v>24.45</c:v>
                      </c:pt>
                      <c:pt idx="4306">
                        <c:v>2.0299999999999998</c:v>
                      </c:pt>
                      <c:pt idx="4307">
                        <c:v>-1.56</c:v>
                      </c:pt>
                      <c:pt idx="4308">
                        <c:v>-5.09</c:v>
                      </c:pt>
                      <c:pt idx="4309">
                        <c:v>-9.9499999999999993</c:v>
                      </c:pt>
                      <c:pt idx="4310">
                        <c:v>-9.91</c:v>
                      </c:pt>
                      <c:pt idx="4311">
                        <c:v>-6.48</c:v>
                      </c:pt>
                      <c:pt idx="4312">
                        <c:v>3.62</c:v>
                      </c:pt>
                      <c:pt idx="4313">
                        <c:v>41.98</c:v>
                      </c:pt>
                      <c:pt idx="4314">
                        <c:v>84.32</c:v>
                      </c:pt>
                      <c:pt idx="4315">
                        <c:v>108.93</c:v>
                      </c:pt>
                      <c:pt idx="4316">
                        <c:v>138.06</c:v>
                      </c:pt>
                      <c:pt idx="4317">
                        <c:v>126.57</c:v>
                      </c:pt>
                      <c:pt idx="4318">
                        <c:v>109.02</c:v>
                      </c:pt>
                      <c:pt idx="4319">
                        <c:v>110.4</c:v>
                      </c:pt>
                      <c:pt idx="4320">
                        <c:v>109.91</c:v>
                      </c:pt>
                      <c:pt idx="4321">
                        <c:v>109.89</c:v>
                      </c:pt>
                      <c:pt idx="4322">
                        <c:v>109.56</c:v>
                      </c:pt>
                      <c:pt idx="4323">
                        <c:v>108.09</c:v>
                      </c:pt>
                      <c:pt idx="4324">
                        <c:v>103.07</c:v>
                      </c:pt>
                      <c:pt idx="4325">
                        <c:v>96.62</c:v>
                      </c:pt>
                      <c:pt idx="4326">
                        <c:v>84.14</c:v>
                      </c:pt>
                      <c:pt idx="4327">
                        <c:v>66.91</c:v>
                      </c:pt>
                      <c:pt idx="4328">
                        <c:v>29.58</c:v>
                      </c:pt>
                      <c:pt idx="4329">
                        <c:v>5.04</c:v>
                      </c:pt>
                      <c:pt idx="4330">
                        <c:v>0.04</c:v>
                      </c:pt>
                      <c:pt idx="4331">
                        <c:v>-0.02</c:v>
                      </c:pt>
                      <c:pt idx="4332">
                        <c:v>-0.23</c:v>
                      </c:pt>
                      <c:pt idx="4333">
                        <c:v>-0.08</c:v>
                      </c:pt>
                      <c:pt idx="4334">
                        <c:v>1.3</c:v>
                      </c:pt>
                      <c:pt idx="4335">
                        <c:v>11.91</c:v>
                      </c:pt>
                      <c:pt idx="4336">
                        <c:v>69.510000000000005</c:v>
                      </c:pt>
                      <c:pt idx="4337">
                        <c:v>104.3</c:v>
                      </c:pt>
                      <c:pt idx="4338">
                        <c:v>126.93</c:v>
                      </c:pt>
                      <c:pt idx="4339">
                        <c:v>139.19999999999999</c:v>
                      </c:pt>
                      <c:pt idx="4340">
                        <c:v>113.3</c:v>
                      </c:pt>
                      <c:pt idx="4341">
                        <c:v>100.08</c:v>
                      </c:pt>
                      <c:pt idx="4342">
                        <c:v>93.83</c:v>
                      </c:pt>
                      <c:pt idx="4343">
                        <c:v>70.06</c:v>
                      </c:pt>
                      <c:pt idx="4344">
                        <c:v>61.69</c:v>
                      </c:pt>
                      <c:pt idx="4345">
                        <c:v>66.67</c:v>
                      </c:pt>
                      <c:pt idx="4346">
                        <c:v>67.05</c:v>
                      </c:pt>
                      <c:pt idx="4347">
                        <c:v>64.36</c:v>
                      </c:pt>
                      <c:pt idx="4348">
                        <c:v>51.39</c:v>
                      </c:pt>
                      <c:pt idx="4349">
                        <c:v>51.56</c:v>
                      </c:pt>
                      <c:pt idx="4350">
                        <c:v>20.420000000000002</c:v>
                      </c:pt>
                      <c:pt idx="4351">
                        <c:v>6.83</c:v>
                      </c:pt>
                      <c:pt idx="4352">
                        <c:v>0.82</c:v>
                      </c:pt>
                      <c:pt idx="4353">
                        <c:v>0</c:v>
                      </c:pt>
                      <c:pt idx="4354">
                        <c:v>0</c:v>
                      </c:pt>
                      <c:pt idx="4355">
                        <c:v>-0.02</c:v>
                      </c:pt>
                      <c:pt idx="4356">
                        <c:v>-1.51</c:v>
                      </c:pt>
                      <c:pt idx="4357">
                        <c:v>-1.0900000000000001</c:v>
                      </c:pt>
                      <c:pt idx="4358">
                        <c:v>0</c:v>
                      </c:pt>
                      <c:pt idx="4359">
                        <c:v>0.91</c:v>
                      </c:pt>
                      <c:pt idx="4360">
                        <c:v>36.659999999999997</c:v>
                      </c:pt>
                      <c:pt idx="4361">
                        <c:v>70.02</c:v>
                      </c:pt>
                      <c:pt idx="4362">
                        <c:v>87.26</c:v>
                      </c:pt>
                      <c:pt idx="4363">
                        <c:v>99.9</c:v>
                      </c:pt>
                      <c:pt idx="4364">
                        <c:v>102.39</c:v>
                      </c:pt>
                      <c:pt idx="4365">
                        <c:v>102.16</c:v>
                      </c:pt>
                      <c:pt idx="4366">
                        <c:v>93.01</c:v>
                      </c:pt>
                      <c:pt idx="4367">
                        <c:v>94.88</c:v>
                      </c:pt>
                      <c:pt idx="4368">
                        <c:v>84.32</c:v>
                      </c:pt>
                      <c:pt idx="4369">
                        <c:v>78.19</c:v>
                      </c:pt>
                      <c:pt idx="4370">
                        <c:v>78.010000000000005</c:v>
                      </c:pt>
                      <c:pt idx="4371">
                        <c:v>75.63</c:v>
                      </c:pt>
                      <c:pt idx="4372">
                        <c:v>80.819999999999993</c:v>
                      </c:pt>
                      <c:pt idx="4373">
                        <c:v>122.19</c:v>
                      </c:pt>
                      <c:pt idx="4374">
                        <c:v>141.30000000000001</c:v>
                      </c:pt>
                      <c:pt idx="4375">
                        <c:v>142.36000000000001</c:v>
                      </c:pt>
                      <c:pt idx="4376">
                        <c:v>115.57</c:v>
                      </c:pt>
                      <c:pt idx="4377">
                        <c:v>107.01</c:v>
                      </c:pt>
                      <c:pt idx="4378">
                        <c:v>91.67</c:v>
                      </c:pt>
                      <c:pt idx="4379">
                        <c:v>77.38</c:v>
                      </c:pt>
                      <c:pt idx="4380">
                        <c:v>69.900000000000006</c:v>
                      </c:pt>
                      <c:pt idx="4381">
                        <c:v>39.92</c:v>
                      </c:pt>
                      <c:pt idx="4382">
                        <c:v>34.61</c:v>
                      </c:pt>
                      <c:pt idx="4383">
                        <c:v>37.630000000000003</c:v>
                      </c:pt>
                      <c:pt idx="4384">
                        <c:v>62.2</c:v>
                      </c:pt>
                      <c:pt idx="4385">
                        <c:v>78.040000000000006</c:v>
                      </c:pt>
                      <c:pt idx="4386">
                        <c:v>102.47</c:v>
                      </c:pt>
                      <c:pt idx="4387">
                        <c:v>166.79</c:v>
                      </c:pt>
                      <c:pt idx="4388">
                        <c:v>129.1</c:v>
                      </c:pt>
                      <c:pt idx="4389">
                        <c:v>107.51</c:v>
                      </c:pt>
                      <c:pt idx="4390">
                        <c:v>87.88</c:v>
                      </c:pt>
                      <c:pt idx="4391">
                        <c:v>81.59</c:v>
                      </c:pt>
                      <c:pt idx="4392">
                        <c:v>79.930000000000007</c:v>
                      </c:pt>
                      <c:pt idx="4393">
                        <c:v>82.07</c:v>
                      </c:pt>
                      <c:pt idx="4394">
                        <c:v>80.95</c:v>
                      </c:pt>
                      <c:pt idx="4395">
                        <c:v>81.99</c:v>
                      </c:pt>
                      <c:pt idx="4396">
                        <c:v>81.99</c:v>
                      </c:pt>
                      <c:pt idx="4397">
                        <c:v>96.5</c:v>
                      </c:pt>
                      <c:pt idx="4398">
                        <c:v>100.69</c:v>
                      </c:pt>
                      <c:pt idx="4399">
                        <c:v>101.27</c:v>
                      </c:pt>
                      <c:pt idx="4400">
                        <c:v>87.5</c:v>
                      </c:pt>
                      <c:pt idx="4401">
                        <c:v>83.11</c:v>
                      </c:pt>
                      <c:pt idx="4402">
                        <c:v>74.56</c:v>
                      </c:pt>
                      <c:pt idx="4403">
                        <c:v>72.72</c:v>
                      </c:pt>
                      <c:pt idx="4404">
                        <c:v>69.16</c:v>
                      </c:pt>
                      <c:pt idx="4405">
                        <c:v>60.93</c:v>
                      </c:pt>
                      <c:pt idx="4406">
                        <c:v>62.73</c:v>
                      </c:pt>
                      <c:pt idx="4407">
                        <c:v>74.22</c:v>
                      </c:pt>
                      <c:pt idx="4408">
                        <c:v>75.900000000000006</c:v>
                      </c:pt>
                      <c:pt idx="4409">
                        <c:v>84.79</c:v>
                      </c:pt>
                      <c:pt idx="4410">
                        <c:v>103.63</c:v>
                      </c:pt>
                      <c:pt idx="4411">
                        <c:v>115</c:v>
                      </c:pt>
                      <c:pt idx="4412">
                        <c:v>109.96</c:v>
                      </c:pt>
                      <c:pt idx="4413">
                        <c:v>109.05</c:v>
                      </c:pt>
                      <c:pt idx="4414">
                        <c:v>86</c:v>
                      </c:pt>
                      <c:pt idx="4415">
                        <c:v>68.19</c:v>
                      </c:pt>
                      <c:pt idx="4416">
                        <c:v>65.3</c:v>
                      </c:pt>
                      <c:pt idx="4417">
                        <c:v>63.18</c:v>
                      </c:pt>
                      <c:pt idx="4418">
                        <c:v>65.58</c:v>
                      </c:pt>
                      <c:pt idx="4419">
                        <c:v>71.14</c:v>
                      </c:pt>
                      <c:pt idx="4420">
                        <c:v>78.91</c:v>
                      </c:pt>
                      <c:pt idx="4421">
                        <c:v>100.25</c:v>
                      </c:pt>
                      <c:pt idx="4422">
                        <c:v>116.51</c:v>
                      </c:pt>
                      <c:pt idx="4423">
                        <c:v>115</c:v>
                      </c:pt>
                      <c:pt idx="4424">
                        <c:v>90.59</c:v>
                      </c:pt>
                      <c:pt idx="4425">
                        <c:v>76.63</c:v>
                      </c:pt>
                      <c:pt idx="4426">
                        <c:v>73.099999999999994</c:v>
                      </c:pt>
                      <c:pt idx="4427">
                        <c:v>71.760000000000005</c:v>
                      </c:pt>
                      <c:pt idx="4428">
                        <c:v>71.14</c:v>
                      </c:pt>
                      <c:pt idx="4429">
                        <c:v>73.12</c:v>
                      </c:pt>
                      <c:pt idx="4430">
                        <c:v>71.98</c:v>
                      </c:pt>
                      <c:pt idx="4431">
                        <c:v>74.010000000000005</c:v>
                      </c:pt>
                      <c:pt idx="4432">
                        <c:v>86.97</c:v>
                      </c:pt>
                      <c:pt idx="4433">
                        <c:v>99.6</c:v>
                      </c:pt>
                      <c:pt idx="4434">
                        <c:v>118.79</c:v>
                      </c:pt>
                      <c:pt idx="4435">
                        <c:v>163.89</c:v>
                      </c:pt>
                      <c:pt idx="4436">
                        <c:v>115.88</c:v>
                      </c:pt>
                      <c:pt idx="4437">
                        <c:v>95.32</c:v>
                      </c:pt>
                      <c:pt idx="4438">
                        <c:v>76.099999999999994</c:v>
                      </c:pt>
                      <c:pt idx="4439">
                        <c:v>64.239999999999995</c:v>
                      </c:pt>
                      <c:pt idx="4440">
                        <c:v>51.94</c:v>
                      </c:pt>
                      <c:pt idx="4441">
                        <c:v>26.46</c:v>
                      </c:pt>
                      <c:pt idx="4442">
                        <c:v>18.010000000000002</c:v>
                      </c:pt>
                      <c:pt idx="4443">
                        <c:v>10.08</c:v>
                      </c:pt>
                      <c:pt idx="4444">
                        <c:v>10.27</c:v>
                      </c:pt>
                      <c:pt idx="4445">
                        <c:v>36.43</c:v>
                      </c:pt>
                      <c:pt idx="4446">
                        <c:v>40</c:v>
                      </c:pt>
                      <c:pt idx="4447">
                        <c:v>33.56</c:v>
                      </c:pt>
                      <c:pt idx="4448">
                        <c:v>22.65</c:v>
                      </c:pt>
                      <c:pt idx="4449">
                        <c:v>1.9</c:v>
                      </c:pt>
                      <c:pt idx="4450">
                        <c:v>0</c:v>
                      </c:pt>
                      <c:pt idx="4451">
                        <c:v>-0.04</c:v>
                      </c:pt>
                      <c:pt idx="4452">
                        <c:v>-5.03</c:v>
                      </c:pt>
                      <c:pt idx="4453">
                        <c:v>-19.09</c:v>
                      </c:pt>
                      <c:pt idx="4454">
                        <c:v>-18.03</c:v>
                      </c:pt>
                      <c:pt idx="4455">
                        <c:v>-8.6999999999999993</c:v>
                      </c:pt>
                      <c:pt idx="4456">
                        <c:v>-0.03</c:v>
                      </c:pt>
                      <c:pt idx="4457">
                        <c:v>6.77</c:v>
                      </c:pt>
                      <c:pt idx="4458">
                        <c:v>49.85</c:v>
                      </c:pt>
                      <c:pt idx="4459">
                        <c:v>86.91</c:v>
                      </c:pt>
                      <c:pt idx="4460">
                        <c:v>115.3</c:v>
                      </c:pt>
                      <c:pt idx="4461">
                        <c:v>86.91</c:v>
                      </c:pt>
                      <c:pt idx="4462">
                        <c:v>64.010000000000005</c:v>
                      </c:pt>
                      <c:pt idx="4463">
                        <c:v>31.41</c:v>
                      </c:pt>
                      <c:pt idx="4464">
                        <c:v>20.13</c:v>
                      </c:pt>
                      <c:pt idx="4465">
                        <c:v>20.59</c:v>
                      </c:pt>
                      <c:pt idx="4466">
                        <c:v>19.79</c:v>
                      </c:pt>
                      <c:pt idx="4467">
                        <c:v>8.98</c:v>
                      </c:pt>
                      <c:pt idx="4468">
                        <c:v>10.01</c:v>
                      </c:pt>
                      <c:pt idx="4469">
                        <c:v>38.19</c:v>
                      </c:pt>
                      <c:pt idx="4470">
                        <c:v>45.75</c:v>
                      </c:pt>
                      <c:pt idx="4471">
                        <c:v>39.43</c:v>
                      </c:pt>
                      <c:pt idx="4472">
                        <c:v>18.559999999999999</c:v>
                      </c:pt>
                      <c:pt idx="4473">
                        <c:v>2.95</c:v>
                      </c:pt>
                      <c:pt idx="4474">
                        <c:v>0.41</c:v>
                      </c:pt>
                      <c:pt idx="4475">
                        <c:v>-0.05</c:v>
                      </c:pt>
                      <c:pt idx="4476">
                        <c:v>-0.64</c:v>
                      </c:pt>
                      <c:pt idx="4477">
                        <c:v>-0.78</c:v>
                      </c:pt>
                      <c:pt idx="4478">
                        <c:v>-0.03</c:v>
                      </c:pt>
                      <c:pt idx="4479">
                        <c:v>1.93</c:v>
                      </c:pt>
                      <c:pt idx="4480">
                        <c:v>16.809999999999999</c:v>
                      </c:pt>
                      <c:pt idx="4481">
                        <c:v>64.349999999999994</c:v>
                      </c:pt>
                      <c:pt idx="4482">
                        <c:v>90.09</c:v>
                      </c:pt>
                      <c:pt idx="4483">
                        <c:v>142.36000000000001</c:v>
                      </c:pt>
                      <c:pt idx="4484">
                        <c:v>130.38</c:v>
                      </c:pt>
                      <c:pt idx="4485">
                        <c:v>102.22</c:v>
                      </c:pt>
                      <c:pt idx="4486">
                        <c:v>84.95</c:v>
                      </c:pt>
                      <c:pt idx="4487">
                        <c:v>89.1</c:v>
                      </c:pt>
                      <c:pt idx="4488">
                        <c:v>70.709999999999994</c:v>
                      </c:pt>
                      <c:pt idx="4489">
                        <c:v>63.52</c:v>
                      </c:pt>
                      <c:pt idx="4490">
                        <c:v>46.46</c:v>
                      </c:pt>
                      <c:pt idx="4491">
                        <c:v>38.619999999999997</c:v>
                      </c:pt>
                      <c:pt idx="4492">
                        <c:v>15.69</c:v>
                      </c:pt>
                      <c:pt idx="4493">
                        <c:v>5.73</c:v>
                      </c:pt>
                      <c:pt idx="4494">
                        <c:v>5.37</c:v>
                      </c:pt>
                      <c:pt idx="4495">
                        <c:v>3.39</c:v>
                      </c:pt>
                      <c:pt idx="4496">
                        <c:v>0</c:v>
                      </c:pt>
                      <c:pt idx="4497">
                        <c:v>-9.92</c:v>
                      </c:pt>
                      <c:pt idx="4498">
                        <c:v>-28.87</c:v>
                      </c:pt>
                      <c:pt idx="4499">
                        <c:v>-32.69</c:v>
                      </c:pt>
                      <c:pt idx="4500">
                        <c:v>-44.1</c:v>
                      </c:pt>
                      <c:pt idx="4501">
                        <c:v>-48.07</c:v>
                      </c:pt>
                      <c:pt idx="4502">
                        <c:v>-34.840000000000003</c:v>
                      </c:pt>
                      <c:pt idx="4503">
                        <c:v>-13.68</c:v>
                      </c:pt>
                      <c:pt idx="4504">
                        <c:v>-0.06</c:v>
                      </c:pt>
                      <c:pt idx="4505">
                        <c:v>1.88</c:v>
                      </c:pt>
                      <c:pt idx="4506">
                        <c:v>0.22</c:v>
                      </c:pt>
                      <c:pt idx="4507">
                        <c:v>6.69</c:v>
                      </c:pt>
                      <c:pt idx="4508">
                        <c:v>9.4</c:v>
                      </c:pt>
                      <c:pt idx="4509">
                        <c:v>18</c:v>
                      </c:pt>
                      <c:pt idx="4510">
                        <c:v>14.02</c:v>
                      </c:pt>
                      <c:pt idx="4511">
                        <c:v>-0.03</c:v>
                      </c:pt>
                      <c:pt idx="4512">
                        <c:v>-0.1</c:v>
                      </c:pt>
                      <c:pt idx="4513">
                        <c:v>-0.8</c:v>
                      </c:pt>
                      <c:pt idx="4514">
                        <c:v>-0.48</c:v>
                      </c:pt>
                      <c:pt idx="4515">
                        <c:v>-0.06</c:v>
                      </c:pt>
                      <c:pt idx="4516">
                        <c:v>-0.01</c:v>
                      </c:pt>
                      <c:pt idx="4517">
                        <c:v>-0.01</c:v>
                      </c:pt>
                      <c:pt idx="4518">
                        <c:v>-0.01</c:v>
                      </c:pt>
                      <c:pt idx="4519">
                        <c:v>-0.6</c:v>
                      </c:pt>
                      <c:pt idx="4520">
                        <c:v>-6.49</c:v>
                      </c:pt>
                      <c:pt idx="4521">
                        <c:v>-9.98</c:v>
                      </c:pt>
                      <c:pt idx="4522">
                        <c:v>-12.04</c:v>
                      </c:pt>
                      <c:pt idx="4523">
                        <c:v>-13.49</c:v>
                      </c:pt>
                      <c:pt idx="4524">
                        <c:v>-22.37</c:v>
                      </c:pt>
                      <c:pt idx="4525">
                        <c:v>-20.98</c:v>
                      </c:pt>
                      <c:pt idx="4526">
                        <c:v>-12.2</c:v>
                      </c:pt>
                      <c:pt idx="4527">
                        <c:v>-6.16</c:v>
                      </c:pt>
                      <c:pt idx="4528">
                        <c:v>-0.08</c:v>
                      </c:pt>
                      <c:pt idx="4529">
                        <c:v>63.99</c:v>
                      </c:pt>
                      <c:pt idx="4530">
                        <c:v>90.27</c:v>
                      </c:pt>
                      <c:pt idx="4531">
                        <c:v>125.64</c:v>
                      </c:pt>
                      <c:pt idx="4532">
                        <c:v>133.16999999999999</c:v>
                      </c:pt>
                      <c:pt idx="4533">
                        <c:v>115.2</c:v>
                      </c:pt>
                      <c:pt idx="4534">
                        <c:v>97.13</c:v>
                      </c:pt>
                      <c:pt idx="4535">
                        <c:v>81.62</c:v>
                      </c:pt>
                      <c:pt idx="4536">
                        <c:v>76.650000000000006</c:v>
                      </c:pt>
                      <c:pt idx="4537">
                        <c:v>74.08</c:v>
                      </c:pt>
                      <c:pt idx="4538">
                        <c:v>77.72</c:v>
                      </c:pt>
                      <c:pt idx="4539">
                        <c:v>76.28</c:v>
                      </c:pt>
                      <c:pt idx="4540">
                        <c:v>80.44</c:v>
                      </c:pt>
                      <c:pt idx="4541">
                        <c:v>112.18</c:v>
                      </c:pt>
                      <c:pt idx="4542">
                        <c:v>125</c:v>
                      </c:pt>
                      <c:pt idx="4543">
                        <c:v>100.64</c:v>
                      </c:pt>
                      <c:pt idx="4544">
                        <c:v>77.61</c:v>
                      </c:pt>
                      <c:pt idx="4545">
                        <c:v>53.93</c:v>
                      </c:pt>
                      <c:pt idx="4546">
                        <c:v>38.43</c:v>
                      </c:pt>
                      <c:pt idx="4547">
                        <c:v>31.79</c:v>
                      </c:pt>
                      <c:pt idx="4548">
                        <c:v>29.45</c:v>
                      </c:pt>
                      <c:pt idx="4549">
                        <c:v>29.56</c:v>
                      </c:pt>
                      <c:pt idx="4550">
                        <c:v>36.75</c:v>
                      </c:pt>
                      <c:pt idx="4551">
                        <c:v>64</c:v>
                      </c:pt>
                      <c:pt idx="4552">
                        <c:v>80.2</c:v>
                      </c:pt>
                      <c:pt idx="4553">
                        <c:v>102.63</c:v>
                      </c:pt>
                      <c:pt idx="4554">
                        <c:v>136.49</c:v>
                      </c:pt>
                      <c:pt idx="4555">
                        <c:v>257.35000000000002</c:v>
                      </c:pt>
                      <c:pt idx="4556">
                        <c:v>173.69</c:v>
                      </c:pt>
                      <c:pt idx="4557">
                        <c:v>113.65</c:v>
                      </c:pt>
                      <c:pt idx="4558">
                        <c:v>92.02</c:v>
                      </c:pt>
                      <c:pt idx="4559">
                        <c:v>105.52</c:v>
                      </c:pt>
                      <c:pt idx="4560">
                        <c:v>95.96</c:v>
                      </c:pt>
                      <c:pt idx="4561">
                        <c:v>93.08</c:v>
                      </c:pt>
                      <c:pt idx="4562">
                        <c:v>91.14</c:v>
                      </c:pt>
                      <c:pt idx="4563">
                        <c:v>87.66</c:v>
                      </c:pt>
                      <c:pt idx="4564">
                        <c:v>96.83</c:v>
                      </c:pt>
                      <c:pt idx="4565">
                        <c:v>111.38</c:v>
                      </c:pt>
                      <c:pt idx="4566">
                        <c:v>103.76</c:v>
                      </c:pt>
                      <c:pt idx="4567">
                        <c:v>94</c:v>
                      </c:pt>
                      <c:pt idx="4568">
                        <c:v>67.260000000000005</c:v>
                      </c:pt>
                      <c:pt idx="4569">
                        <c:v>46.63</c:v>
                      </c:pt>
                      <c:pt idx="4570">
                        <c:v>33.71</c:v>
                      </c:pt>
                      <c:pt idx="4571">
                        <c:v>21.95</c:v>
                      </c:pt>
                      <c:pt idx="4572">
                        <c:v>5.04</c:v>
                      </c:pt>
                      <c:pt idx="4573">
                        <c:v>2.71</c:v>
                      </c:pt>
                      <c:pt idx="4574">
                        <c:v>11.08</c:v>
                      </c:pt>
                      <c:pt idx="4575">
                        <c:v>53.73</c:v>
                      </c:pt>
                      <c:pt idx="4576">
                        <c:v>81.69</c:v>
                      </c:pt>
                      <c:pt idx="4577">
                        <c:v>99.27</c:v>
                      </c:pt>
                      <c:pt idx="4578">
                        <c:v>151.5</c:v>
                      </c:pt>
                      <c:pt idx="4579">
                        <c:v>147.63999999999999</c:v>
                      </c:pt>
                      <c:pt idx="4580">
                        <c:v>108.12</c:v>
                      </c:pt>
                      <c:pt idx="4581">
                        <c:v>86.07</c:v>
                      </c:pt>
                      <c:pt idx="4582">
                        <c:v>68.89</c:v>
                      </c:pt>
                      <c:pt idx="4583">
                        <c:v>55</c:v>
                      </c:pt>
                      <c:pt idx="4584">
                        <c:v>54.9</c:v>
                      </c:pt>
                      <c:pt idx="4585">
                        <c:v>53.92</c:v>
                      </c:pt>
                      <c:pt idx="4586">
                        <c:v>54.98</c:v>
                      </c:pt>
                      <c:pt idx="4587">
                        <c:v>59.92</c:v>
                      </c:pt>
                      <c:pt idx="4588">
                        <c:v>66.14</c:v>
                      </c:pt>
                      <c:pt idx="4589">
                        <c:v>84.46</c:v>
                      </c:pt>
                      <c:pt idx="4590">
                        <c:v>106.46</c:v>
                      </c:pt>
                      <c:pt idx="4591">
                        <c:v>102.01</c:v>
                      </c:pt>
                      <c:pt idx="4592">
                        <c:v>84.93</c:v>
                      </c:pt>
                      <c:pt idx="4593">
                        <c:v>65</c:v>
                      </c:pt>
                      <c:pt idx="4594">
                        <c:v>55.77</c:v>
                      </c:pt>
                      <c:pt idx="4595">
                        <c:v>47.13</c:v>
                      </c:pt>
                      <c:pt idx="4596">
                        <c:v>44.58</c:v>
                      </c:pt>
                      <c:pt idx="4597">
                        <c:v>55</c:v>
                      </c:pt>
                      <c:pt idx="4598">
                        <c:v>58.43</c:v>
                      </c:pt>
                      <c:pt idx="4599">
                        <c:v>67.48</c:v>
                      </c:pt>
                      <c:pt idx="4600">
                        <c:v>80.14</c:v>
                      </c:pt>
                      <c:pt idx="4601">
                        <c:v>80.73</c:v>
                      </c:pt>
                      <c:pt idx="4602">
                        <c:v>99.72</c:v>
                      </c:pt>
                      <c:pt idx="4603">
                        <c:v>148.61000000000001</c:v>
                      </c:pt>
                      <c:pt idx="4604">
                        <c:v>164.08</c:v>
                      </c:pt>
                      <c:pt idx="4605">
                        <c:v>113.97</c:v>
                      </c:pt>
                      <c:pt idx="4606">
                        <c:v>92.92</c:v>
                      </c:pt>
                      <c:pt idx="4607">
                        <c:v>96.02</c:v>
                      </c:pt>
                      <c:pt idx="4608">
                        <c:v>79.95</c:v>
                      </c:pt>
                      <c:pt idx="4609">
                        <c:v>77.06</c:v>
                      </c:pt>
                      <c:pt idx="4610">
                        <c:v>79.599999999999994</c:v>
                      </c:pt>
                      <c:pt idx="4611">
                        <c:v>80.31</c:v>
                      </c:pt>
                      <c:pt idx="4612">
                        <c:v>81.98</c:v>
                      </c:pt>
                      <c:pt idx="4613">
                        <c:v>107.71</c:v>
                      </c:pt>
                      <c:pt idx="4614">
                        <c:v>120</c:v>
                      </c:pt>
                      <c:pt idx="4615">
                        <c:v>106.53</c:v>
                      </c:pt>
                      <c:pt idx="4616">
                        <c:v>89.11</c:v>
                      </c:pt>
                      <c:pt idx="4617">
                        <c:v>80.69</c:v>
                      </c:pt>
                      <c:pt idx="4618">
                        <c:v>66.599999999999994</c:v>
                      </c:pt>
                      <c:pt idx="4619">
                        <c:v>57.44</c:v>
                      </c:pt>
                      <c:pt idx="4620">
                        <c:v>47.7</c:v>
                      </c:pt>
                      <c:pt idx="4621">
                        <c:v>44.48</c:v>
                      </c:pt>
                      <c:pt idx="4622">
                        <c:v>50.1</c:v>
                      </c:pt>
                      <c:pt idx="4623">
                        <c:v>60.98</c:v>
                      </c:pt>
                      <c:pt idx="4624">
                        <c:v>81.91</c:v>
                      </c:pt>
                      <c:pt idx="4625">
                        <c:v>91.58</c:v>
                      </c:pt>
                      <c:pt idx="4626">
                        <c:v>120</c:v>
                      </c:pt>
                      <c:pt idx="4627">
                        <c:v>184.33</c:v>
                      </c:pt>
                      <c:pt idx="4628">
                        <c:v>166.74</c:v>
                      </c:pt>
                      <c:pt idx="4629">
                        <c:v>121.59</c:v>
                      </c:pt>
                      <c:pt idx="4630">
                        <c:v>98.12</c:v>
                      </c:pt>
                      <c:pt idx="4631">
                        <c:v>102.42</c:v>
                      </c:pt>
                      <c:pt idx="4632">
                        <c:v>87.31</c:v>
                      </c:pt>
                      <c:pt idx="4633">
                        <c:v>82.87</c:v>
                      </c:pt>
                      <c:pt idx="4634">
                        <c:v>83.03</c:v>
                      </c:pt>
                      <c:pt idx="4635">
                        <c:v>82.21</c:v>
                      </c:pt>
                      <c:pt idx="4636">
                        <c:v>84.25</c:v>
                      </c:pt>
                      <c:pt idx="4637">
                        <c:v>107.94</c:v>
                      </c:pt>
                      <c:pt idx="4638">
                        <c:v>109.92</c:v>
                      </c:pt>
                      <c:pt idx="4639">
                        <c:v>109.6</c:v>
                      </c:pt>
                      <c:pt idx="4640">
                        <c:v>102.4</c:v>
                      </c:pt>
                      <c:pt idx="4641">
                        <c:v>95.87</c:v>
                      </c:pt>
                      <c:pt idx="4642">
                        <c:v>89.83</c:v>
                      </c:pt>
                      <c:pt idx="4643">
                        <c:v>83.25</c:v>
                      </c:pt>
                      <c:pt idx="4644">
                        <c:v>78.599999999999994</c:v>
                      </c:pt>
                      <c:pt idx="4645">
                        <c:v>78.040000000000006</c:v>
                      </c:pt>
                      <c:pt idx="4646">
                        <c:v>78.19</c:v>
                      </c:pt>
                      <c:pt idx="4647">
                        <c:v>85.71</c:v>
                      </c:pt>
                      <c:pt idx="4648">
                        <c:v>85.54</c:v>
                      </c:pt>
                      <c:pt idx="4649">
                        <c:v>92.26</c:v>
                      </c:pt>
                      <c:pt idx="4650">
                        <c:v>102.39</c:v>
                      </c:pt>
                      <c:pt idx="4651">
                        <c:v>93.29</c:v>
                      </c:pt>
                      <c:pt idx="4652">
                        <c:v>94.61</c:v>
                      </c:pt>
                      <c:pt idx="4653">
                        <c:v>85.66</c:v>
                      </c:pt>
                      <c:pt idx="4654">
                        <c:v>79.11</c:v>
                      </c:pt>
                      <c:pt idx="4655">
                        <c:v>50.65</c:v>
                      </c:pt>
                      <c:pt idx="4656">
                        <c:v>50.52</c:v>
                      </c:pt>
                      <c:pt idx="4657">
                        <c:v>36.92</c:v>
                      </c:pt>
                      <c:pt idx="4658">
                        <c:v>37.67</c:v>
                      </c:pt>
                      <c:pt idx="4659">
                        <c:v>32.72</c:v>
                      </c:pt>
                      <c:pt idx="4660">
                        <c:v>31.05</c:v>
                      </c:pt>
                      <c:pt idx="4661">
                        <c:v>30.66</c:v>
                      </c:pt>
                      <c:pt idx="4662">
                        <c:v>27.82</c:v>
                      </c:pt>
                      <c:pt idx="4663">
                        <c:v>26.6</c:v>
                      </c:pt>
                      <c:pt idx="4664">
                        <c:v>20.97</c:v>
                      </c:pt>
                      <c:pt idx="4665">
                        <c:v>5.16</c:v>
                      </c:pt>
                      <c:pt idx="4666">
                        <c:v>0.04</c:v>
                      </c:pt>
                      <c:pt idx="4667">
                        <c:v>-0.01</c:v>
                      </c:pt>
                      <c:pt idx="4668">
                        <c:v>-5</c:v>
                      </c:pt>
                      <c:pt idx="4669">
                        <c:v>-14.9</c:v>
                      </c:pt>
                      <c:pt idx="4670">
                        <c:v>-11.47</c:v>
                      </c:pt>
                      <c:pt idx="4671">
                        <c:v>-3.48</c:v>
                      </c:pt>
                      <c:pt idx="4672">
                        <c:v>-0.01</c:v>
                      </c:pt>
                      <c:pt idx="4673">
                        <c:v>28.77</c:v>
                      </c:pt>
                      <c:pt idx="4674">
                        <c:v>50.33</c:v>
                      </c:pt>
                      <c:pt idx="4675">
                        <c:v>75.45</c:v>
                      </c:pt>
                      <c:pt idx="4676">
                        <c:v>76.260000000000005</c:v>
                      </c:pt>
                      <c:pt idx="4677">
                        <c:v>78.84</c:v>
                      </c:pt>
                      <c:pt idx="4678">
                        <c:v>63</c:v>
                      </c:pt>
                      <c:pt idx="4679">
                        <c:v>88.95</c:v>
                      </c:pt>
                      <c:pt idx="4680">
                        <c:v>63.19</c:v>
                      </c:pt>
                      <c:pt idx="4681">
                        <c:v>55.45</c:v>
                      </c:pt>
                      <c:pt idx="4682">
                        <c:v>44.3</c:v>
                      </c:pt>
                      <c:pt idx="4683">
                        <c:v>37.93</c:v>
                      </c:pt>
                      <c:pt idx="4684">
                        <c:v>36.81</c:v>
                      </c:pt>
                      <c:pt idx="4685">
                        <c:v>31.96</c:v>
                      </c:pt>
                      <c:pt idx="4686">
                        <c:v>14.28</c:v>
                      </c:pt>
                      <c:pt idx="4687">
                        <c:v>0.28999999999999998</c:v>
                      </c:pt>
                      <c:pt idx="4688">
                        <c:v>-3.31</c:v>
                      </c:pt>
                      <c:pt idx="4689">
                        <c:v>-21.13</c:v>
                      </c:pt>
                      <c:pt idx="4690">
                        <c:v>-40.08</c:v>
                      </c:pt>
                      <c:pt idx="4691">
                        <c:v>-59.47</c:v>
                      </c:pt>
                      <c:pt idx="4692">
                        <c:v>-73.959999999999994</c:v>
                      </c:pt>
                      <c:pt idx="4693">
                        <c:v>-73.959999999999994</c:v>
                      </c:pt>
                      <c:pt idx="4694">
                        <c:v>-51.82</c:v>
                      </c:pt>
                      <c:pt idx="4695">
                        <c:v>-20.03</c:v>
                      </c:pt>
                      <c:pt idx="4696">
                        <c:v>-0.05</c:v>
                      </c:pt>
                      <c:pt idx="4697">
                        <c:v>46.54</c:v>
                      </c:pt>
                      <c:pt idx="4698">
                        <c:v>91.93</c:v>
                      </c:pt>
                      <c:pt idx="4699">
                        <c:v>115.8</c:v>
                      </c:pt>
                      <c:pt idx="4700">
                        <c:v>108.68</c:v>
                      </c:pt>
                      <c:pt idx="4701">
                        <c:v>105.84</c:v>
                      </c:pt>
                      <c:pt idx="4702">
                        <c:v>87.06</c:v>
                      </c:pt>
                      <c:pt idx="4703">
                        <c:v>79.349999999999994</c:v>
                      </c:pt>
                      <c:pt idx="4704">
                        <c:v>66.239999999999995</c:v>
                      </c:pt>
                      <c:pt idx="4705">
                        <c:v>58.17</c:v>
                      </c:pt>
                      <c:pt idx="4706">
                        <c:v>63.03</c:v>
                      </c:pt>
                      <c:pt idx="4707">
                        <c:v>67.819999999999993</c:v>
                      </c:pt>
                      <c:pt idx="4708">
                        <c:v>80.069999999999993</c:v>
                      </c:pt>
                      <c:pt idx="4709">
                        <c:v>120</c:v>
                      </c:pt>
                      <c:pt idx="4710">
                        <c:v>144.1</c:v>
                      </c:pt>
                      <c:pt idx="4711">
                        <c:v>89.77</c:v>
                      </c:pt>
                      <c:pt idx="4712">
                        <c:v>59.29</c:v>
                      </c:pt>
                      <c:pt idx="4713">
                        <c:v>35.520000000000003</c:v>
                      </c:pt>
                      <c:pt idx="4714">
                        <c:v>11.29</c:v>
                      </c:pt>
                      <c:pt idx="4715">
                        <c:v>7.0000000000000007E-2</c:v>
                      </c:pt>
                      <c:pt idx="4716">
                        <c:v>-0.01</c:v>
                      </c:pt>
                      <c:pt idx="4717">
                        <c:v>-7.0000000000000007E-2</c:v>
                      </c:pt>
                      <c:pt idx="4718">
                        <c:v>3.54</c:v>
                      </c:pt>
                      <c:pt idx="4719">
                        <c:v>44.29</c:v>
                      </c:pt>
                      <c:pt idx="4720">
                        <c:v>82</c:v>
                      </c:pt>
                      <c:pt idx="4721">
                        <c:v>114.35</c:v>
                      </c:pt>
                      <c:pt idx="4722">
                        <c:v>204.19</c:v>
                      </c:pt>
                      <c:pt idx="4723">
                        <c:v>224.96</c:v>
                      </c:pt>
                      <c:pt idx="4724">
                        <c:v>143.56</c:v>
                      </c:pt>
                      <c:pt idx="4725">
                        <c:v>92.48</c:v>
                      </c:pt>
                      <c:pt idx="4726">
                        <c:v>80.099999999999994</c:v>
                      </c:pt>
                      <c:pt idx="4727">
                        <c:v>76.59</c:v>
                      </c:pt>
                      <c:pt idx="4728">
                        <c:v>63.77</c:v>
                      </c:pt>
                      <c:pt idx="4729">
                        <c:v>52.49</c:v>
                      </c:pt>
                      <c:pt idx="4730">
                        <c:v>36.82</c:v>
                      </c:pt>
                      <c:pt idx="4731">
                        <c:v>38.159999999999997</c:v>
                      </c:pt>
                      <c:pt idx="4732">
                        <c:v>50.32</c:v>
                      </c:pt>
                      <c:pt idx="4733">
                        <c:v>80.349999999999994</c:v>
                      </c:pt>
                      <c:pt idx="4734">
                        <c:v>90.95</c:v>
                      </c:pt>
                      <c:pt idx="4735">
                        <c:v>84.31</c:v>
                      </c:pt>
                      <c:pt idx="4736">
                        <c:v>62.77</c:v>
                      </c:pt>
                      <c:pt idx="4737">
                        <c:v>21.49</c:v>
                      </c:pt>
                      <c:pt idx="4738">
                        <c:v>0.06</c:v>
                      </c:pt>
                      <c:pt idx="4739">
                        <c:v>-8.0299999999999994</c:v>
                      </c:pt>
                      <c:pt idx="4740">
                        <c:v>-11.03</c:v>
                      </c:pt>
                      <c:pt idx="4741">
                        <c:v>-11.48</c:v>
                      </c:pt>
                      <c:pt idx="4742">
                        <c:v>-11.14</c:v>
                      </c:pt>
                      <c:pt idx="4743">
                        <c:v>-2.2999999999999998</c:v>
                      </c:pt>
                      <c:pt idx="4744">
                        <c:v>22.12</c:v>
                      </c:pt>
                      <c:pt idx="4745">
                        <c:v>63.02</c:v>
                      </c:pt>
                      <c:pt idx="4746">
                        <c:v>81.99</c:v>
                      </c:pt>
                      <c:pt idx="4747">
                        <c:v>121.6</c:v>
                      </c:pt>
                      <c:pt idx="4748">
                        <c:v>114.28</c:v>
                      </c:pt>
                      <c:pt idx="4749">
                        <c:v>105.81</c:v>
                      </c:pt>
                      <c:pt idx="4750">
                        <c:v>84.31</c:v>
                      </c:pt>
                      <c:pt idx="4751">
                        <c:v>87.4</c:v>
                      </c:pt>
                      <c:pt idx="4752">
                        <c:v>72.98</c:v>
                      </c:pt>
                      <c:pt idx="4753">
                        <c:v>72.819999999999993</c:v>
                      </c:pt>
                      <c:pt idx="4754">
                        <c:v>70.53</c:v>
                      </c:pt>
                      <c:pt idx="4755">
                        <c:v>71.05</c:v>
                      </c:pt>
                      <c:pt idx="4756">
                        <c:v>77.44</c:v>
                      </c:pt>
                      <c:pt idx="4757">
                        <c:v>90.05</c:v>
                      </c:pt>
                      <c:pt idx="4758">
                        <c:v>99.76</c:v>
                      </c:pt>
                      <c:pt idx="4759">
                        <c:v>105.7</c:v>
                      </c:pt>
                      <c:pt idx="4760">
                        <c:v>77.14</c:v>
                      </c:pt>
                      <c:pt idx="4761">
                        <c:v>58.19</c:v>
                      </c:pt>
                      <c:pt idx="4762">
                        <c:v>41.75</c:v>
                      </c:pt>
                      <c:pt idx="4763">
                        <c:v>32.590000000000003</c:v>
                      </c:pt>
                      <c:pt idx="4764">
                        <c:v>21.85</c:v>
                      </c:pt>
                      <c:pt idx="4765">
                        <c:v>10.8</c:v>
                      </c:pt>
                      <c:pt idx="4766">
                        <c:v>13.47</c:v>
                      </c:pt>
                      <c:pt idx="4767">
                        <c:v>38.880000000000003</c:v>
                      </c:pt>
                      <c:pt idx="4768">
                        <c:v>61.68</c:v>
                      </c:pt>
                      <c:pt idx="4769">
                        <c:v>82.93</c:v>
                      </c:pt>
                      <c:pt idx="4770">
                        <c:v>106.89</c:v>
                      </c:pt>
                      <c:pt idx="4771">
                        <c:v>187.95</c:v>
                      </c:pt>
                      <c:pt idx="4772">
                        <c:v>143.47</c:v>
                      </c:pt>
                      <c:pt idx="4773">
                        <c:v>114.91</c:v>
                      </c:pt>
                      <c:pt idx="4774">
                        <c:v>92.81</c:v>
                      </c:pt>
                      <c:pt idx="4775">
                        <c:v>89.97</c:v>
                      </c:pt>
                      <c:pt idx="4776">
                        <c:v>80.290000000000006</c:v>
                      </c:pt>
                      <c:pt idx="4777">
                        <c:v>79.05</c:v>
                      </c:pt>
                      <c:pt idx="4778">
                        <c:v>78.540000000000006</c:v>
                      </c:pt>
                      <c:pt idx="4779">
                        <c:v>79.27</c:v>
                      </c:pt>
                      <c:pt idx="4780">
                        <c:v>92.1</c:v>
                      </c:pt>
                      <c:pt idx="4781">
                        <c:v>120.88</c:v>
                      </c:pt>
                      <c:pt idx="4782">
                        <c:v>107.27</c:v>
                      </c:pt>
                      <c:pt idx="4783">
                        <c:v>96.74</c:v>
                      </c:pt>
                      <c:pt idx="4784">
                        <c:v>79.22</c:v>
                      </c:pt>
                      <c:pt idx="4785">
                        <c:v>63.84</c:v>
                      </c:pt>
                      <c:pt idx="4786">
                        <c:v>47.13</c:v>
                      </c:pt>
                      <c:pt idx="4787">
                        <c:v>35.01</c:v>
                      </c:pt>
                      <c:pt idx="4788">
                        <c:v>33.96</c:v>
                      </c:pt>
                      <c:pt idx="4789">
                        <c:v>37.01</c:v>
                      </c:pt>
                      <c:pt idx="4790">
                        <c:v>48.78</c:v>
                      </c:pt>
                      <c:pt idx="4791">
                        <c:v>67.56</c:v>
                      </c:pt>
                      <c:pt idx="4792">
                        <c:v>85.48</c:v>
                      </c:pt>
                      <c:pt idx="4793">
                        <c:v>92</c:v>
                      </c:pt>
                      <c:pt idx="4794">
                        <c:v>130.18</c:v>
                      </c:pt>
                      <c:pt idx="4795">
                        <c:v>227.6</c:v>
                      </c:pt>
                      <c:pt idx="4796">
                        <c:v>184.46</c:v>
                      </c:pt>
                      <c:pt idx="4797">
                        <c:v>119.54</c:v>
                      </c:pt>
                      <c:pt idx="4798">
                        <c:v>101.92</c:v>
                      </c:pt>
                      <c:pt idx="4799">
                        <c:v>90.11</c:v>
                      </c:pt>
                      <c:pt idx="4800">
                        <c:v>80.45</c:v>
                      </c:pt>
                      <c:pt idx="4801">
                        <c:v>79.91</c:v>
                      </c:pt>
                      <c:pt idx="4802">
                        <c:v>79.290000000000006</c:v>
                      </c:pt>
                      <c:pt idx="4803">
                        <c:v>83.38</c:v>
                      </c:pt>
                      <c:pt idx="4804">
                        <c:v>91.38</c:v>
                      </c:pt>
                      <c:pt idx="4805">
                        <c:v>115.6</c:v>
                      </c:pt>
                      <c:pt idx="4806">
                        <c:v>110.72</c:v>
                      </c:pt>
                      <c:pt idx="4807">
                        <c:v>98.4</c:v>
                      </c:pt>
                      <c:pt idx="4808">
                        <c:v>81.430000000000007</c:v>
                      </c:pt>
                      <c:pt idx="4809">
                        <c:v>70</c:v>
                      </c:pt>
                      <c:pt idx="4810">
                        <c:v>58.75</c:v>
                      </c:pt>
                      <c:pt idx="4811">
                        <c:v>44.34</c:v>
                      </c:pt>
                      <c:pt idx="4812">
                        <c:v>36.5</c:v>
                      </c:pt>
                      <c:pt idx="4813">
                        <c:v>36.200000000000003</c:v>
                      </c:pt>
                      <c:pt idx="4814">
                        <c:v>42.54</c:v>
                      </c:pt>
                      <c:pt idx="4815">
                        <c:v>63.79</c:v>
                      </c:pt>
                      <c:pt idx="4816">
                        <c:v>77.34</c:v>
                      </c:pt>
                      <c:pt idx="4817">
                        <c:v>91.61</c:v>
                      </c:pt>
                      <c:pt idx="4818">
                        <c:v>121.02</c:v>
                      </c:pt>
                      <c:pt idx="4819">
                        <c:v>190.46</c:v>
                      </c:pt>
                      <c:pt idx="4820">
                        <c:v>120</c:v>
                      </c:pt>
                      <c:pt idx="4821">
                        <c:v>106.86</c:v>
                      </c:pt>
                      <c:pt idx="4822">
                        <c:v>91.55</c:v>
                      </c:pt>
                      <c:pt idx="4823">
                        <c:v>94.73</c:v>
                      </c:pt>
                      <c:pt idx="4824">
                        <c:v>89.41</c:v>
                      </c:pt>
                      <c:pt idx="4825">
                        <c:v>88.25</c:v>
                      </c:pt>
                      <c:pt idx="4826">
                        <c:v>89.88</c:v>
                      </c:pt>
                      <c:pt idx="4827">
                        <c:v>94.24</c:v>
                      </c:pt>
                      <c:pt idx="4828">
                        <c:v>93.8</c:v>
                      </c:pt>
                      <c:pt idx="4829">
                        <c:v>91.49</c:v>
                      </c:pt>
                      <c:pt idx="4830">
                        <c:v>85.99</c:v>
                      </c:pt>
                      <c:pt idx="4831">
                        <c:v>68.2</c:v>
                      </c:pt>
                      <c:pt idx="4832">
                        <c:v>49.8</c:v>
                      </c:pt>
                      <c:pt idx="4833">
                        <c:v>5.15</c:v>
                      </c:pt>
                      <c:pt idx="4834">
                        <c:v>0</c:v>
                      </c:pt>
                      <c:pt idx="4835">
                        <c:v>-4.6500000000000004</c:v>
                      </c:pt>
                      <c:pt idx="4836">
                        <c:v>-4.29</c:v>
                      </c:pt>
                      <c:pt idx="4837">
                        <c:v>-2.88</c:v>
                      </c:pt>
                      <c:pt idx="4838">
                        <c:v>-2.71</c:v>
                      </c:pt>
                      <c:pt idx="4839">
                        <c:v>2.42</c:v>
                      </c:pt>
                      <c:pt idx="4840">
                        <c:v>52.29</c:v>
                      </c:pt>
                      <c:pt idx="4841">
                        <c:v>85</c:v>
                      </c:pt>
                      <c:pt idx="4842">
                        <c:v>109.56</c:v>
                      </c:pt>
                      <c:pt idx="4843">
                        <c:v>134.75</c:v>
                      </c:pt>
                      <c:pt idx="4844">
                        <c:v>108.81</c:v>
                      </c:pt>
                      <c:pt idx="4845">
                        <c:v>84.1</c:v>
                      </c:pt>
                      <c:pt idx="4846">
                        <c:v>74.510000000000005</c:v>
                      </c:pt>
                      <c:pt idx="4847">
                        <c:v>63.63</c:v>
                      </c:pt>
                      <c:pt idx="4848">
                        <c:v>56.3</c:v>
                      </c:pt>
                      <c:pt idx="4849">
                        <c:v>55.2</c:v>
                      </c:pt>
                      <c:pt idx="4850">
                        <c:v>60.38</c:v>
                      </c:pt>
                      <c:pt idx="4851">
                        <c:v>68.61</c:v>
                      </c:pt>
                      <c:pt idx="4852">
                        <c:v>75.239999999999995</c:v>
                      </c:pt>
                      <c:pt idx="4853">
                        <c:v>81.37</c:v>
                      </c:pt>
                      <c:pt idx="4854">
                        <c:v>60.31</c:v>
                      </c:pt>
                      <c:pt idx="4855">
                        <c:v>48.68</c:v>
                      </c:pt>
                      <c:pt idx="4856">
                        <c:v>10.57</c:v>
                      </c:pt>
                      <c:pt idx="4857">
                        <c:v>7.0000000000000007E-2</c:v>
                      </c:pt>
                      <c:pt idx="4858">
                        <c:v>0.01</c:v>
                      </c:pt>
                      <c:pt idx="4859">
                        <c:v>0.01</c:v>
                      </c:pt>
                      <c:pt idx="4860">
                        <c:v>-0.08</c:v>
                      </c:pt>
                      <c:pt idx="4861">
                        <c:v>-0.21</c:v>
                      </c:pt>
                      <c:pt idx="4862">
                        <c:v>0.04</c:v>
                      </c:pt>
                      <c:pt idx="4863">
                        <c:v>0.11</c:v>
                      </c:pt>
                      <c:pt idx="4864">
                        <c:v>59.81</c:v>
                      </c:pt>
                      <c:pt idx="4865">
                        <c:v>94.27</c:v>
                      </c:pt>
                      <c:pt idx="4866">
                        <c:v>108.27</c:v>
                      </c:pt>
                      <c:pt idx="4867">
                        <c:v>127.68</c:v>
                      </c:pt>
                      <c:pt idx="4868">
                        <c:v>128.12</c:v>
                      </c:pt>
                      <c:pt idx="4869">
                        <c:v>111.85</c:v>
                      </c:pt>
                      <c:pt idx="4870">
                        <c:v>93.7</c:v>
                      </c:pt>
                      <c:pt idx="4871">
                        <c:v>122.1</c:v>
                      </c:pt>
                      <c:pt idx="4872">
                        <c:v>96.63</c:v>
                      </c:pt>
                      <c:pt idx="4873">
                        <c:v>86.88</c:v>
                      </c:pt>
                      <c:pt idx="4874">
                        <c:v>86.93</c:v>
                      </c:pt>
                      <c:pt idx="4875">
                        <c:v>86.14</c:v>
                      </c:pt>
                      <c:pt idx="4876">
                        <c:v>82.26</c:v>
                      </c:pt>
                      <c:pt idx="4877">
                        <c:v>119.48</c:v>
                      </c:pt>
                      <c:pt idx="4878">
                        <c:v>131.68</c:v>
                      </c:pt>
                      <c:pt idx="4879">
                        <c:v>126.05</c:v>
                      </c:pt>
                      <c:pt idx="4880">
                        <c:v>94.34</c:v>
                      </c:pt>
                      <c:pt idx="4881">
                        <c:v>75.14</c:v>
                      </c:pt>
                      <c:pt idx="4882">
                        <c:v>72.88</c:v>
                      </c:pt>
                      <c:pt idx="4883">
                        <c:v>66.22</c:v>
                      </c:pt>
                      <c:pt idx="4884">
                        <c:v>43.25</c:v>
                      </c:pt>
                      <c:pt idx="4885">
                        <c:v>19.41</c:v>
                      </c:pt>
                      <c:pt idx="4886">
                        <c:v>20.38</c:v>
                      </c:pt>
                      <c:pt idx="4887">
                        <c:v>48.46</c:v>
                      </c:pt>
                      <c:pt idx="4888">
                        <c:v>63.69</c:v>
                      </c:pt>
                      <c:pt idx="4889">
                        <c:v>81.150000000000006</c:v>
                      </c:pt>
                      <c:pt idx="4890">
                        <c:v>99.04</c:v>
                      </c:pt>
                      <c:pt idx="4891">
                        <c:v>186.24</c:v>
                      </c:pt>
                      <c:pt idx="4892">
                        <c:v>172.04</c:v>
                      </c:pt>
                      <c:pt idx="4893">
                        <c:v>111.04</c:v>
                      </c:pt>
                      <c:pt idx="4894">
                        <c:v>98</c:v>
                      </c:pt>
                      <c:pt idx="4895">
                        <c:v>83.39</c:v>
                      </c:pt>
                      <c:pt idx="4896">
                        <c:v>75.8</c:v>
                      </c:pt>
                      <c:pt idx="4897">
                        <c:v>76.7</c:v>
                      </c:pt>
                      <c:pt idx="4898">
                        <c:v>70.5</c:v>
                      </c:pt>
                      <c:pt idx="4899">
                        <c:v>73.83</c:v>
                      </c:pt>
                      <c:pt idx="4900">
                        <c:v>76.61</c:v>
                      </c:pt>
                      <c:pt idx="4901">
                        <c:v>106.73</c:v>
                      </c:pt>
                      <c:pt idx="4902">
                        <c:v>120.51</c:v>
                      </c:pt>
                      <c:pt idx="4903">
                        <c:v>115.21</c:v>
                      </c:pt>
                      <c:pt idx="4904">
                        <c:v>87.29</c:v>
                      </c:pt>
                      <c:pt idx="4905">
                        <c:v>68.87</c:v>
                      </c:pt>
                      <c:pt idx="4906">
                        <c:v>61.37</c:v>
                      </c:pt>
                      <c:pt idx="4907">
                        <c:v>43.42</c:v>
                      </c:pt>
                      <c:pt idx="4908">
                        <c:v>38.29</c:v>
                      </c:pt>
                      <c:pt idx="4909">
                        <c:v>36.01</c:v>
                      </c:pt>
                      <c:pt idx="4910">
                        <c:v>41.96</c:v>
                      </c:pt>
                      <c:pt idx="4911">
                        <c:v>64.86</c:v>
                      </c:pt>
                      <c:pt idx="4912">
                        <c:v>79.53</c:v>
                      </c:pt>
                      <c:pt idx="4913">
                        <c:v>79.92</c:v>
                      </c:pt>
                      <c:pt idx="4914">
                        <c:v>96.03</c:v>
                      </c:pt>
                      <c:pt idx="4915">
                        <c:v>118.52</c:v>
                      </c:pt>
                      <c:pt idx="4916">
                        <c:v>102.01</c:v>
                      </c:pt>
                      <c:pt idx="4917">
                        <c:v>99.23</c:v>
                      </c:pt>
                      <c:pt idx="4918">
                        <c:v>91.58</c:v>
                      </c:pt>
                      <c:pt idx="4919">
                        <c:v>83.55</c:v>
                      </c:pt>
                      <c:pt idx="4920">
                        <c:v>78.33</c:v>
                      </c:pt>
                      <c:pt idx="4921">
                        <c:v>72.56</c:v>
                      </c:pt>
                      <c:pt idx="4922">
                        <c:v>74.849999999999994</c:v>
                      </c:pt>
                      <c:pt idx="4923">
                        <c:v>74.989999999999995</c:v>
                      </c:pt>
                      <c:pt idx="4924">
                        <c:v>75.77</c:v>
                      </c:pt>
                      <c:pt idx="4925">
                        <c:v>103.07</c:v>
                      </c:pt>
                      <c:pt idx="4926">
                        <c:v>128.9</c:v>
                      </c:pt>
                      <c:pt idx="4927">
                        <c:v>99.19</c:v>
                      </c:pt>
                      <c:pt idx="4928">
                        <c:v>72.91</c:v>
                      </c:pt>
                      <c:pt idx="4929">
                        <c:v>54.9</c:v>
                      </c:pt>
                      <c:pt idx="4930">
                        <c:v>21.19</c:v>
                      </c:pt>
                      <c:pt idx="4931">
                        <c:v>1.58</c:v>
                      </c:pt>
                      <c:pt idx="4932">
                        <c:v>-0.15</c:v>
                      </c:pt>
                      <c:pt idx="4933">
                        <c:v>-2.06</c:v>
                      </c:pt>
                      <c:pt idx="4934">
                        <c:v>-1.96</c:v>
                      </c:pt>
                      <c:pt idx="4935">
                        <c:v>2.21</c:v>
                      </c:pt>
                      <c:pt idx="4936">
                        <c:v>39.270000000000003</c:v>
                      </c:pt>
                      <c:pt idx="4937">
                        <c:v>69.34</c:v>
                      </c:pt>
                      <c:pt idx="4938">
                        <c:v>95.9</c:v>
                      </c:pt>
                      <c:pt idx="4939">
                        <c:v>109.93</c:v>
                      </c:pt>
                      <c:pt idx="4940">
                        <c:v>121.82</c:v>
                      </c:pt>
                      <c:pt idx="4941">
                        <c:v>109.58</c:v>
                      </c:pt>
                      <c:pt idx="4942">
                        <c:v>95.03</c:v>
                      </c:pt>
                      <c:pt idx="4943">
                        <c:v>92.55</c:v>
                      </c:pt>
                      <c:pt idx="4944">
                        <c:v>87.2</c:v>
                      </c:pt>
                      <c:pt idx="4945">
                        <c:v>84.9</c:v>
                      </c:pt>
                      <c:pt idx="4946">
                        <c:v>79.92</c:v>
                      </c:pt>
                      <c:pt idx="4947">
                        <c:v>76.400000000000006</c:v>
                      </c:pt>
                      <c:pt idx="4948">
                        <c:v>92.53</c:v>
                      </c:pt>
                      <c:pt idx="4949">
                        <c:v>106.16</c:v>
                      </c:pt>
                      <c:pt idx="4950">
                        <c:v>116.86</c:v>
                      </c:pt>
                      <c:pt idx="4951">
                        <c:v>90.98</c:v>
                      </c:pt>
                      <c:pt idx="4952">
                        <c:v>71.98</c:v>
                      </c:pt>
                      <c:pt idx="4953">
                        <c:v>55.08</c:v>
                      </c:pt>
                      <c:pt idx="4954">
                        <c:v>36.950000000000003</c:v>
                      </c:pt>
                      <c:pt idx="4955">
                        <c:v>24.31</c:v>
                      </c:pt>
                      <c:pt idx="4956">
                        <c:v>17.36</c:v>
                      </c:pt>
                      <c:pt idx="4957">
                        <c:v>13.27</c:v>
                      </c:pt>
                      <c:pt idx="4958">
                        <c:v>26.2</c:v>
                      </c:pt>
                      <c:pt idx="4959">
                        <c:v>53.8</c:v>
                      </c:pt>
                      <c:pt idx="4960">
                        <c:v>80</c:v>
                      </c:pt>
                      <c:pt idx="4961">
                        <c:v>97</c:v>
                      </c:pt>
                      <c:pt idx="4962">
                        <c:v>126.93</c:v>
                      </c:pt>
                      <c:pt idx="4963">
                        <c:v>155.72</c:v>
                      </c:pt>
                      <c:pt idx="4964">
                        <c:v>131.61000000000001</c:v>
                      </c:pt>
                      <c:pt idx="4965">
                        <c:v>100</c:v>
                      </c:pt>
                      <c:pt idx="4966">
                        <c:v>84.95</c:v>
                      </c:pt>
                      <c:pt idx="4967">
                        <c:v>83.32</c:v>
                      </c:pt>
                      <c:pt idx="4968">
                        <c:v>73.900000000000006</c:v>
                      </c:pt>
                      <c:pt idx="4969">
                        <c:v>79.099999999999994</c:v>
                      </c:pt>
                      <c:pt idx="4970">
                        <c:v>81.61</c:v>
                      </c:pt>
                      <c:pt idx="4971">
                        <c:v>81.17</c:v>
                      </c:pt>
                      <c:pt idx="4972">
                        <c:v>83.21</c:v>
                      </c:pt>
                      <c:pt idx="4973">
                        <c:v>99.52</c:v>
                      </c:pt>
                      <c:pt idx="4974">
                        <c:v>116.56</c:v>
                      </c:pt>
                      <c:pt idx="4975">
                        <c:v>104.1</c:v>
                      </c:pt>
                      <c:pt idx="4976">
                        <c:v>96.83</c:v>
                      </c:pt>
                      <c:pt idx="4977">
                        <c:v>90.53</c:v>
                      </c:pt>
                      <c:pt idx="4978">
                        <c:v>81.349999999999994</c:v>
                      </c:pt>
                      <c:pt idx="4979">
                        <c:v>70</c:v>
                      </c:pt>
                      <c:pt idx="4980">
                        <c:v>63.12</c:v>
                      </c:pt>
                      <c:pt idx="4981">
                        <c:v>60.19</c:v>
                      </c:pt>
                      <c:pt idx="4982">
                        <c:v>68.14</c:v>
                      </c:pt>
                      <c:pt idx="4983">
                        <c:v>72.84</c:v>
                      </c:pt>
                      <c:pt idx="4984">
                        <c:v>88.52</c:v>
                      </c:pt>
                      <c:pt idx="4985">
                        <c:v>94.34</c:v>
                      </c:pt>
                      <c:pt idx="4986">
                        <c:v>107.79</c:v>
                      </c:pt>
                      <c:pt idx="4987">
                        <c:v>143.25</c:v>
                      </c:pt>
                      <c:pt idx="4988">
                        <c:v>139</c:v>
                      </c:pt>
                      <c:pt idx="4989">
                        <c:v>106.39</c:v>
                      </c:pt>
                      <c:pt idx="4990">
                        <c:v>97.91</c:v>
                      </c:pt>
                      <c:pt idx="4991">
                        <c:v>103.96</c:v>
                      </c:pt>
                      <c:pt idx="4992">
                        <c:v>103.41</c:v>
                      </c:pt>
                      <c:pt idx="4993">
                        <c:v>97.39</c:v>
                      </c:pt>
                      <c:pt idx="4994">
                        <c:v>95.25</c:v>
                      </c:pt>
                      <c:pt idx="4995">
                        <c:v>92.46</c:v>
                      </c:pt>
                      <c:pt idx="4996">
                        <c:v>90.51</c:v>
                      </c:pt>
                      <c:pt idx="4997">
                        <c:v>87.4</c:v>
                      </c:pt>
                      <c:pt idx="4998">
                        <c:v>82.75</c:v>
                      </c:pt>
                      <c:pt idx="4999">
                        <c:v>84.69</c:v>
                      </c:pt>
                      <c:pt idx="5000">
                        <c:v>67.67</c:v>
                      </c:pt>
                      <c:pt idx="5001">
                        <c:v>60.78</c:v>
                      </c:pt>
                      <c:pt idx="5002">
                        <c:v>39.9</c:v>
                      </c:pt>
                      <c:pt idx="5003">
                        <c:v>28</c:v>
                      </c:pt>
                      <c:pt idx="5004">
                        <c:v>17.8</c:v>
                      </c:pt>
                      <c:pt idx="5005">
                        <c:v>17.920000000000002</c:v>
                      </c:pt>
                      <c:pt idx="5006">
                        <c:v>35.020000000000003</c:v>
                      </c:pt>
                      <c:pt idx="5007">
                        <c:v>67.72</c:v>
                      </c:pt>
                      <c:pt idx="5008">
                        <c:v>94.73</c:v>
                      </c:pt>
                      <c:pt idx="5009">
                        <c:v>104.97</c:v>
                      </c:pt>
                      <c:pt idx="5010">
                        <c:v>116.69</c:v>
                      </c:pt>
                      <c:pt idx="5011">
                        <c:v>123.1</c:v>
                      </c:pt>
                      <c:pt idx="5012">
                        <c:v>121.82</c:v>
                      </c:pt>
                      <c:pt idx="5013">
                        <c:v>108.1</c:v>
                      </c:pt>
                      <c:pt idx="5014">
                        <c:v>97.94</c:v>
                      </c:pt>
                      <c:pt idx="5015">
                        <c:v>109.99</c:v>
                      </c:pt>
                      <c:pt idx="5016">
                        <c:v>95.11</c:v>
                      </c:pt>
                      <c:pt idx="5017">
                        <c:v>88.21</c:v>
                      </c:pt>
                      <c:pt idx="5018">
                        <c:v>81.53</c:v>
                      </c:pt>
                      <c:pt idx="5019">
                        <c:v>78.540000000000006</c:v>
                      </c:pt>
                      <c:pt idx="5020">
                        <c:v>79.260000000000005</c:v>
                      </c:pt>
                      <c:pt idx="5021">
                        <c:v>75.53</c:v>
                      </c:pt>
                      <c:pt idx="5022">
                        <c:v>72.61</c:v>
                      </c:pt>
                      <c:pt idx="5023">
                        <c:v>25.49</c:v>
                      </c:pt>
                      <c:pt idx="5024">
                        <c:v>4.92</c:v>
                      </c:pt>
                      <c:pt idx="5025">
                        <c:v>0</c:v>
                      </c:pt>
                      <c:pt idx="5026">
                        <c:v>-2.4300000000000002</c:v>
                      </c:pt>
                      <c:pt idx="5027">
                        <c:v>-16.63</c:v>
                      </c:pt>
                      <c:pt idx="5028">
                        <c:v>-39.909999999999997</c:v>
                      </c:pt>
                      <c:pt idx="5029">
                        <c:v>-48.69</c:v>
                      </c:pt>
                      <c:pt idx="5030">
                        <c:v>-33.53</c:v>
                      </c:pt>
                      <c:pt idx="5031">
                        <c:v>-13.77</c:v>
                      </c:pt>
                      <c:pt idx="5032">
                        <c:v>-1.99</c:v>
                      </c:pt>
                      <c:pt idx="5033">
                        <c:v>40.869999999999997</c:v>
                      </c:pt>
                      <c:pt idx="5034">
                        <c:v>92.48</c:v>
                      </c:pt>
                      <c:pt idx="5035">
                        <c:v>111.85</c:v>
                      </c:pt>
                      <c:pt idx="5036">
                        <c:v>115.66</c:v>
                      </c:pt>
                      <c:pt idx="5037">
                        <c:v>104.95</c:v>
                      </c:pt>
                      <c:pt idx="5038">
                        <c:v>84.46</c:v>
                      </c:pt>
                      <c:pt idx="5039">
                        <c:v>79.59</c:v>
                      </c:pt>
                      <c:pt idx="5040">
                        <c:v>76.03</c:v>
                      </c:pt>
                      <c:pt idx="5041">
                        <c:v>72.25</c:v>
                      </c:pt>
                      <c:pt idx="5042">
                        <c:v>76.290000000000006</c:v>
                      </c:pt>
                      <c:pt idx="5043">
                        <c:v>80</c:v>
                      </c:pt>
                      <c:pt idx="5044">
                        <c:v>101.3</c:v>
                      </c:pt>
                      <c:pt idx="5045">
                        <c:v>135</c:v>
                      </c:pt>
                      <c:pt idx="5046">
                        <c:v>121.66</c:v>
                      </c:pt>
                      <c:pt idx="5047">
                        <c:v>98.46</c:v>
                      </c:pt>
                      <c:pt idx="5048">
                        <c:v>63.66</c:v>
                      </c:pt>
                      <c:pt idx="5049">
                        <c:v>10.58</c:v>
                      </c:pt>
                      <c:pt idx="5050">
                        <c:v>-0.16</c:v>
                      </c:pt>
                      <c:pt idx="5051">
                        <c:v>-0.19</c:v>
                      </c:pt>
                      <c:pt idx="5052">
                        <c:v>-1.7</c:v>
                      </c:pt>
                      <c:pt idx="5053">
                        <c:v>-0.98</c:v>
                      </c:pt>
                      <c:pt idx="5054">
                        <c:v>-7.0000000000000007E-2</c:v>
                      </c:pt>
                      <c:pt idx="5055">
                        <c:v>13.74</c:v>
                      </c:pt>
                      <c:pt idx="5056">
                        <c:v>64.48</c:v>
                      </c:pt>
                      <c:pt idx="5057">
                        <c:v>96.91</c:v>
                      </c:pt>
                      <c:pt idx="5058">
                        <c:v>123.24</c:v>
                      </c:pt>
                      <c:pt idx="5059">
                        <c:v>178.07</c:v>
                      </c:pt>
                      <c:pt idx="5060">
                        <c:v>132.72</c:v>
                      </c:pt>
                      <c:pt idx="5061">
                        <c:v>107.8</c:v>
                      </c:pt>
                      <c:pt idx="5062">
                        <c:v>90.2</c:v>
                      </c:pt>
                      <c:pt idx="5063">
                        <c:v>78.010000000000005</c:v>
                      </c:pt>
                      <c:pt idx="5064">
                        <c:v>75.77</c:v>
                      </c:pt>
                      <c:pt idx="5065">
                        <c:v>79.27</c:v>
                      </c:pt>
                      <c:pt idx="5066">
                        <c:v>83.73</c:v>
                      </c:pt>
                      <c:pt idx="5067">
                        <c:v>88.59</c:v>
                      </c:pt>
                      <c:pt idx="5068">
                        <c:v>101.85</c:v>
                      </c:pt>
                      <c:pt idx="5069">
                        <c:v>115.64</c:v>
                      </c:pt>
                      <c:pt idx="5070">
                        <c:v>113.48</c:v>
                      </c:pt>
                      <c:pt idx="5071">
                        <c:v>99.65</c:v>
                      </c:pt>
                      <c:pt idx="5072">
                        <c:v>67.78</c:v>
                      </c:pt>
                      <c:pt idx="5073">
                        <c:v>37.520000000000003</c:v>
                      </c:pt>
                      <c:pt idx="5074">
                        <c:v>7.84</c:v>
                      </c:pt>
                      <c:pt idx="5075">
                        <c:v>1.0900000000000001</c:v>
                      </c:pt>
                      <c:pt idx="5076">
                        <c:v>-0.04</c:v>
                      </c:pt>
                      <c:pt idx="5077">
                        <c:v>-0.06</c:v>
                      </c:pt>
                      <c:pt idx="5078">
                        <c:v>13.25</c:v>
                      </c:pt>
                      <c:pt idx="5079">
                        <c:v>40.68</c:v>
                      </c:pt>
                      <c:pt idx="5080">
                        <c:v>78.099999999999994</c:v>
                      </c:pt>
                      <c:pt idx="5081">
                        <c:v>103.4</c:v>
                      </c:pt>
                      <c:pt idx="5082">
                        <c:v>129.44</c:v>
                      </c:pt>
                      <c:pt idx="5083">
                        <c:v>177.13</c:v>
                      </c:pt>
                      <c:pt idx="5084">
                        <c:v>147.66999999999999</c:v>
                      </c:pt>
                      <c:pt idx="5085">
                        <c:v>114.98</c:v>
                      </c:pt>
                      <c:pt idx="5086">
                        <c:v>99.04</c:v>
                      </c:pt>
                      <c:pt idx="5087">
                        <c:v>98.85</c:v>
                      </c:pt>
                      <c:pt idx="5088">
                        <c:v>87.29</c:v>
                      </c:pt>
                      <c:pt idx="5089">
                        <c:v>85.19</c:v>
                      </c:pt>
                      <c:pt idx="5090">
                        <c:v>82.9</c:v>
                      </c:pt>
                      <c:pt idx="5091">
                        <c:v>90.6</c:v>
                      </c:pt>
                      <c:pt idx="5092">
                        <c:v>102.39</c:v>
                      </c:pt>
                      <c:pt idx="5093">
                        <c:v>112.51</c:v>
                      </c:pt>
                      <c:pt idx="5094">
                        <c:v>110.14</c:v>
                      </c:pt>
                      <c:pt idx="5095">
                        <c:v>95.26</c:v>
                      </c:pt>
                      <c:pt idx="5096">
                        <c:v>79.02</c:v>
                      </c:pt>
                      <c:pt idx="5097">
                        <c:v>55.89</c:v>
                      </c:pt>
                      <c:pt idx="5098">
                        <c:v>33.46</c:v>
                      </c:pt>
                      <c:pt idx="5099">
                        <c:v>21.75</c:v>
                      </c:pt>
                      <c:pt idx="5100">
                        <c:v>11.36</c:v>
                      </c:pt>
                      <c:pt idx="5101">
                        <c:v>17.53</c:v>
                      </c:pt>
                      <c:pt idx="5102">
                        <c:v>31.74</c:v>
                      </c:pt>
                      <c:pt idx="5103">
                        <c:v>46.09</c:v>
                      </c:pt>
                      <c:pt idx="5104">
                        <c:v>75.849999999999994</c:v>
                      </c:pt>
                      <c:pt idx="5105">
                        <c:v>99.16</c:v>
                      </c:pt>
                      <c:pt idx="5106">
                        <c:v>115.39</c:v>
                      </c:pt>
                      <c:pt idx="5107">
                        <c:v>136.15</c:v>
                      </c:pt>
                      <c:pt idx="5108">
                        <c:v>116.19</c:v>
                      </c:pt>
                      <c:pt idx="5109">
                        <c:v>104.51</c:v>
                      </c:pt>
                      <c:pt idx="5110">
                        <c:v>96.49</c:v>
                      </c:pt>
                      <c:pt idx="5111">
                        <c:v>96.45</c:v>
                      </c:pt>
                      <c:pt idx="5112">
                        <c:v>92.4</c:v>
                      </c:pt>
                      <c:pt idx="5113">
                        <c:v>86.85</c:v>
                      </c:pt>
                      <c:pt idx="5114">
                        <c:v>84.11</c:v>
                      </c:pt>
                      <c:pt idx="5115">
                        <c:v>93.08</c:v>
                      </c:pt>
                      <c:pt idx="5116">
                        <c:v>112.71</c:v>
                      </c:pt>
                      <c:pt idx="5117">
                        <c:v>134.38999999999999</c:v>
                      </c:pt>
                      <c:pt idx="5118">
                        <c:v>109.52</c:v>
                      </c:pt>
                      <c:pt idx="5119">
                        <c:v>105.95</c:v>
                      </c:pt>
                      <c:pt idx="5120">
                        <c:v>90.1</c:v>
                      </c:pt>
                      <c:pt idx="5121">
                        <c:v>76.95</c:v>
                      </c:pt>
                      <c:pt idx="5122">
                        <c:v>67.64</c:v>
                      </c:pt>
                      <c:pt idx="5123">
                        <c:v>64.03</c:v>
                      </c:pt>
                      <c:pt idx="5124">
                        <c:v>60.38</c:v>
                      </c:pt>
                      <c:pt idx="5125">
                        <c:v>62.39</c:v>
                      </c:pt>
                      <c:pt idx="5126">
                        <c:v>71.22</c:v>
                      </c:pt>
                      <c:pt idx="5127">
                        <c:v>77.39</c:v>
                      </c:pt>
                      <c:pt idx="5128">
                        <c:v>95.16</c:v>
                      </c:pt>
                      <c:pt idx="5129">
                        <c:v>102.83</c:v>
                      </c:pt>
                      <c:pt idx="5130">
                        <c:v>112.5</c:v>
                      </c:pt>
                      <c:pt idx="5131">
                        <c:v>138.07</c:v>
                      </c:pt>
                      <c:pt idx="5132">
                        <c:v>124.03</c:v>
                      </c:pt>
                      <c:pt idx="5133">
                        <c:v>112.94</c:v>
                      </c:pt>
                      <c:pt idx="5134">
                        <c:v>105.7</c:v>
                      </c:pt>
                      <c:pt idx="5135">
                        <c:v>93.93</c:v>
                      </c:pt>
                      <c:pt idx="5136">
                        <c:v>89.17</c:v>
                      </c:pt>
                      <c:pt idx="5137">
                        <c:v>88.11</c:v>
                      </c:pt>
                      <c:pt idx="5138">
                        <c:v>82.97</c:v>
                      </c:pt>
                      <c:pt idx="5139">
                        <c:v>86.95</c:v>
                      </c:pt>
                      <c:pt idx="5140">
                        <c:v>96.61</c:v>
                      </c:pt>
                      <c:pt idx="5141">
                        <c:v>110.75</c:v>
                      </c:pt>
                      <c:pt idx="5142">
                        <c:v>121.38</c:v>
                      </c:pt>
                      <c:pt idx="5143">
                        <c:v>113.19</c:v>
                      </c:pt>
                      <c:pt idx="5144">
                        <c:v>104.42</c:v>
                      </c:pt>
                      <c:pt idx="5145">
                        <c:v>91.68</c:v>
                      </c:pt>
                      <c:pt idx="5146">
                        <c:v>77.69</c:v>
                      </c:pt>
                      <c:pt idx="5147">
                        <c:v>73.58</c:v>
                      </c:pt>
                      <c:pt idx="5148">
                        <c:v>61.94</c:v>
                      </c:pt>
                      <c:pt idx="5149">
                        <c:v>53.44</c:v>
                      </c:pt>
                      <c:pt idx="5150">
                        <c:v>50.58</c:v>
                      </c:pt>
                      <c:pt idx="5151">
                        <c:v>65.42</c:v>
                      </c:pt>
                      <c:pt idx="5152">
                        <c:v>77.69</c:v>
                      </c:pt>
                      <c:pt idx="5153">
                        <c:v>102.22</c:v>
                      </c:pt>
                      <c:pt idx="5154">
                        <c:v>128.49</c:v>
                      </c:pt>
                      <c:pt idx="5155">
                        <c:v>146.19</c:v>
                      </c:pt>
                      <c:pt idx="5156">
                        <c:v>121.66</c:v>
                      </c:pt>
                      <c:pt idx="5157">
                        <c:v>114.42</c:v>
                      </c:pt>
                      <c:pt idx="5158">
                        <c:v>99.01</c:v>
                      </c:pt>
                      <c:pt idx="5159">
                        <c:v>102.65</c:v>
                      </c:pt>
                      <c:pt idx="5160">
                        <c:v>99.14</c:v>
                      </c:pt>
                      <c:pt idx="5161">
                        <c:v>93.3</c:v>
                      </c:pt>
                      <c:pt idx="5162">
                        <c:v>89.1</c:v>
                      </c:pt>
                      <c:pt idx="5163">
                        <c:v>86.31</c:v>
                      </c:pt>
                      <c:pt idx="5164">
                        <c:v>94.88</c:v>
                      </c:pt>
                      <c:pt idx="5165">
                        <c:v>103.74</c:v>
                      </c:pt>
                      <c:pt idx="5166">
                        <c:v>95.51</c:v>
                      </c:pt>
                      <c:pt idx="5167">
                        <c:v>84.5</c:v>
                      </c:pt>
                      <c:pt idx="5168">
                        <c:v>66.06</c:v>
                      </c:pt>
                      <c:pt idx="5169">
                        <c:v>32.44</c:v>
                      </c:pt>
                      <c:pt idx="5170">
                        <c:v>20.36</c:v>
                      </c:pt>
                      <c:pt idx="5171">
                        <c:v>14.66</c:v>
                      </c:pt>
                      <c:pt idx="5172">
                        <c:v>6.41</c:v>
                      </c:pt>
                      <c:pt idx="5173">
                        <c:v>4.0999999999999996</c:v>
                      </c:pt>
                      <c:pt idx="5174">
                        <c:v>12.38</c:v>
                      </c:pt>
                      <c:pt idx="5175">
                        <c:v>32.44</c:v>
                      </c:pt>
                      <c:pt idx="5176">
                        <c:v>73.61</c:v>
                      </c:pt>
                      <c:pt idx="5177">
                        <c:v>103.55</c:v>
                      </c:pt>
                      <c:pt idx="5178">
                        <c:v>110.02</c:v>
                      </c:pt>
                      <c:pt idx="5179">
                        <c:v>124.64</c:v>
                      </c:pt>
                      <c:pt idx="5180">
                        <c:v>136.63999999999999</c:v>
                      </c:pt>
                      <c:pt idx="5181">
                        <c:v>119.2</c:v>
                      </c:pt>
                      <c:pt idx="5182">
                        <c:v>101.3</c:v>
                      </c:pt>
                      <c:pt idx="5183">
                        <c:v>110.21</c:v>
                      </c:pt>
                      <c:pt idx="5184">
                        <c:v>101.34</c:v>
                      </c:pt>
                      <c:pt idx="5185">
                        <c:v>96.9</c:v>
                      </c:pt>
                      <c:pt idx="5186">
                        <c:v>92.68</c:v>
                      </c:pt>
                      <c:pt idx="5187">
                        <c:v>90.21</c:v>
                      </c:pt>
                      <c:pt idx="5188">
                        <c:v>83</c:v>
                      </c:pt>
                      <c:pt idx="5189">
                        <c:v>77.7</c:v>
                      </c:pt>
                      <c:pt idx="5190">
                        <c:v>73.2</c:v>
                      </c:pt>
                      <c:pt idx="5191">
                        <c:v>63.93</c:v>
                      </c:pt>
                      <c:pt idx="5192">
                        <c:v>28.11</c:v>
                      </c:pt>
                      <c:pt idx="5193">
                        <c:v>8.0500000000000007</c:v>
                      </c:pt>
                      <c:pt idx="5194">
                        <c:v>2.0499999999999998</c:v>
                      </c:pt>
                      <c:pt idx="5195">
                        <c:v>0.06</c:v>
                      </c:pt>
                      <c:pt idx="5196">
                        <c:v>-0.04</c:v>
                      </c:pt>
                      <c:pt idx="5197">
                        <c:v>-2.16</c:v>
                      </c:pt>
                      <c:pt idx="5198">
                        <c:v>-0.01</c:v>
                      </c:pt>
                      <c:pt idx="5199">
                        <c:v>1</c:v>
                      </c:pt>
                      <c:pt idx="5200">
                        <c:v>22.46</c:v>
                      </c:pt>
                      <c:pt idx="5201">
                        <c:v>73.17</c:v>
                      </c:pt>
                      <c:pt idx="5202">
                        <c:v>105.66</c:v>
                      </c:pt>
                      <c:pt idx="5203">
                        <c:v>119.92</c:v>
                      </c:pt>
                      <c:pt idx="5204">
                        <c:v>124.99</c:v>
                      </c:pt>
                      <c:pt idx="5205">
                        <c:v>112.94</c:v>
                      </c:pt>
                      <c:pt idx="5206">
                        <c:v>104.83</c:v>
                      </c:pt>
                      <c:pt idx="5207">
                        <c:v>103.08</c:v>
                      </c:pt>
                      <c:pt idx="5208">
                        <c:v>85.32</c:v>
                      </c:pt>
                      <c:pt idx="5209">
                        <c:v>82.3</c:v>
                      </c:pt>
                      <c:pt idx="5210">
                        <c:v>85.35</c:v>
                      </c:pt>
                      <c:pt idx="5211">
                        <c:v>83.59</c:v>
                      </c:pt>
                      <c:pt idx="5212">
                        <c:v>97.24</c:v>
                      </c:pt>
                      <c:pt idx="5213">
                        <c:v>118.98</c:v>
                      </c:pt>
                      <c:pt idx="5214">
                        <c:v>136.75</c:v>
                      </c:pt>
                      <c:pt idx="5215">
                        <c:v>113.97</c:v>
                      </c:pt>
                      <c:pt idx="5216">
                        <c:v>102.83</c:v>
                      </c:pt>
                      <c:pt idx="5217">
                        <c:v>74.5</c:v>
                      </c:pt>
                      <c:pt idx="5218">
                        <c:v>64.3</c:v>
                      </c:pt>
                      <c:pt idx="5219">
                        <c:v>57.12</c:v>
                      </c:pt>
                      <c:pt idx="5220">
                        <c:v>42.05</c:v>
                      </c:pt>
                      <c:pt idx="5221">
                        <c:v>36.35</c:v>
                      </c:pt>
                      <c:pt idx="5222">
                        <c:v>51.43</c:v>
                      </c:pt>
                      <c:pt idx="5223">
                        <c:v>70.099999999999994</c:v>
                      </c:pt>
                      <c:pt idx="5224">
                        <c:v>85.4</c:v>
                      </c:pt>
                      <c:pt idx="5225">
                        <c:v>108.97</c:v>
                      </c:pt>
                      <c:pt idx="5226">
                        <c:v>152.76</c:v>
                      </c:pt>
                      <c:pt idx="5227">
                        <c:v>250.01</c:v>
                      </c:pt>
                      <c:pt idx="5228">
                        <c:v>170.93</c:v>
                      </c:pt>
                      <c:pt idx="5229">
                        <c:v>120.3</c:v>
                      </c:pt>
                      <c:pt idx="5230">
                        <c:v>102.92</c:v>
                      </c:pt>
                      <c:pt idx="5231">
                        <c:v>103.09</c:v>
                      </c:pt>
                      <c:pt idx="5232">
                        <c:v>95.57</c:v>
                      </c:pt>
                      <c:pt idx="5233">
                        <c:v>89.24</c:v>
                      </c:pt>
                      <c:pt idx="5234">
                        <c:v>85.24</c:v>
                      </c:pt>
                      <c:pt idx="5235">
                        <c:v>85.76</c:v>
                      </c:pt>
                      <c:pt idx="5236">
                        <c:v>95.77</c:v>
                      </c:pt>
                      <c:pt idx="5237">
                        <c:v>123.86</c:v>
                      </c:pt>
                      <c:pt idx="5238">
                        <c:v>126.04</c:v>
                      </c:pt>
                      <c:pt idx="5239">
                        <c:v>85.29</c:v>
                      </c:pt>
                      <c:pt idx="5240">
                        <c:v>74.510000000000005</c:v>
                      </c:pt>
                      <c:pt idx="5241">
                        <c:v>36.04</c:v>
                      </c:pt>
                      <c:pt idx="5242">
                        <c:v>21.43</c:v>
                      </c:pt>
                      <c:pt idx="5243">
                        <c:v>15.86</c:v>
                      </c:pt>
                      <c:pt idx="5244">
                        <c:v>2.95</c:v>
                      </c:pt>
                      <c:pt idx="5245">
                        <c:v>4.79</c:v>
                      </c:pt>
                      <c:pt idx="5246">
                        <c:v>19.440000000000001</c:v>
                      </c:pt>
                      <c:pt idx="5247">
                        <c:v>39.71</c:v>
                      </c:pt>
                      <c:pt idx="5248">
                        <c:v>82.19</c:v>
                      </c:pt>
                      <c:pt idx="5249">
                        <c:v>106.29</c:v>
                      </c:pt>
                      <c:pt idx="5250">
                        <c:v>174.58</c:v>
                      </c:pt>
                      <c:pt idx="5251">
                        <c:v>230.85</c:v>
                      </c:pt>
                      <c:pt idx="5252">
                        <c:v>170.45</c:v>
                      </c:pt>
                      <c:pt idx="5253">
                        <c:v>118.54</c:v>
                      </c:pt>
                      <c:pt idx="5254">
                        <c:v>100.03</c:v>
                      </c:pt>
                      <c:pt idx="5255">
                        <c:v>91.39</c:v>
                      </c:pt>
                      <c:pt idx="5256">
                        <c:v>83.24</c:v>
                      </c:pt>
                      <c:pt idx="5257">
                        <c:v>79.290000000000006</c:v>
                      </c:pt>
                      <c:pt idx="5258">
                        <c:v>83.24</c:v>
                      </c:pt>
                      <c:pt idx="5259">
                        <c:v>86.43</c:v>
                      </c:pt>
                      <c:pt idx="5260">
                        <c:v>104.36</c:v>
                      </c:pt>
                      <c:pt idx="5261">
                        <c:v>126.07</c:v>
                      </c:pt>
                      <c:pt idx="5262">
                        <c:v>127.98</c:v>
                      </c:pt>
                      <c:pt idx="5263">
                        <c:v>109.06</c:v>
                      </c:pt>
                      <c:pt idx="5264">
                        <c:v>88.91</c:v>
                      </c:pt>
                      <c:pt idx="5265">
                        <c:v>73.56</c:v>
                      </c:pt>
                      <c:pt idx="5266">
                        <c:v>62.49</c:v>
                      </c:pt>
                      <c:pt idx="5267">
                        <c:v>42.14</c:v>
                      </c:pt>
                      <c:pt idx="5268">
                        <c:v>35.049999999999997</c:v>
                      </c:pt>
                      <c:pt idx="5269">
                        <c:v>51.19</c:v>
                      </c:pt>
                      <c:pt idx="5270">
                        <c:v>69.28</c:v>
                      </c:pt>
                      <c:pt idx="5271">
                        <c:v>85.74</c:v>
                      </c:pt>
                      <c:pt idx="5272">
                        <c:v>105.2</c:v>
                      </c:pt>
                      <c:pt idx="5273">
                        <c:v>106.41</c:v>
                      </c:pt>
                      <c:pt idx="5274">
                        <c:v>119.75</c:v>
                      </c:pt>
                      <c:pt idx="5275">
                        <c:v>149.28</c:v>
                      </c:pt>
                      <c:pt idx="5276">
                        <c:v>134.25</c:v>
                      </c:pt>
                      <c:pt idx="5277">
                        <c:v>112.74</c:v>
                      </c:pt>
                      <c:pt idx="5278">
                        <c:v>102.78</c:v>
                      </c:pt>
                      <c:pt idx="5279">
                        <c:v>96.43</c:v>
                      </c:pt>
                      <c:pt idx="5280">
                        <c:v>88.06</c:v>
                      </c:pt>
                      <c:pt idx="5281">
                        <c:v>87.36</c:v>
                      </c:pt>
                      <c:pt idx="5282">
                        <c:v>88.06</c:v>
                      </c:pt>
                      <c:pt idx="5283">
                        <c:v>88.27</c:v>
                      </c:pt>
                      <c:pt idx="5284">
                        <c:v>96.11</c:v>
                      </c:pt>
                      <c:pt idx="5285">
                        <c:v>110.93</c:v>
                      </c:pt>
                      <c:pt idx="5286">
                        <c:v>124.93</c:v>
                      </c:pt>
                      <c:pt idx="5287">
                        <c:v>114.41</c:v>
                      </c:pt>
                      <c:pt idx="5288">
                        <c:v>106.84</c:v>
                      </c:pt>
                      <c:pt idx="5289">
                        <c:v>86.1</c:v>
                      </c:pt>
                      <c:pt idx="5290">
                        <c:v>71.599999999999994</c:v>
                      </c:pt>
                      <c:pt idx="5291">
                        <c:v>57.09</c:v>
                      </c:pt>
                      <c:pt idx="5292">
                        <c:v>40.49</c:v>
                      </c:pt>
                      <c:pt idx="5293">
                        <c:v>32.18</c:v>
                      </c:pt>
                      <c:pt idx="5294">
                        <c:v>40.24</c:v>
                      </c:pt>
                      <c:pt idx="5295">
                        <c:v>57.81</c:v>
                      </c:pt>
                      <c:pt idx="5296">
                        <c:v>80.52</c:v>
                      </c:pt>
                      <c:pt idx="5297">
                        <c:v>101.92</c:v>
                      </c:pt>
                      <c:pt idx="5298">
                        <c:v>138.49</c:v>
                      </c:pt>
                      <c:pt idx="5299">
                        <c:v>197.31</c:v>
                      </c:pt>
                      <c:pt idx="5300">
                        <c:v>135</c:v>
                      </c:pt>
                      <c:pt idx="5301">
                        <c:v>102</c:v>
                      </c:pt>
                      <c:pt idx="5302">
                        <c:v>93.56</c:v>
                      </c:pt>
                      <c:pt idx="5303">
                        <c:v>103.71</c:v>
                      </c:pt>
                      <c:pt idx="5304">
                        <c:v>83.92</c:v>
                      </c:pt>
                      <c:pt idx="5305">
                        <c:v>67.34</c:v>
                      </c:pt>
                      <c:pt idx="5306">
                        <c:v>64.3</c:v>
                      </c:pt>
                      <c:pt idx="5307">
                        <c:v>53.31</c:v>
                      </c:pt>
                      <c:pt idx="5308">
                        <c:v>64.36</c:v>
                      </c:pt>
                      <c:pt idx="5309">
                        <c:v>80</c:v>
                      </c:pt>
                      <c:pt idx="5310">
                        <c:v>88.41</c:v>
                      </c:pt>
                      <c:pt idx="5311">
                        <c:v>59.4</c:v>
                      </c:pt>
                      <c:pt idx="5312">
                        <c:v>31.31</c:v>
                      </c:pt>
                      <c:pt idx="5313">
                        <c:v>8.98</c:v>
                      </c:pt>
                      <c:pt idx="5314">
                        <c:v>0.6</c:v>
                      </c:pt>
                      <c:pt idx="5315">
                        <c:v>-0.03</c:v>
                      </c:pt>
                      <c:pt idx="5316">
                        <c:v>-0.16</c:v>
                      </c:pt>
                      <c:pt idx="5317">
                        <c:v>-0.8</c:v>
                      </c:pt>
                      <c:pt idx="5318">
                        <c:v>-0.11</c:v>
                      </c:pt>
                      <c:pt idx="5319">
                        <c:v>-0.01</c:v>
                      </c:pt>
                      <c:pt idx="5320">
                        <c:v>2.5499999999999998</c:v>
                      </c:pt>
                      <c:pt idx="5321">
                        <c:v>41.78</c:v>
                      </c:pt>
                      <c:pt idx="5322">
                        <c:v>81.040000000000006</c:v>
                      </c:pt>
                      <c:pt idx="5323">
                        <c:v>124.97</c:v>
                      </c:pt>
                      <c:pt idx="5324">
                        <c:v>118.05</c:v>
                      </c:pt>
                      <c:pt idx="5325">
                        <c:v>113.46</c:v>
                      </c:pt>
                      <c:pt idx="5326">
                        <c:v>93.23</c:v>
                      </c:pt>
                      <c:pt idx="5327">
                        <c:v>85.09</c:v>
                      </c:pt>
                      <c:pt idx="5328">
                        <c:v>92.13</c:v>
                      </c:pt>
                      <c:pt idx="5329">
                        <c:v>87.28</c:v>
                      </c:pt>
                      <c:pt idx="5330">
                        <c:v>84.67</c:v>
                      </c:pt>
                      <c:pt idx="5331">
                        <c:v>82.93</c:v>
                      </c:pt>
                      <c:pt idx="5332">
                        <c:v>85.52</c:v>
                      </c:pt>
                      <c:pt idx="5333">
                        <c:v>88.68</c:v>
                      </c:pt>
                      <c:pt idx="5334">
                        <c:v>76.010000000000005</c:v>
                      </c:pt>
                      <c:pt idx="5335">
                        <c:v>31.86</c:v>
                      </c:pt>
                      <c:pt idx="5336">
                        <c:v>0.2</c:v>
                      </c:pt>
                      <c:pt idx="5337">
                        <c:v>-3</c:v>
                      </c:pt>
                      <c:pt idx="5338">
                        <c:v>-12.2</c:v>
                      </c:pt>
                      <c:pt idx="5339">
                        <c:v>-22.49</c:v>
                      </c:pt>
                      <c:pt idx="5340">
                        <c:v>-40.770000000000003</c:v>
                      </c:pt>
                      <c:pt idx="5341">
                        <c:v>-40.090000000000003</c:v>
                      </c:pt>
                      <c:pt idx="5342">
                        <c:v>-29.67</c:v>
                      </c:pt>
                      <c:pt idx="5343">
                        <c:v>-8.1999999999999993</c:v>
                      </c:pt>
                      <c:pt idx="5344">
                        <c:v>7.0000000000000007E-2</c:v>
                      </c:pt>
                      <c:pt idx="5345">
                        <c:v>48.84</c:v>
                      </c:pt>
                      <c:pt idx="5346">
                        <c:v>106.55</c:v>
                      </c:pt>
                      <c:pt idx="5347">
                        <c:v>125.43</c:v>
                      </c:pt>
                      <c:pt idx="5348">
                        <c:v>133</c:v>
                      </c:pt>
                      <c:pt idx="5349">
                        <c:v>117.85</c:v>
                      </c:pt>
                      <c:pt idx="5350">
                        <c:v>106.64</c:v>
                      </c:pt>
                      <c:pt idx="5351">
                        <c:v>106.71</c:v>
                      </c:pt>
                      <c:pt idx="5352">
                        <c:v>104.17</c:v>
                      </c:pt>
                      <c:pt idx="5353">
                        <c:v>99.96</c:v>
                      </c:pt>
                      <c:pt idx="5354">
                        <c:v>95.14</c:v>
                      </c:pt>
                      <c:pt idx="5355">
                        <c:v>96.49</c:v>
                      </c:pt>
                      <c:pt idx="5356">
                        <c:v>114.97</c:v>
                      </c:pt>
                      <c:pt idx="5357">
                        <c:v>106.44</c:v>
                      </c:pt>
                      <c:pt idx="5358">
                        <c:v>71.02</c:v>
                      </c:pt>
                      <c:pt idx="5359">
                        <c:v>27.8</c:v>
                      </c:pt>
                      <c:pt idx="5360">
                        <c:v>0</c:v>
                      </c:pt>
                      <c:pt idx="5361">
                        <c:v>-5.01</c:v>
                      </c:pt>
                      <c:pt idx="5362">
                        <c:v>-14.99</c:v>
                      </c:pt>
                      <c:pt idx="5363">
                        <c:v>-32.04</c:v>
                      </c:pt>
                      <c:pt idx="5364">
                        <c:v>-59.96</c:v>
                      </c:pt>
                      <c:pt idx="5365">
                        <c:v>-50.09</c:v>
                      </c:pt>
                      <c:pt idx="5366">
                        <c:v>-31.42</c:v>
                      </c:pt>
                      <c:pt idx="5367">
                        <c:v>-4.97</c:v>
                      </c:pt>
                      <c:pt idx="5368">
                        <c:v>1.46</c:v>
                      </c:pt>
                      <c:pt idx="5369">
                        <c:v>88.14</c:v>
                      </c:pt>
                      <c:pt idx="5370">
                        <c:v>128.80000000000001</c:v>
                      </c:pt>
                      <c:pt idx="5371">
                        <c:v>137.18</c:v>
                      </c:pt>
                      <c:pt idx="5372">
                        <c:v>126.15</c:v>
                      </c:pt>
                      <c:pt idx="5373">
                        <c:v>109.99</c:v>
                      </c:pt>
                      <c:pt idx="5374">
                        <c:v>97.28</c:v>
                      </c:pt>
                      <c:pt idx="5375">
                        <c:v>104.98</c:v>
                      </c:pt>
                      <c:pt idx="5376">
                        <c:v>94.62</c:v>
                      </c:pt>
                      <c:pt idx="5377">
                        <c:v>85.3</c:v>
                      </c:pt>
                      <c:pt idx="5378">
                        <c:v>86.6</c:v>
                      </c:pt>
                      <c:pt idx="5379">
                        <c:v>88.85</c:v>
                      </c:pt>
                      <c:pt idx="5380">
                        <c:v>114.54</c:v>
                      </c:pt>
                      <c:pt idx="5381">
                        <c:v>153.82</c:v>
                      </c:pt>
                      <c:pt idx="5382">
                        <c:v>153.82</c:v>
                      </c:pt>
                      <c:pt idx="5383">
                        <c:v>115.25</c:v>
                      </c:pt>
                      <c:pt idx="5384">
                        <c:v>69.900000000000006</c:v>
                      </c:pt>
                      <c:pt idx="5385">
                        <c:v>40.119999999999997</c:v>
                      </c:pt>
                      <c:pt idx="5386">
                        <c:v>16.04</c:v>
                      </c:pt>
                      <c:pt idx="5387">
                        <c:v>10.06</c:v>
                      </c:pt>
                      <c:pt idx="5388">
                        <c:v>6.98</c:v>
                      </c:pt>
                      <c:pt idx="5389">
                        <c:v>13.8</c:v>
                      </c:pt>
                      <c:pt idx="5390">
                        <c:v>27.87</c:v>
                      </c:pt>
                      <c:pt idx="5391">
                        <c:v>48.65</c:v>
                      </c:pt>
                      <c:pt idx="5392">
                        <c:v>89.29</c:v>
                      </c:pt>
                      <c:pt idx="5393">
                        <c:v>122.78</c:v>
                      </c:pt>
                      <c:pt idx="5394">
                        <c:v>206.02</c:v>
                      </c:pt>
                      <c:pt idx="5395">
                        <c:v>224.84</c:v>
                      </c:pt>
                      <c:pt idx="5396">
                        <c:v>128.34</c:v>
                      </c:pt>
                      <c:pt idx="5397">
                        <c:v>106.88</c:v>
                      </c:pt>
                      <c:pt idx="5398">
                        <c:v>100.05</c:v>
                      </c:pt>
                      <c:pt idx="5399">
                        <c:v>99.64</c:v>
                      </c:pt>
                      <c:pt idx="5400">
                        <c:v>87.91</c:v>
                      </c:pt>
                      <c:pt idx="5401">
                        <c:v>86.6</c:v>
                      </c:pt>
                      <c:pt idx="5402">
                        <c:v>84.79</c:v>
                      </c:pt>
                      <c:pt idx="5403">
                        <c:v>84.76</c:v>
                      </c:pt>
                      <c:pt idx="5404">
                        <c:v>101.37</c:v>
                      </c:pt>
                      <c:pt idx="5405">
                        <c:v>125.66</c:v>
                      </c:pt>
                      <c:pt idx="5406">
                        <c:v>133.71</c:v>
                      </c:pt>
                      <c:pt idx="5407">
                        <c:v>117.89</c:v>
                      </c:pt>
                      <c:pt idx="5408">
                        <c:v>87.81</c:v>
                      </c:pt>
                      <c:pt idx="5409">
                        <c:v>66.67</c:v>
                      </c:pt>
                      <c:pt idx="5410">
                        <c:v>55.94</c:v>
                      </c:pt>
                      <c:pt idx="5411">
                        <c:v>43.01</c:v>
                      </c:pt>
                      <c:pt idx="5412">
                        <c:v>40.369999999999997</c:v>
                      </c:pt>
                      <c:pt idx="5413">
                        <c:v>47.96</c:v>
                      </c:pt>
                      <c:pt idx="5414">
                        <c:v>64.150000000000006</c:v>
                      </c:pt>
                      <c:pt idx="5415">
                        <c:v>86</c:v>
                      </c:pt>
                      <c:pt idx="5416">
                        <c:v>105</c:v>
                      </c:pt>
                      <c:pt idx="5417">
                        <c:v>121.04</c:v>
                      </c:pt>
                      <c:pt idx="5418">
                        <c:v>202.72</c:v>
                      </c:pt>
                      <c:pt idx="5419">
                        <c:v>205.35</c:v>
                      </c:pt>
                      <c:pt idx="5420">
                        <c:v>128.9</c:v>
                      </c:pt>
                      <c:pt idx="5421">
                        <c:v>111.48</c:v>
                      </c:pt>
                      <c:pt idx="5422">
                        <c:v>104.99</c:v>
                      </c:pt>
                      <c:pt idx="5423">
                        <c:v>87.73</c:v>
                      </c:pt>
                      <c:pt idx="5424">
                        <c:v>90.79</c:v>
                      </c:pt>
                      <c:pt idx="5425">
                        <c:v>87.73</c:v>
                      </c:pt>
                      <c:pt idx="5426">
                        <c:v>93.4</c:v>
                      </c:pt>
                      <c:pt idx="5427">
                        <c:v>93.6</c:v>
                      </c:pt>
                      <c:pt idx="5428">
                        <c:v>107.1</c:v>
                      </c:pt>
                      <c:pt idx="5429">
                        <c:v>129.74</c:v>
                      </c:pt>
                      <c:pt idx="5430">
                        <c:v>136.62</c:v>
                      </c:pt>
                      <c:pt idx="5431">
                        <c:v>120.96</c:v>
                      </c:pt>
                      <c:pt idx="5432">
                        <c:v>108.79</c:v>
                      </c:pt>
                      <c:pt idx="5433">
                        <c:v>83.08</c:v>
                      </c:pt>
                      <c:pt idx="5434">
                        <c:v>77.239999999999995</c:v>
                      </c:pt>
                      <c:pt idx="5435">
                        <c:v>72.849999999999994</c:v>
                      </c:pt>
                      <c:pt idx="5436">
                        <c:v>75.38</c:v>
                      </c:pt>
                      <c:pt idx="5437">
                        <c:v>74.709999999999994</c:v>
                      </c:pt>
                      <c:pt idx="5438">
                        <c:v>81.739999999999995</c:v>
                      </c:pt>
                      <c:pt idx="5439">
                        <c:v>94.36</c:v>
                      </c:pt>
                      <c:pt idx="5440">
                        <c:v>105.59</c:v>
                      </c:pt>
                      <c:pt idx="5441">
                        <c:v>111.48</c:v>
                      </c:pt>
                      <c:pt idx="5442">
                        <c:v>161.41</c:v>
                      </c:pt>
                      <c:pt idx="5443">
                        <c:v>218.92</c:v>
                      </c:pt>
                      <c:pt idx="5444">
                        <c:v>148.69999999999999</c:v>
                      </c:pt>
                      <c:pt idx="5445">
                        <c:v>120.43</c:v>
                      </c:pt>
                      <c:pt idx="5446">
                        <c:v>109.95</c:v>
                      </c:pt>
                      <c:pt idx="5447">
                        <c:v>110.33</c:v>
                      </c:pt>
                      <c:pt idx="5448">
                        <c:v>109.66</c:v>
                      </c:pt>
                      <c:pt idx="5449">
                        <c:v>105.3</c:v>
                      </c:pt>
                      <c:pt idx="5450">
                        <c:v>94.74</c:v>
                      </c:pt>
                      <c:pt idx="5451">
                        <c:v>96.02</c:v>
                      </c:pt>
                      <c:pt idx="5452">
                        <c:v>108.91</c:v>
                      </c:pt>
                      <c:pt idx="5453">
                        <c:v>119.75</c:v>
                      </c:pt>
                      <c:pt idx="5454">
                        <c:v>120.71</c:v>
                      </c:pt>
                      <c:pt idx="5455">
                        <c:v>114.97</c:v>
                      </c:pt>
                      <c:pt idx="5456">
                        <c:v>91.12</c:v>
                      </c:pt>
                      <c:pt idx="5457">
                        <c:v>59.1</c:v>
                      </c:pt>
                      <c:pt idx="5458">
                        <c:v>19.940000000000001</c:v>
                      </c:pt>
                      <c:pt idx="5459">
                        <c:v>9.86</c:v>
                      </c:pt>
                      <c:pt idx="5460">
                        <c:v>0.01</c:v>
                      </c:pt>
                      <c:pt idx="5461">
                        <c:v>-0.04</c:v>
                      </c:pt>
                      <c:pt idx="5462">
                        <c:v>4.25</c:v>
                      </c:pt>
                      <c:pt idx="5463">
                        <c:v>33.409999999999997</c:v>
                      </c:pt>
                      <c:pt idx="5464">
                        <c:v>77.260000000000005</c:v>
                      </c:pt>
                      <c:pt idx="5465">
                        <c:v>119.93</c:v>
                      </c:pt>
                      <c:pt idx="5466">
                        <c:v>142.51</c:v>
                      </c:pt>
                      <c:pt idx="5467">
                        <c:v>160.30000000000001</c:v>
                      </c:pt>
                      <c:pt idx="5468">
                        <c:v>140.84</c:v>
                      </c:pt>
                      <c:pt idx="5469">
                        <c:v>118.87</c:v>
                      </c:pt>
                      <c:pt idx="5470">
                        <c:v>94.94</c:v>
                      </c:pt>
                      <c:pt idx="5471">
                        <c:v>108.97</c:v>
                      </c:pt>
                      <c:pt idx="5472">
                        <c:v>86.78</c:v>
                      </c:pt>
                      <c:pt idx="5473">
                        <c:v>85.58</c:v>
                      </c:pt>
                      <c:pt idx="5474">
                        <c:v>85.83</c:v>
                      </c:pt>
                      <c:pt idx="5475">
                        <c:v>87.76</c:v>
                      </c:pt>
                      <c:pt idx="5476">
                        <c:v>92.05</c:v>
                      </c:pt>
                      <c:pt idx="5477">
                        <c:v>128.41999999999999</c:v>
                      </c:pt>
                      <c:pt idx="5478">
                        <c:v>134.91</c:v>
                      </c:pt>
                      <c:pt idx="5479">
                        <c:v>124.83</c:v>
                      </c:pt>
                      <c:pt idx="5480">
                        <c:v>100.95</c:v>
                      </c:pt>
                      <c:pt idx="5481">
                        <c:v>76.150000000000006</c:v>
                      </c:pt>
                      <c:pt idx="5482">
                        <c:v>59.83</c:v>
                      </c:pt>
                      <c:pt idx="5483">
                        <c:v>50.68</c:v>
                      </c:pt>
                      <c:pt idx="5484">
                        <c:v>49.93</c:v>
                      </c:pt>
                      <c:pt idx="5485">
                        <c:v>47.57</c:v>
                      </c:pt>
                      <c:pt idx="5486">
                        <c:v>55.16</c:v>
                      </c:pt>
                      <c:pt idx="5487">
                        <c:v>82.67</c:v>
                      </c:pt>
                      <c:pt idx="5488">
                        <c:v>103.76</c:v>
                      </c:pt>
                      <c:pt idx="5489">
                        <c:v>134.91999999999999</c:v>
                      </c:pt>
                      <c:pt idx="5490">
                        <c:v>230.52</c:v>
                      </c:pt>
                      <c:pt idx="5491">
                        <c:v>243.12</c:v>
                      </c:pt>
                      <c:pt idx="5492">
                        <c:v>171.83</c:v>
                      </c:pt>
                      <c:pt idx="5493">
                        <c:v>134.54</c:v>
                      </c:pt>
                      <c:pt idx="5494">
                        <c:v>116.17</c:v>
                      </c:pt>
                      <c:pt idx="5495">
                        <c:v>107.11</c:v>
                      </c:pt>
                      <c:pt idx="5496">
                        <c:v>109.26</c:v>
                      </c:pt>
                      <c:pt idx="5497">
                        <c:v>103.13</c:v>
                      </c:pt>
                      <c:pt idx="5498">
                        <c:v>101.82</c:v>
                      </c:pt>
                      <c:pt idx="5499">
                        <c:v>110.59</c:v>
                      </c:pt>
                      <c:pt idx="5500">
                        <c:v>110.84</c:v>
                      </c:pt>
                      <c:pt idx="5501">
                        <c:v>106.7</c:v>
                      </c:pt>
                      <c:pt idx="5502">
                        <c:v>103.97</c:v>
                      </c:pt>
                      <c:pt idx="5503">
                        <c:v>103.43</c:v>
                      </c:pt>
                      <c:pt idx="5504">
                        <c:v>84</c:v>
                      </c:pt>
                      <c:pt idx="5505">
                        <c:v>69.489999999999995</c:v>
                      </c:pt>
                      <c:pt idx="5506">
                        <c:v>54.28</c:v>
                      </c:pt>
                      <c:pt idx="5507">
                        <c:v>46.93</c:v>
                      </c:pt>
                      <c:pt idx="5508">
                        <c:v>40.71</c:v>
                      </c:pt>
                      <c:pt idx="5509">
                        <c:v>39.43</c:v>
                      </c:pt>
                      <c:pt idx="5510">
                        <c:v>39.56</c:v>
                      </c:pt>
                      <c:pt idx="5511">
                        <c:v>59.09</c:v>
                      </c:pt>
                      <c:pt idx="5512">
                        <c:v>88.4</c:v>
                      </c:pt>
                      <c:pt idx="5513">
                        <c:v>119.68</c:v>
                      </c:pt>
                      <c:pt idx="5514">
                        <c:v>140.56</c:v>
                      </c:pt>
                      <c:pt idx="5515">
                        <c:v>149.18</c:v>
                      </c:pt>
                      <c:pt idx="5516">
                        <c:v>126.98</c:v>
                      </c:pt>
                      <c:pt idx="5517">
                        <c:v>116.7</c:v>
                      </c:pt>
                      <c:pt idx="5518">
                        <c:v>105.82</c:v>
                      </c:pt>
                      <c:pt idx="5519">
                        <c:v>111.82</c:v>
                      </c:pt>
                      <c:pt idx="5520">
                        <c:v>112.8</c:v>
                      </c:pt>
                      <c:pt idx="5521">
                        <c:v>106.17</c:v>
                      </c:pt>
                      <c:pt idx="5522">
                        <c:v>106.22</c:v>
                      </c:pt>
                      <c:pt idx="5523">
                        <c:v>104.75</c:v>
                      </c:pt>
                      <c:pt idx="5524">
                        <c:v>104.97</c:v>
                      </c:pt>
                      <c:pt idx="5525">
                        <c:v>99.53</c:v>
                      </c:pt>
                      <c:pt idx="5526">
                        <c:v>95.2</c:v>
                      </c:pt>
                      <c:pt idx="5527">
                        <c:v>88.2</c:v>
                      </c:pt>
                      <c:pt idx="5528">
                        <c:v>82.32</c:v>
                      </c:pt>
                      <c:pt idx="5529">
                        <c:v>72.12</c:v>
                      </c:pt>
                      <c:pt idx="5530">
                        <c:v>72.52</c:v>
                      </c:pt>
                      <c:pt idx="5531">
                        <c:v>66.03</c:v>
                      </c:pt>
                      <c:pt idx="5532">
                        <c:v>33.64</c:v>
                      </c:pt>
                      <c:pt idx="5533">
                        <c:v>17.72</c:v>
                      </c:pt>
                      <c:pt idx="5534">
                        <c:v>51.28</c:v>
                      </c:pt>
                      <c:pt idx="5535">
                        <c:v>69.86</c:v>
                      </c:pt>
                      <c:pt idx="5536">
                        <c:v>82.39</c:v>
                      </c:pt>
                      <c:pt idx="5537">
                        <c:v>93.85</c:v>
                      </c:pt>
                      <c:pt idx="5538">
                        <c:v>109.93</c:v>
                      </c:pt>
                      <c:pt idx="5539">
                        <c:v>115.68</c:v>
                      </c:pt>
                      <c:pt idx="5540">
                        <c:v>109.83</c:v>
                      </c:pt>
                      <c:pt idx="5541">
                        <c:v>111.4</c:v>
                      </c:pt>
                      <c:pt idx="5542">
                        <c:v>99.45</c:v>
                      </c:pt>
                      <c:pt idx="5543">
                        <c:v>97.39</c:v>
                      </c:pt>
                      <c:pt idx="5544">
                        <c:v>90.1</c:v>
                      </c:pt>
                      <c:pt idx="5545">
                        <c:v>88.7</c:v>
                      </c:pt>
                      <c:pt idx="5546">
                        <c:v>84.86</c:v>
                      </c:pt>
                      <c:pt idx="5547">
                        <c:v>84.5</c:v>
                      </c:pt>
                      <c:pt idx="5548">
                        <c:v>87.97</c:v>
                      </c:pt>
                      <c:pt idx="5549">
                        <c:v>129</c:v>
                      </c:pt>
                      <c:pt idx="5550">
                        <c:v>152.33000000000001</c:v>
                      </c:pt>
                      <c:pt idx="5551">
                        <c:v>129.6</c:v>
                      </c:pt>
                      <c:pt idx="5552">
                        <c:v>112.58</c:v>
                      </c:pt>
                      <c:pt idx="5553">
                        <c:v>96.9</c:v>
                      </c:pt>
                      <c:pt idx="5554">
                        <c:v>89.74</c:v>
                      </c:pt>
                      <c:pt idx="5555">
                        <c:v>84.38</c:v>
                      </c:pt>
                      <c:pt idx="5556">
                        <c:v>78.87</c:v>
                      </c:pt>
                      <c:pt idx="5557">
                        <c:v>80.209999999999994</c:v>
                      </c:pt>
                      <c:pt idx="5558">
                        <c:v>79.900000000000006</c:v>
                      </c:pt>
                      <c:pt idx="5559">
                        <c:v>84.05</c:v>
                      </c:pt>
                      <c:pt idx="5560">
                        <c:v>100.7</c:v>
                      </c:pt>
                      <c:pt idx="5561">
                        <c:v>113.97</c:v>
                      </c:pt>
                      <c:pt idx="5562">
                        <c:v>200</c:v>
                      </c:pt>
                      <c:pt idx="5563">
                        <c:v>203.83</c:v>
                      </c:pt>
                      <c:pt idx="5564">
                        <c:v>140.11000000000001</c:v>
                      </c:pt>
                      <c:pt idx="5565">
                        <c:v>100.82</c:v>
                      </c:pt>
                      <c:pt idx="5566">
                        <c:v>86.2</c:v>
                      </c:pt>
                      <c:pt idx="5567">
                        <c:v>93.6</c:v>
                      </c:pt>
                      <c:pt idx="5568">
                        <c:v>89.55</c:v>
                      </c:pt>
                      <c:pt idx="5569">
                        <c:v>88.5</c:v>
                      </c:pt>
                      <c:pt idx="5570">
                        <c:v>89.31</c:v>
                      </c:pt>
                      <c:pt idx="5571">
                        <c:v>86.19</c:v>
                      </c:pt>
                      <c:pt idx="5572">
                        <c:v>89.97</c:v>
                      </c:pt>
                      <c:pt idx="5573">
                        <c:v>123.06</c:v>
                      </c:pt>
                      <c:pt idx="5574">
                        <c:v>133.22999999999999</c:v>
                      </c:pt>
                      <c:pt idx="5575">
                        <c:v>122.97</c:v>
                      </c:pt>
                      <c:pt idx="5576">
                        <c:v>103.09</c:v>
                      </c:pt>
                      <c:pt idx="5577">
                        <c:v>75.010000000000005</c:v>
                      </c:pt>
                      <c:pt idx="5578">
                        <c:v>50.13</c:v>
                      </c:pt>
                      <c:pt idx="5579">
                        <c:v>37.69</c:v>
                      </c:pt>
                      <c:pt idx="5580">
                        <c:v>18.22</c:v>
                      </c:pt>
                      <c:pt idx="5581">
                        <c:v>20.36</c:v>
                      </c:pt>
                      <c:pt idx="5582">
                        <c:v>48.9</c:v>
                      </c:pt>
                      <c:pt idx="5583">
                        <c:v>82.15</c:v>
                      </c:pt>
                      <c:pt idx="5584">
                        <c:v>104.5</c:v>
                      </c:pt>
                      <c:pt idx="5585">
                        <c:v>118.07</c:v>
                      </c:pt>
                      <c:pt idx="5586">
                        <c:v>158.81</c:v>
                      </c:pt>
                      <c:pt idx="5587">
                        <c:v>154.71</c:v>
                      </c:pt>
                      <c:pt idx="5588">
                        <c:v>120.89</c:v>
                      </c:pt>
                      <c:pt idx="5589">
                        <c:v>103.82</c:v>
                      </c:pt>
                      <c:pt idx="5590">
                        <c:v>97.96</c:v>
                      </c:pt>
                      <c:pt idx="5591">
                        <c:v>87.36</c:v>
                      </c:pt>
                      <c:pt idx="5592">
                        <c:v>82</c:v>
                      </c:pt>
                      <c:pt idx="5593">
                        <c:v>65.930000000000007</c:v>
                      </c:pt>
                      <c:pt idx="5594">
                        <c:v>56.09</c:v>
                      </c:pt>
                      <c:pt idx="5595">
                        <c:v>60.42</c:v>
                      </c:pt>
                      <c:pt idx="5596">
                        <c:v>59.95</c:v>
                      </c:pt>
                      <c:pt idx="5597">
                        <c:v>81.3</c:v>
                      </c:pt>
                      <c:pt idx="5598">
                        <c:v>85.92</c:v>
                      </c:pt>
                      <c:pt idx="5599">
                        <c:v>87.38</c:v>
                      </c:pt>
                      <c:pt idx="5600">
                        <c:v>53.16</c:v>
                      </c:pt>
                      <c:pt idx="5601">
                        <c:v>0.16</c:v>
                      </c:pt>
                      <c:pt idx="5602">
                        <c:v>-4.95</c:v>
                      </c:pt>
                      <c:pt idx="5603">
                        <c:v>-13.01</c:v>
                      </c:pt>
                      <c:pt idx="5604">
                        <c:v>-20.32</c:v>
                      </c:pt>
                      <c:pt idx="5605">
                        <c:v>-21.28</c:v>
                      </c:pt>
                      <c:pt idx="5606">
                        <c:v>-16.05</c:v>
                      </c:pt>
                      <c:pt idx="5607">
                        <c:v>-12.64</c:v>
                      </c:pt>
                      <c:pt idx="5608">
                        <c:v>2.0099999999999998</c:v>
                      </c:pt>
                      <c:pt idx="5609">
                        <c:v>67.260000000000005</c:v>
                      </c:pt>
                      <c:pt idx="5610">
                        <c:v>101.89</c:v>
                      </c:pt>
                      <c:pt idx="5611">
                        <c:v>140.35</c:v>
                      </c:pt>
                      <c:pt idx="5612">
                        <c:v>130.96</c:v>
                      </c:pt>
                      <c:pt idx="5613">
                        <c:v>103.42</c:v>
                      </c:pt>
                      <c:pt idx="5614">
                        <c:v>85.65</c:v>
                      </c:pt>
                      <c:pt idx="5615">
                        <c:v>78.94</c:v>
                      </c:pt>
                      <c:pt idx="5616">
                        <c:v>73.040000000000006</c:v>
                      </c:pt>
                      <c:pt idx="5617">
                        <c:v>80.459999999999994</c:v>
                      </c:pt>
                      <c:pt idx="5618">
                        <c:v>80.17</c:v>
                      </c:pt>
                      <c:pt idx="5619">
                        <c:v>70.23</c:v>
                      </c:pt>
                      <c:pt idx="5620">
                        <c:v>85.42</c:v>
                      </c:pt>
                      <c:pt idx="5621">
                        <c:v>99.95</c:v>
                      </c:pt>
                      <c:pt idx="5622">
                        <c:v>129.46</c:v>
                      </c:pt>
                      <c:pt idx="5623">
                        <c:v>113.05</c:v>
                      </c:pt>
                      <c:pt idx="5624">
                        <c:v>73.099999999999994</c:v>
                      </c:pt>
                      <c:pt idx="5625">
                        <c:v>14.8</c:v>
                      </c:pt>
                      <c:pt idx="5626">
                        <c:v>0</c:v>
                      </c:pt>
                      <c:pt idx="5627">
                        <c:v>-0.38</c:v>
                      </c:pt>
                      <c:pt idx="5628">
                        <c:v>-2.56</c:v>
                      </c:pt>
                      <c:pt idx="5629">
                        <c:v>-1.51</c:v>
                      </c:pt>
                      <c:pt idx="5630">
                        <c:v>-4.3499999999999996</c:v>
                      </c:pt>
                      <c:pt idx="5631">
                        <c:v>-0.09</c:v>
                      </c:pt>
                      <c:pt idx="5632">
                        <c:v>24.89</c:v>
                      </c:pt>
                      <c:pt idx="5633">
                        <c:v>89.46</c:v>
                      </c:pt>
                      <c:pt idx="5634">
                        <c:v>112.74</c:v>
                      </c:pt>
                      <c:pt idx="5635">
                        <c:v>111.5</c:v>
                      </c:pt>
                      <c:pt idx="5636">
                        <c:v>109.99</c:v>
                      </c:pt>
                      <c:pt idx="5637">
                        <c:v>95.48</c:v>
                      </c:pt>
                      <c:pt idx="5638">
                        <c:v>79.22</c:v>
                      </c:pt>
                      <c:pt idx="5639">
                        <c:v>51.9</c:v>
                      </c:pt>
                      <c:pt idx="5640">
                        <c:v>45.87</c:v>
                      </c:pt>
                      <c:pt idx="5641">
                        <c:v>38.51</c:v>
                      </c:pt>
                      <c:pt idx="5642">
                        <c:v>26.36</c:v>
                      </c:pt>
                      <c:pt idx="5643">
                        <c:v>26.48</c:v>
                      </c:pt>
                      <c:pt idx="5644">
                        <c:v>30.59</c:v>
                      </c:pt>
                      <c:pt idx="5645">
                        <c:v>64.22</c:v>
                      </c:pt>
                      <c:pt idx="5646">
                        <c:v>60.63</c:v>
                      </c:pt>
                      <c:pt idx="5647">
                        <c:v>43.64</c:v>
                      </c:pt>
                      <c:pt idx="5648">
                        <c:v>4.0599999999999996</c:v>
                      </c:pt>
                      <c:pt idx="5649">
                        <c:v>-0.01</c:v>
                      </c:pt>
                      <c:pt idx="5650">
                        <c:v>-3.97</c:v>
                      </c:pt>
                      <c:pt idx="5651">
                        <c:v>-9.5399999999999991</c:v>
                      </c:pt>
                      <c:pt idx="5652">
                        <c:v>-15.32</c:v>
                      </c:pt>
                      <c:pt idx="5653">
                        <c:v>-16.55</c:v>
                      </c:pt>
                      <c:pt idx="5654">
                        <c:v>-10.15</c:v>
                      </c:pt>
                      <c:pt idx="5655">
                        <c:v>-9.18</c:v>
                      </c:pt>
                      <c:pt idx="5656">
                        <c:v>-0.03</c:v>
                      </c:pt>
                      <c:pt idx="5657">
                        <c:v>50.2</c:v>
                      </c:pt>
                      <c:pt idx="5658">
                        <c:v>99.53</c:v>
                      </c:pt>
                      <c:pt idx="5659">
                        <c:v>118.57</c:v>
                      </c:pt>
                      <c:pt idx="5660">
                        <c:v>123.15</c:v>
                      </c:pt>
                      <c:pt idx="5661">
                        <c:v>119.54</c:v>
                      </c:pt>
                      <c:pt idx="5662">
                        <c:v>100.5</c:v>
                      </c:pt>
                      <c:pt idx="5663">
                        <c:v>110.45</c:v>
                      </c:pt>
                      <c:pt idx="5664">
                        <c:v>103.78</c:v>
                      </c:pt>
                      <c:pt idx="5665">
                        <c:v>100.42</c:v>
                      </c:pt>
                      <c:pt idx="5666">
                        <c:v>100.28</c:v>
                      </c:pt>
                      <c:pt idx="5667">
                        <c:v>100.9</c:v>
                      </c:pt>
                      <c:pt idx="5668">
                        <c:v>105.4</c:v>
                      </c:pt>
                      <c:pt idx="5669">
                        <c:v>101.02</c:v>
                      </c:pt>
                      <c:pt idx="5670">
                        <c:v>102.23</c:v>
                      </c:pt>
                      <c:pt idx="5671">
                        <c:v>76.22</c:v>
                      </c:pt>
                      <c:pt idx="5672">
                        <c:v>15</c:v>
                      </c:pt>
                      <c:pt idx="5673">
                        <c:v>-0.03</c:v>
                      </c:pt>
                      <c:pt idx="5674">
                        <c:v>-6.85</c:v>
                      </c:pt>
                      <c:pt idx="5675">
                        <c:v>-18.68</c:v>
                      </c:pt>
                      <c:pt idx="5676">
                        <c:v>-40.090000000000003</c:v>
                      </c:pt>
                      <c:pt idx="5677">
                        <c:v>-44.18</c:v>
                      </c:pt>
                      <c:pt idx="5678">
                        <c:v>-27.64</c:v>
                      </c:pt>
                      <c:pt idx="5679">
                        <c:v>-8.15</c:v>
                      </c:pt>
                      <c:pt idx="5680">
                        <c:v>-0.99</c:v>
                      </c:pt>
                      <c:pt idx="5681">
                        <c:v>71.680000000000007</c:v>
                      </c:pt>
                      <c:pt idx="5682">
                        <c:v>91.52</c:v>
                      </c:pt>
                      <c:pt idx="5683">
                        <c:v>80.08</c:v>
                      </c:pt>
                      <c:pt idx="5684">
                        <c:v>68.91</c:v>
                      </c:pt>
                      <c:pt idx="5685">
                        <c:v>64.14</c:v>
                      </c:pt>
                      <c:pt idx="5686">
                        <c:v>50</c:v>
                      </c:pt>
                      <c:pt idx="5687">
                        <c:v>0.37</c:v>
                      </c:pt>
                      <c:pt idx="5688">
                        <c:v>-0.02</c:v>
                      </c:pt>
                      <c:pt idx="5689">
                        <c:v>-0.34</c:v>
                      </c:pt>
                      <c:pt idx="5690">
                        <c:v>-1</c:v>
                      </c:pt>
                      <c:pt idx="5691">
                        <c:v>-0.89</c:v>
                      </c:pt>
                      <c:pt idx="5692">
                        <c:v>-0.42</c:v>
                      </c:pt>
                      <c:pt idx="5693">
                        <c:v>-0.05</c:v>
                      </c:pt>
                      <c:pt idx="5694">
                        <c:v>-0.01</c:v>
                      </c:pt>
                      <c:pt idx="5695">
                        <c:v>-0.01</c:v>
                      </c:pt>
                      <c:pt idx="5696">
                        <c:v>-1.39</c:v>
                      </c:pt>
                      <c:pt idx="5697">
                        <c:v>-6.07</c:v>
                      </c:pt>
                      <c:pt idx="5698">
                        <c:v>-10.1</c:v>
                      </c:pt>
                      <c:pt idx="5699">
                        <c:v>-15.5</c:v>
                      </c:pt>
                      <c:pt idx="5700">
                        <c:v>-20.010000000000002</c:v>
                      </c:pt>
                      <c:pt idx="5701">
                        <c:v>-19.829999999999998</c:v>
                      </c:pt>
                      <c:pt idx="5702">
                        <c:v>-10.15</c:v>
                      </c:pt>
                      <c:pt idx="5703">
                        <c:v>-5.01</c:v>
                      </c:pt>
                      <c:pt idx="5704">
                        <c:v>1</c:v>
                      </c:pt>
                      <c:pt idx="5705">
                        <c:v>87.04</c:v>
                      </c:pt>
                      <c:pt idx="5706">
                        <c:v>110</c:v>
                      </c:pt>
                      <c:pt idx="5707">
                        <c:v>119.45</c:v>
                      </c:pt>
                      <c:pt idx="5708">
                        <c:v>105.49</c:v>
                      </c:pt>
                      <c:pt idx="5709">
                        <c:v>99.7</c:v>
                      </c:pt>
                      <c:pt idx="5710">
                        <c:v>92.48</c:v>
                      </c:pt>
                      <c:pt idx="5711">
                        <c:v>92.75</c:v>
                      </c:pt>
                      <c:pt idx="5712">
                        <c:v>85.65</c:v>
                      </c:pt>
                      <c:pt idx="5713">
                        <c:v>80.94</c:v>
                      </c:pt>
                      <c:pt idx="5714">
                        <c:v>83.36</c:v>
                      </c:pt>
                      <c:pt idx="5715">
                        <c:v>82.43</c:v>
                      </c:pt>
                      <c:pt idx="5716">
                        <c:v>83.48</c:v>
                      </c:pt>
                      <c:pt idx="5717">
                        <c:v>113.11</c:v>
                      </c:pt>
                      <c:pt idx="5718">
                        <c:v>153.69</c:v>
                      </c:pt>
                      <c:pt idx="5719">
                        <c:v>130.97</c:v>
                      </c:pt>
                      <c:pt idx="5720">
                        <c:v>98.93</c:v>
                      </c:pt>
                      <c:pt idx="5721">
                        <c:v>77</c:v>
                      </c:pt>
                      <c:pt idx="5722">
                        <c:v>65.31</c:v>
                      </c:pt>
                      <c:pt idx="5723">
                        <c:v>23.07</c:v>
                      </c:pt>
                      <c:pt idx="5724">
                        <c:v>17.55</c:v>
                      </c:pt>
                      <c:pt idx="5725">
                        <c:v>42.88</c:v>
                      </c:pt>
                      <c:pt idx="5726">
                        <c:v>71.05</c:v>
                      </c:pt>
                      <c:pt idx="5727">
                        <c:v>88</c:v>
                      </c:pt>
                      <c:pt idx="5728">
                        <c:v>99.47</c:v>
                      </c:pt>
                      <c:pt idx="5729">
                        <c:v>116.82</c:v>
                      </c:pt>
                      <c:pt idx="5730">
                        <c:v>190.31</c:v>
                      </c:pt>
                      <c:pt idx="5731">
                        <c:v>231.06</c:v>
                      </c:pt>
                      <c:pt idx="5732">
                        <c:v>143.82</c:v>
                      </c:pt>
                      <c:pt idx="5733">
                        <c:v>110.86</c:v>
                      </c:pt>
                      <c:pt idx="5734">
                        <c:v>107.54</c:v>
                      </c:pt>
                      <c:pt idx="5735">
                        <c:v>98.41</c:v>
                      </c:pt>
                      <c:pt idx="5736">
                        <c:v>89.91</c:v>
                      </c:pt>
                      <c:pt idx="5737">
                        <c:v>86.45</c:v>
                      </c:pt>
                      <c:pt idx="5738">
                        <c:v>87.3</c:v>
                      </c:pt>
                      <c:pt idx="5739">
                        <c:v>89.1</c:v>
                      </c:pt>
                      <c:pt idx="5740">
                        <c:v>100.16</c:v>
                      </c:pt>
                      <c:pt idx="5741">
                        <c:v>125.76</c:v>
                      </c:pt>
                      <c:pt idx="5742">
                        <c:v>137.99</c:v>
                      </c:pt>
                      <c:pt idx="5743">
                        <c:v>116.01</c:v>
                      </c:pt>
                      <c:pt idx="5744">
                        <c:v>89.94</c:v>
                      </c:pt>
                      <c:pt idx="5745">
                        <c:v>73.72</c:v>
                      </c:pt>
                      <c:pt idx="5746">
                        <c:v>29.13</c:v>
                      </c:pt>
                      <c:pt idx="5747">
                        <c:v>5.07</c:v>
                      </c:pt>
                      <c:pt idx="5748">
                        <c:v>1.18</c:v>
                      </c:pt>
                      <c:pt idx="5749">
                        <c:v>2.33</c:v>
                      </c:pt>
                      <c:pt idx="5750">
                        <c:v>23.45</c:v>
                      </c:pt>
                      <c:pt idx="5751">
                        <c:v>52.5</c:v>
                      </c:pt>
                      <c:pt idx="5752">
                        <c:v>88.71</c:v>
                      </c:pt>
                      <c:pt idx="5753">
                        <c:v>116.06</c:v>
                      </c:pt>
                      <c:pt idx="5754">
                        <c:v>232.25</c:v>
                      </c:pt>
                      <c:pt idx="5755">
                        <c:v>217.92</c:v>
                      </c:pt>
                      <c:pt idx="5756">
                        <c:v>120.52</c:v>
                      </c:pt>
                      <c:pt idx="5757">
                        <c:v>105.21</c:v>
                      </c:pt>
                      <c:pt idx="5758">
                        <c:v>92.47</c:v>
                      </c:pt>
                      <c:pt idx="5759">
                        <c:v>90.47</c:v>
                      </c:pt>
                      <c:pt idx="5760">
                        <c:v>91.31</c:v>
                      </c:pt>
                      <c:pt idx="5761">
                        <c:v>87.48</c:v>
                      </c:pt>
                      <c:pt idx="5762">
                        <c:v>89.2</c:v>
                      </c:pt>
                      <c:pt idx="5763">
                        <c:v>91.74</c:v>
                      </c:pt>
                      <c:pt idx="5764">
                        <c:v>92.35</c:v>
                      </c:pt>
                      <c:pt idx="5765">
                        <c:v>114.99</c:v>
                      </c:pt>
                      <c:pt idx="5766">
                        <c:v>128.57</c:v>
                      </c:pt>
                      <c:pt idx="5767">
                        <c:v>121</c:v>
                      </c:pt>
                      <c:pt idx="5768">
                        <c:v>105.4</c:v>
                      </c:pt>
                      <c:pt idx="5769">
                        <c:v>87.56</c:v>
                      </c:pt>
                      <c:pt idx="5770">
                        <c:v>68.78</c:v>
                      </c:pt>
                      <c:pt idx="5771">
                        <c:v>35.14</c:v>
                      </c:pt>
                      <c:pt idx="5772">
                        <c:v>10.4</c:v>
                      </c:pt>
                      <c:pt idx="5773">
                        <c:v>8.17</c:v>
                      </c:pt>
                      <c:pt idx="5774">
                        <c:v>54.84</c:v>
                      </c:pt>
                      <c:pt idx="5775">
                        <c:v>78.56</c:v>
                      </c:pt>
                      <c:pt idx="5776">
                        <c:v>92.37</c:v>
                      </c:pt>
                      <c:pt idx="5777">
                        <c:v>111.57</c:v>
                      </c:pt>
                      <c:pt idx="5778">
                        <c:v>201.91</c:v>
                      </c:pt>
                      <c:pt idx="5779">
                        <c:v>204.03</c:v>
                      </c:pt>
                      <c:pt idx="5780">
                        <c:v>124.84</c:v>
                      </c:pt>
                      <c:pt idx="5781">
                        <c:v>111.76</c:v>
                      </c:pt>
                      <c:pt idx="5782">
                        <c:v>99.7</c:v>
                      </c:pt>
                      <c:pt idx="5783">
                        <c:v>93.53</c:v>
                      </c:pt>
                      <c:pt idx="5784">
                        <c:v>93.98</c:v>
                      </c:pt>
                      <c:pt idx="5785">
                        <c:v>89.81</c:v>
                      </c:pt>
                      <c:pt idx="5786">
                        <c:v>88.68</c:v>
                      </c:pt>
                      <c:pt idx="5787">
                        <c:v>89.37</c:v>
                      </c:pt>
                      <c:pt idx="5788">
                        <c:v>101.23</c:v>
                      </c:pt>
                      <c:pt idx="5789">
                        <c:v>125.46</c:v>
                      </c:pt>
                      <c:pt idx="5790">
                        <c:v>134.47</c:v>
                      </c:pt>
                      <c:pt idx="5791">
                        <c:v>126.24</c:v>
                      </c:pt>
                      <c:pt idx="5792">
                        <c:v>108.71</c:v>
                      </c:pt>
                      <c:pt idx="5793">
                        <c:v>92.19</c:v>
                      </c:pt>
                      <c:pt idx="5794">
                        <c:v>84.4</c:v>
                      </c:pt>
                      <c:pt idx="5795">
                        <c:v>65.78</c:v>
                      </c:pt>
                      <c:pt idx="5796">
                        <c:v>45.25</c:v>
                      </c:pt>
                      <c:pt idx="5797">
                        <c:v>51.32</c:v>
                      </c:pt>
                      <c:pt idx="5798">
                        <c:v>79.45</c:v>
                      </c:pt>
                      <c:pt idx="5799">
                        <c:v>90.15</c:v>
                      </c:pt>
                      <c:pt idx="5800">
                        <c:v>105.38</c:v>
                      </c:pt>
                      <c:pt idx="5801">
                        <c:v>123.51</c:v>
                      </c:pt>
                      <c:pt idx="5802">
                        <c:v>227.49</c:v>
                      </c:pt>
                      <c:pt idx="5803">
                        <c:v>289.27</c:v>
                      </c:pt>
                      <c:pt idx="5804">
                        <c:v>169.09</c:v>
                      </c:pt>
                      <c:pt idx="5805">
                        <c:v>125</c:v>
                      </c:pt>
                      <c:pt idx="5806">
                        <c:v>110.1</c:v>
                      </c:pt>
                      <c:pt idx="5807">
                        <c:v>109.88</c:v>
                      </c:pt>
                      <c:pt idx="5808">
                        <c:v>100.3</c:v>
                      </c:pt>
                      <c:pt idx="5809">
                        <c:v>93.53</c:v>
                      </c:pt>
                      <c:pt idx="5810">
                        <c:v>93.28</c:v>
                      </c:pt>
                      <c:pt idx="5811">
                        <c:v>97.62</c:v>
                      </c:pt>
                      <c:pt idx="5812">
                        <c:v>107.37</c:v>
                      </c:pt>
                      <c:pt idx="5813">
                        <c:v>136.83000000000001</c:v>
                      </c:pt>
                      <c:pt idx="5814">
                        <c:v>151.06</c:v>
                      </c:pt>
                      <c:pt idx="5815">
                        <c:v>133.55000000000001</c:v>
                      </c:pt>
                      <c:pt idx="5816">
                        <c:v>113.7</c:v>
                      </c:pt>
                      <c:pt idx="5817">
                        <c:v>98.24</c:v>
                      </c:pt>
                      <c:pt idx="5818">
                        <c:v>89.95</c:v>
                      </c:pt>
                      <c:pt idx="5819">
                        <c:v>86.13</c:v>
                      </c:pt>
                      <c:pt idx="5820">
                        <c:v>80.2</c:v>
                      </c:pt>
                      <c:pt idx="5821">
                        <c:v>79.08</c:v>
                      </c:pt>
                      <c:pt idx="5822">
                        <c:v>81.98</c:v>
                      </c:pt>
                      <c:pt idx="5823">
                        <c:v>86.35</c:v>
                      </c:pt>
                      <c:pt idx="5824">
                        <c:v>101.96</c:v>
                      </c:pt>
                      <c:pt idx="5825">
                        <c:v>119.99</c:v>
                      </c:pt>
                      <c:pt idx="5826">
                        <c:v>156.11000000000001</c:v>
                      </c:pt>
                      <c:pt idx="5827">
                        <c:v>137.29</c:v>
                      </c:pt>
                      <c:pt idx="5828">
                        <c:v>112.71</c:v>
                      </c:pt>
                      <c:pt idx="5829">
                        <c:v>96.83</c:v>
                      </c:pt>
                      <c:pt idx="5830">
                        <c:v>95.36</c:v>
                      </c:pt>
                      <c:pt idx="5831">
                        <c:v>107.67</c:v>
                      </c:pt>
                      <c:pt idx="5832">
                        <c:v>105.44</c:v>
                      </c:pt>
                      <c:pt idx="5833">
                        <c:v>102.06</c:v>
                      </c:pt>
                      <c:pt idx="5834">
                        <c:v>99.04</c:v>
                      </c:pt>
                      <c:pt idx="5835">
                        <c:v>96.65</c:v>
                      </c:pt>
                      <c:pt idx="5836">
                        <c:v>98.07</c:v>
                      </c:pt>
                      <c:pt idx="5837">
                        <c:v>109.97</c:v>
                      </c:pt>
                      <c:pt idx="5838">
                        <c:v>110.75</c:v>
                      </c:pt>
                      <c:pt idx="5839">
                        <c:v>109.97</c:v>
                      </c:pt>
                      <c:pt idx="5840">
                        <c:v>84.92</c:v>
                      </c:pt>
                      <c:pt idx="5841">
                        <c:v>60.13</c:v>
                      </c:pt>
                      <c:pt idx="5842">
                        <c:v>18.34</c:v>
                      </c:pt>
                      <c:pt idx="5843">
                        <c:v>0.47</c:v>
                      </c:pt>
                      <c:pt idx="5844">
                        <c:v>-0.59</c:v>
                      </c:pt>
                      <c:pt idx="5845">
                        <c:v>-0.8</c:v>
                      </c:pt>
                      <c:pt idx="5846">
                        <c:v>2.5499999999999998</c:v>
                      </c:pt>
                      <c:pt idx="5847">
                        <c:v>23.71</c:v>
                      </c:pt>
                      <c:pt idx="5848">
                        <c:v>80.02</c:v>
                      </c:pt>
                      <c:pt idx="5849">
                        <c:v>117.3</c:v>
                      </c:pt>
                      <c:pt idx="5850">
                        <c:v>148.29</c:v>
                      </c:pt>
                      <c:pt idx="5851">
                        <c:v>126.78</c:v>
                      </c:pt>
                      <c:pt idx="5852">
                        <c:v>107.29</c:v>
                      </c:pt>
                      <c:pt idx="5853">
                        <c:v>99.85</c:v>
                      </c:pt>
                      <c:pt idx="5854">
                        <c:v>89.23</c:v>
                      </c:pt>
                      <c:pt idx="5855">
                        <c:v>93.76</c:v>
                      </c:pt>
                      <c:pt idx="5856">
                        <c:v>85.98</c:v>
                      </c:pt>
                      <c:pt idx="5857">
                        <c:v>80.37</c:v>
                      </c:pt>
                      <c:pt idx="5858">
                        <c:v>80.14</c:v>
                      </c:pt>
                      <c:pt idx="5859">
                        <c:v>81.2</c:v>
                      </c:pt>
                      <c:pt idx="5860">
                        <c:v>80.16</c:v>
                      </c:pt>
                      <c:pt idx="5861">
                        <c:v>79.489999999999995</c:v>
                      </c:pt>
                      <c:pt idx="5862">
                        <c:v>73.099999999999994</c:v>
                      </c:pt>
                      <c:pt idx="5863">
                        <c:v>60.63</c:v>
                      </c:pt>
                      <c:pt idx="5864">
                        <c:v>41.27</c:v>
                      </c:pt>
                      <c:pt idx="5865">
                        <c:v>12.73</c:v>
                      </c:pt>
                      <c:pt idx="5866">
                        <c:v>-0.79</c:v>
                      </c:pt>
                      <c:pt idx="5867">
                        <c:v>-9.17</c:v>
                      </c:pt>
                      <c:pt idx="5868">
                        <c:v>-24</c:v>
                      </c:pt>
                      <c:pt idx="5869">
                        <c:v>-19.940000000000001</c:v>
                      </c:pt>
                      <c:pt idx="5870">
                        <c:v>-4.99</c:v>
                      </c:pt>
                      <c:pt idx="5871">
                        <c:v>25.56</c:v>
                      </c:pt>
                      <c:pt idx="5872">
                        <c:v>78.28</c:v>
                      </c:pt>
                      <c:pt idx="5873">
                        <c:v>109.11</c:v>
                      </c:pt>
                      <c:pt idx="5874">
                        <c:v>131.6</c:v>
                      </c:pt>
                      <c:pt idx="5875">
                        <c:v>123.91</c:v>
                      </c:pt>
                      <c:pt idx="5876">
                        <c:v>107.63</c:v>
                      </c:pt>
                      <c:pt idx="5877">
                        <c:v>102.02</c:v>
                      </c:pt>
                      <c:pt idx="5878">
                        <c:v>91.5</c:v>
                      </c:pt>
                      <c:pt idx="5879">
                        <c:v>91.24</c:v>
                      </c:pt>
                      <c:pt idx="5880">
                        <c:v>94.77</c:v>
                      </c:pt>
                      <c:pt idx="5881">
                        <c:v>92.39</c:v>
                      </c:pt>
                      <c:pt idx="5882">
                        <c:v>92.51</c:v>
                      </c:pt>
                      <c:pt idx="5883">
                        <c:v>91.59</c:v>
                      </c:pt>
                      <c:pt idx="5884">
                        <c:v>101.52</c:v>
                      </c:pt>
                      <c:pt idx="5885">
                        <c:v>114.73</c:v>
                      </c:pt>
                      <c:pt idx="5886">
                        <c:v>134.94999999999999</c:v>
                      </c:pt>
                      <c:pt idx="5887">
                        <c:v>131.94</c:v>
                      </c:pt>
                      <c:pt idx="5888">
                        <c:v>122.64</c:v>
                      </c:pt>
                      <c:pt idx="5889">
                        <c:v>102.83</c:v>
                      </c:pt>
                      <c:pt idx="5890">
                        <c:v>90.82</c:v>
                      </c:pt>
                      <c:pt idx="5891">
                        <c:v>85.05</c:v>
                      </c:pt>
                      <c:pt idx="5892">
                        <c:v>81.19</c:v>
                      </c:pt>
                      <c:pt idx="5893">
                        <c:v>83.63</c:v>
                      </c:pt>
                      <c:pt idx="5894">
                        <c:v>88.24</c:v>
                      </c:pt>
                      <c:pt idx="5895">
                        <c:v>93.63</c:v>
                      </c:pt>
                      <c:pt idx="5896">
                        <c:v>112.88</c:v>
                      </c:pt>
                      <c:pt idx="5897">
                        <c:v>137.78</c:v>
                      </c:pt>
                      <c:pt idx="5898">
                        <c:v>255.4</c:v>
                      </c:pt>
                      <c:pt idx="5899">
                        <c:v>212.06</c:v>
                      </c:pt>
                      <c:pt idx="5900">
                        <c:v>131.9</c:v>
                      </c:pt>
                      <c:pt idx="5901">
                        <c:v>114.24</c:v>
                      </c:pt>
                      <c:pt idx="5902">
                        <c:v>103.84</c:v>
                      </c:pt>
                      <c:pt idx="5903">
                        <c:v>99.6</c:v>
                      </c:pt>
                      <c:pt idx="5904">
                        <c:v>93.1</c:v>
                      </c:pt>
                      <c:pt idx="5905">
                        <c:v>91.56</c:v>
                      </c:pt>
                      <c:pt idx="5906">
                        <c:v>93.27</c:v>
                      </c:pt>
                      <c:pt idx="5907">
                        <c:v>96.24</c:v>
                      </c:pt>
                      <c:pt idx="5908">
                        <c:v>102.68</c:v>
                      </c:pt>
                      <c:pt idx="5909">
                        <c:v>137.21</c:v>
                      </c:pt>
                      <c:pt idx="5910">
                        <c:v>151.06</c:v>
                      </c:pt>
                      <c:pt idx="5911">
                        <c:v>133.94999999999999</c:v>
                      </c:pt>
                      <c:pt idx="5912">
                        <c:v>115.98</c:v>
                      </c:pt>
                      <c:pt idx="5913">
                        <c:v>98.88</c:v>
                      </c:pt>
                      <c:pt idx="5914">
                        <c:v>90.02</c:v>
                      </c:pt>
                      <c:pt idx="5915">
                        <c:v>84.8</c:v>
                      </c:pt>
                      <c:pt idx="5916">
                        <c:v>82.69</c:v>
                      </c:pt>
                      <c:pt idx="5917">
                        <c:v>84.13</c:v>
                      </c:pt>
                      <c:pt idx="5918">
                        <c:v>86.67</c:v>
                      </c:pt>
                      <c:pt idx="5919">
                        <c:v>91.21</c:v>
                      </c:pt>
                      <c:pt idx="5920">
                        <c:v>123.93</c:v>
                      </c:pt>
                      <c:pt idx="5921">
                        <c:v>300.01</c:v>
                      </c:pt>
                      <c:pt idx="5922">
                        <c:v>656.37</c:v>
                      </c:pt>
                      <c:pt idx="5923">
                        <c:v>520.32000000000005</c:v>
                      </c:pt>
                      <c:pt idx="5924">
                        <c:v>216.97</c:v>
                      </c:pt>
                      <c:pt idx="5925">
                        <c:v>133.19999999999999</c:v>
                      </c:pt>
                      <c:pt idx="5926">
                        <c:v>117.56</c:v>
                      </c:pt>
                      <c:pt idx="5927">
                        <c:v>108.17</c:v>
                      </c:pt>
                      <c:pt idx="5928">
                        <c:v>101.02</c:v>
                      </c:pt>
                      <c:pt idx="5929">
                        <c:v>99.03</c:v>
                      </c:pt>
                      <c:pt idx="5930">
                        <c:v>99.98</c:v>
                      </c:pt>
                      <c:pt idx="5931">
                        <c:v>99.06</c:v>
                      </c:pt>
                      <c:pt idx="5932">
                        <c:v>109.37</c:v>
                      </c:pt>
                      <c:pt idx="5933">
                        <c:v>144.02000000000001</c:v>
                      </c:pt>
                      <c:pt idx="5934">
                        <c:v>181.16</c:v>
                      </c:pt>
                      <c:pt idx="5935">
                        <c:v>155.88999999999999</c:v>
                      </c:pt>
                      <c:pt idx="5936">
                        <c:v>125.29</c:v>
                      </c:pt>
                      <c:pt idx="5937">
                        <c:v>107.21</c:v>
                      </c:pt>
                      <c:pt idx="5938">
                        <c:v>96.06</c:v>
                      </c:pt>
                      <c:pt idx="5939">
                        <c:v>92</c:v>
                      </c:pt>
                      <c:pt idx="5940">
                        <c:v>90.49</c:v>
                      </c:pt>
                      <c:pt idx="5941">
                        <c:v>89.2</c:v>
                      </c:pt>
                      <c:pt idx="5942">
                        <c:v>92.72</c:v>
                      </c:pt>
                      <c:pt idx="5943">
                        <c:v>101.85</c:v>
                      </c:pt>
                      <c:pt idx="5944">
                        <c:v>123.97</c:v>
                      </c:pt>
                      <c:pt idx="5945">
                        <c:v>155.69999999999999</c:v>
                      </c:pt>
                      <c:pt idx="5946">
                        <c:v>320.07</c:v>
                      </c:pt>
                      <c:pt idx="5947">
                        <c:v>189.23</c:v>
                      </c:pt>
                      <c:pt idx="5948">
                        <c:v>130.41999999999999</c:v>
                      </c:pt>
                      <c:pt idx="5949">
                        <c:v>108.59</c:v>
                      </c:pt>
                      <c:pt idx="5950">
                        <c:v>99.58</c:v>
                      </c:pt>
                      <c:pt idx="5951">
                        <c:v>101.27</c:v>
                      </c:pt>
                      <c:pt idx="5952">
                        <c:v>94.6</c:v>
                      </c:pt>
                      <c:pt idx="5953">
                        <c:v>90</c:v>
                      </c:pt>
                      <c:pt idx="5954">
                        <c:v>87.11</c:v>
                      </c:pt>
                      <c:pt idx="5955">
                        <c:v>80.92</c:v>
                      </c:pt>
                      <c:pt idx="5956">
                        <c:v>84.7</c:v>
                      </c:pt>
                      <c:pt idx="5957">
                        <c:v>109.05</c:v>
                      </c:pt>
                      <c:pt idx="5958">
                        <c:v>113.6</c:v>
                      </c:pt>
                      <c:pt idx="5959">
                        <c:v>119.04</c:v>
                      </c:pt>
                      <c:pt idx="5960">
                        <c:v>97.68</c:v>
                      </c:pt>
                      <c:pt idx="5961">
                        <c:v>71.040000000000006</c:v>
                      </c:pt>
                      <c:pt idx="5962">
                        <c:v>0.11</c:v>
                      </c:pt>
                      <c:pt idx="5963">
                        <c:v>-3.05</c:v>
                      </c:pt>
                      <c:pt idx="5964">
                        <c:v>-11.7</c:v>
                      </c:pt>
                      <c:pt idx="5965">
                        <c:v>-19.68</c:v>
                      </c:pt>
                      <c:pt idx="5966">
                        <c:v>-7.02</c:v>
                      </c:pt>
                      <c:pt idx="5967">
                        <c:v>-0.01</c:v>
                      </c:pt>
                      <c:pt idx="5968">
                        <c:v>36.130000000000003</c:v>
                      </c:pt>
                      <c:pt idx="5969">
                        <c:v>84.95</c:v>
                      </c:pt>
                      <c:pt idx="5970">
                        <c:v>99.74</c:v>
                      </c:pt>
                      <c:pt idx="5971">
                        <c:v>92.93</c:v>
                      </c:pt>
                      <c:pt idx="5972">
                        <c:v>80.099999999999994</c:v>
                      </c:pt>
                      <c:pt idx="5973">
                        <c:v>80.03</c:v>
                      </c:pt>
                      <c:pt idx="5974">
                        <c:v>64.61</c:v>
                      </c:pt>
                      <c:pt idx="5975">
                        <c:v>64.790000000000006</c:v>
                      </c:pt>
                      <c:pt idx="5976">
                        <c:v>61</c:v>
                      </c:pt>
                      <c:pt idx="5977">
                        <c:v>51.22</c:v>
                      </c:pt>
                      <c:pt idx="5978">
                        <c:v>48.58</c:v>
                      </c:pt>
                      <c:pt idx="5979">
                        <c:v>57.75</c:v>
                      </c:pt>
                      <c:pt idx="5980">
                        <c:v>69.86</c:v>
                      </c:pt>
                      <c:pt idx="5981">
                        <c:v>93.29</c:v>
                      </c:pt>
                      <c:pt idx="5982">
                        <c:v>119.48</c:v>
                      </c:pt>
                      <c:pt idx="5983">
                        <c:v>120.37</c:v>
                      </c:pt>
                      <c:pt idx="5984">
                        <c:v>100.09</c:v>
                      </c:pt>
                      <c:pt idx="5985">
                        <c:v>80</c:v>
                      </c:pt>
                      <c:pt idx="5986">
                        <c:v>59.51</c:v>
                      </c:pt>
                      <c:pt idx="5987">
                        <c:v>31.54</c:v>
                      </c:pt>
                      <c:pt idx="5988">
                        <c:v>12.48</c:v>
                      </c:pt>
                      <c:pt idx="5989">
                        <c:v>14.53</c:v>
                      </c:pt>
                      <c:pt idx="5990">
                        <c:v>30.06</c:v>
                      </c:pt>
                      <c:pt idx="5991">
                        <c:v>71.180000000000007</c:v>
                      </c:pt>
                      <c:pt idx="5992">
                        <c:v>87.56</c:v>
                      </c:pt>
                      <c:pt idx="5993">
                        <c:v>100.27</c:v>
                      </c:pt>
                      <c:pt idx="5994">
                        <c:v>129</c:v>
                      </c:pt>
                      <c:pt idx="5995">
                        <c:v>136.49</c:v>
                      </c:pt>
                      <c:pt idx="5996">
                        <c:v>99.76</c:v>
                      </c:pt>
                      <c:pt idx="5997">
                        <c:v>95.36</c:v>
                      </c:pt>
                      <c:pt idx="5998">
                        <c:v>92.88</c:v>
                      </c:pt>
                      <c:pt idx="5999">
                        <c:v>102.47</c:v>
                      </c:pt>
                      <c:pt idx="6000">
                        <c:v>96.9</c:v>
                      </c:pt>
                      <c:pt idx="6001">
                        <c:v>96.3</c:v>
                      </c:pt>
                      <c:pt idx="6002">
                        <c:v>95.31</c:v>
                      </c:pt>
                      <c:pt idx="6003">
                        <c:v>98.29</c:v>
                      </c:pt>
                      <c:pt idx="6004">
                        <c:v>101.02</c:v>
                      </c:pt>
                      <c:pt idx="6005">
                        <c:v>103.88</c:v>
                      </c:pt>
                      <c:pt idx="6006">
                        <c:v>104.71</c:v>
                      </c:pt>
                      <c:pt idx="6007">
                        <c:v>95.44</c:v>
                      </c:pt>
                      <c:pt idx="6008">
                        <c:v>84.19</c:v>
                      </c:pt>
                      <c:pt idx="6009">
                        <c:v>51.52</c:v>
                      </c:pt>
                      <c:pt idx="6010">
                        <c:v>14.17</c:v>
                      </c:pt>
                      <c:pt idx="6011">
                        <c:v>5.48</c:v>
                      </c:pt>
                      <c:pt idx="6012">
                        <c:v>1.02</c:v>
                      </c:pt>
                      <c:pt idx="6013">
                        <c:v>0.44</c:v>
                      </c:pt>
                      <c:pt idx="6014">
                        <c:v>8.41</c:v>
                      </c:pt>
                      <c:pt idx="6015">
                        <c:v>49.62</c:v>
                      </c:pt>
                      <c:pt idx="6016">
                        <c:v>101.4</c:v>
                      </c:pt>
                      <c:pt idx="6017">
                        <c:v>128.57</c:v>
                      </c:pt>
                      <c:pt idx="6018">
                        <c:v>150.4</c:v>
                      </c:pt>
                      <c:pt idx="6019">
                        <c:v>133</c:v>
                      </c:pt>
                      <c:pt idx="6020">
                        <c:v>101.9</c:v>
                      </c:pt>
                      <c:pt idx="6021">
                        <c:v>92.32</c:v>
                      </c:pt>
                      <c:pt idx="6022">
                        <c:v>89.24</c:v>
                      </c:pt>
                      <c:pt idx="6023">
                        <c:v>93.91</c:v>
                      </c:pt>
                      <c:pt idx="6024">
                        <c:v>86.46</c:v>
                      </c:pt>
                      <c:pt idx="6025">
                        <c:v>83.68</c:v>
                      </c:pt>
                      <c:pt idx="6026">
                        <c:v>82</c:v>
                      </c:pt>
                      <c:pt idx="6027">
                        <c:v>82.39</c:v>
                      </c:pt>
                      <c:pt idx="6028">
                        <c:v>85.1</c:v>
                      </c:pt>
                      <c:pt idx="6029">
                        <c:v>83.36</c:v>
                      </c:pt>
                      <c:pt idx="6030">
                        <c:v>82.07</c:v>
                      </c:pt>
                      <c:pt idx="6031">
                        <c:v>76.73</c:v>
                      </c:pt>
                      <c:pt idx="6032">
                        <c:v>40.58</c:v>
                      </c:pt>
                      <c:pt idx="6033">
                        <c:v>8.2899999999999991</c:v>
                      </c:pt>
                      <c:pt idx="6034">
                        <c:v>0.44</c:v>
                      </c:pt>
                      <c:pt idx="6035">
                        <c:v>0.04</c:v>
                      </c:pt>
                      <c:pt idx="6036">
                        <c:v>0.01</c:v>
                      </c:pt>
                      <c:pt idx="6037">
                        <c:v>1.1599999999999999</c:v>
                      </c:pt>
                      <c:pt idx="6038">
                        <c:v>3.17</c:v>
                      </c:pt>
                      <c:pt idx="6039">
                        <c:v>58.62</c:v>
                      </c:pt>
                      <c:pt idx="6040">
                        <c:v>95.99</c:v>
                      </c:pt>
                      <c:pt idx="6041">
                        <c:v>119.55</c:v>
                      </c:pt>
                      <c:pt idx="6042">
                        <c:v>124.15</c:v>
                      </c:pt>
                      <c:pt idx="6043">
                        <c:v>128.12</c:v>
                      </c:pt>
                      <c:pt idx="6044">
                        <c:v>117.2</c:v>
                      </c:pt>
                      <c:pt idx="6045">
                        <c:v>105.8</c:v>
                      </c:pt>
                      <c:pt idx="6046">
                        <c:v>97.13</c:v>
                      </c:pt>
                      <c:pt idx="6047">
                        <c:v>86.41</c:v>
                      </c:pt>
                      <c:pt idx="6048">
                        <c:v>85.76</c:v>
                      </c:pt>
                      <c:pt idx="6049">
                        <c:v>84.1</c:v>
                      </c:pt>
                      <c:pt idx="6050">
                        <c:v>82.03</c:v>
                      </c:pt>
                      <c:pt idx="6051">
                        <c:v>85.11</c:v>
                      </c:pt>
                      <c:pt idx="6052">
                        <c:v>85.79</c:v>
                      </c:pt>
                      <c:pt idx="6053">
                        <c:v>118.47</c:v>
                      </c:pt>
                      <c:pt idx="6054">
                        <c:v>140.62</c:v>
                      </c:pt>
                      <c:pt idx="6055">
                        <c:v>159.57</c:v>
                      </c:pt>
                      <c:pt idx="6056">
                        <c:v>129.68</c:v>
                      </c:pt>
                      <c:pt idx="6057">
                        <c:v>110.87</c:v>
                      </c:pt>
                      <c:pt idx="6058">
                        <c:v>100.74</c:v>
                      </c:pt>
                      <c:pt idx="6059">
                        <c:v>94.98</c:v>
                      </c:pt>
                      <c:pt idx="6060">
                        <c:v>89.17</c:v>
                      </c:pt>
                      <c:pt idx="6061">
                        <c:v>82.06</c:v>
                      </c:pt>
                      <c:pt idx="6062">
                        <c:v>83.98</c:v>
                      </c:pt>
                      <c:pt idx="6063">
                        <c:v>78.680000000000007</c:v>
                      </c:pt>
                      <c:pt idx="6064">
                        <c:v>92.8</c:v>
                      </c:pt>
                      <c:pt idx="6065">
                        <c:v>113.15</c:v>
                      </c:pt>
                      <c:pt idx="6066">
                        <c:v>114.56</c:v>
                      </c:pt>
                      <c:pt idx="6067">
                        <c:v>111.53</c:v>
                      </c:pt>
                      <c:pt idx="6068">
                        <c:v>96.02</c:v>
                      </c:pt>
                      <c:pt idx="6069">
                        <c:v>87.94</c:v>
                      </c:pt>
                      <c:pt idx="6070">
                        <c:v>79.52</c:v>
                      </c:pt>
                      <c:pt idx="6071">
                        <c:v>67.34</c:v>
                      </c:pt>
                      <c:pt idx="6072">
                        <c:v>59.79</c:v>
                      </c:pt>
                      <c:pt idx="6073">
                        <c:v>61.47</c:v>
                      </c:pt>
                      <c:pt idx="6074">
                        <c:v>61.36</c:v>
                      </c:pt>
                      <c:pt idx="6075">
                        <c:v>67.3</c:v>
                      </c:pt>
                      <c:pt idx="6076">
                        <c:v>80.92</c:v>
                      </c:pt>
                      <c:pt idx="6077">
                        <c:v>103.12</c:v>
                      </c:pt>
                      <c:pt idx="6078">
                        <c:v>129.9</c:v>
                      </c:pt>
                      <c:pt idx="6079">
                        <c:v>114.94</c:v>
                      </c:pt>
                      <c:pt idx="6080">
                        <c:v>100</c:v>
                      </c:pt>
                      <c:pt idx="6081">
                        <c:v>59.92</c:v>
                      </c:pt>
                      <c:pt idx="6082">
                        <c:v>9.52</c:v>
                      </c:pt>
                      <c:pt idx="6083">
                        <c:v>0.04</c:v>
                      </c:pt>
                      <c:pt idx="6084">
                        <c:v>-7.0000000000000007E-2</c:v>
                      </c:pt>
                      <c:pt idx="6085">
                        <c:v>-0.16</c:v>
                      </c:pt>
                      <c:pt idx="6086">
                        <c:v>-0.04</c:v>
                      </c:pt>
                      <c:pt idx="6087">
                        <c:v>0.22</c:v>
                      </c:pt>
                      <c:pt idx="6088">
                        <c:v>21.77</c:v>
                      </c:pt>
                      <c:pt idx="6089">
                        <c:v>80.400000000000006</c:v>
                      </c:pt>
                      <c:pt idx="6090">
                        <c:v>92.91</c:v>
                      </c:pt>
                      <c:pt idx="6091">
                        <c:v>83.25</c:v>
                      </c:pt>
                      <c:pt idx="6092">
                        <c:v>82.02</c:v>
                      </c:pt>
                      <c:pt idx="6093">
                        <c:v>76.63</c:v>
                      </c:pt>
                      <c:pt idx="6094">
                        <c:v>64.38</c:v>
                      </c:pt>
                      <c:pt idx="6095">
                        <c:v>40</c:v>
                      </c:pt>
                      <c:pt idx="6096">
                        <c:v>39.909999999999997</c:v>
                      </c:pt>
                      <c:pt idx="6097">
                        <c:v>32.99</c:v>
                      </c:pt>
                      <c:pt idx="6098">
                        <c:v>33.729999999999997</c:v>
                      </c:pt>
                      <c:pt idx="6099">
                        <c:v>38.93</c:v>
                      </c:pt>
                      <c:pt idx="6100">
                        <c:v>61.56</c:v>
                      </c:pt>
                      <c:pt idx="6101">
                        <c:v>86.79</c:v>
                      </c:pt>
                      <c:pt idx="6102">
                        <c:v>97.55</c:v>
                      </c:pt>
                      <c:pt idx="6103">
                        <c:v>110.72</c:v>
                      </c:pt>
                      <c:pt idx="6104">
                        <c:v>97.6</c:v>
                      </c:pt>
                      <c:pt idx="6105">
                        <c:v>76.81</c:v>
                      </c:pt>
                      <c:pt idx="6106">
                        <c:v>67.510000000000005</c:v>
                      </c:pt>
                      <c:pt idx="6107">
                        <c:v>62.45</c:v>
                      </c:pt>
                      <c:pt idx="6108">
                        <c:v>63.85</c:v>
                      </c:pt>
                      <c:pt idx="6109">
                        <c:v>69</c:v>
                      </c:pt>
                      <c:pt idx="6110">
                        <c:v>69.05</c:v>
                      </c:pt>
                      <c:pt idx="6111">
                        <c:v>76.75</c:v>
                      </c:pt>
                      <c:pt idx="6112">
                        <c:v>101.39</c:v>
                      </c:pt>
                      <c:pt idx="6113">
                        <c:v>115.14</c:v>
                      </c:pt>
                      <c:pt idx="6114">
                        <c:v>142.86000000000001</c:v>
                      </c:pt>
                      <c:pt idx="6115">
                        <c:v>138.36000000000001</c:v>
                      </c:pt>
                      <c:pt idx="6116">
                        <c:v>115.14</c:v>
                      </c:pt>
                      <c:pt idx="6117">
                        <c:v>102.97</c:v>
                      </c:pt>
                      <c:pt idx="6118">
                        <c:v>101.49</c:v>
                      </c:pt>
                      <c:pt idx="6119">
                        <c:v>90.06</c:v>
                      </c:pt>
                      <c:pt idx="6120">
                        <c:v>84.1</c:v>
                      </c:pt>
                      <c:pt idx="6121">
                        <c:v>83.93</c:v>
                      </c:pt>
                      <c:pt idx="6122">
                        <c:v>83.45</c:v>
                      </c:pt>
                      <c:pt idx="6123">
                        <c:v>85.02</c:v>
                      </c:pt>
                      <c:pt idx="6124">
                        <c:v>86.92</c:v>
                      </c:pt>
                      <c:pt idx="6125">
                        <c:v>107.96</c:v>
                      </c:pt>
                      <c:pt idx="6126">
                        <c:v>134.94</c:v>
                      </c:pt>
                      <c:pt idx="6127">
                        <c:v>135.94</c:v>
                      </c:pt>
                      <c:pt idx="6128">
                        <c:v>103.36</c:v>
                      </c:pt>
                      <c:pt idx="6129">
                        <c:v>85</c:v>
                      </c:pt>
                      <c:pt idx="6130">
                        <c:v>80.41</c:v>
                      </c:pt>
                      <c:pt idx="6131">
                        <c:v>78.62</c:v>
                      </c:pt>
                      <c:pt idx="6132">
                        <c:v>78.23</c:v>
                      </c:pt>
                      <c:pt idx="6133">
                        <c:v>80.11</c:v>
                      </c:pt>
                      <c:pt idx="6134">
                        <c:v>84.93</c:v>
                      </c:pt>
                      <c:pt idx="6135">
                        <c:v>91.67</c:v>
                      </c:pt>
                      <c:pt idx="6136">
                        <c:v>109.74</c:v>
                      </c:pt>
                      <c:pt idx="6137">
                        <c:v>145.19</c:v>
                      </c:pt>
                      <c:pt idx="6138">
                        <c:v>300.01</c:v>
                      </c:pt>
                      <c:pt idx="6139">
                        <c:v>250.02</c:v>
                      </c:pt>
                      <c:pt idx="6140">
                        <c:v>125</c:v>
                      </c:pt>
                      <c:pt idx="6141">
                        <c:v>99.47</c:v>
                      </c:pt>
                      <c:pt idx="6142">
                        <c:v>92.04</c:v>
                      </c:pt>
                      <c:pt idx="6143">
                        <c:v>99.97</c:v>
                      </c:pt>
                      <c:pt idx="6144">
                        <c:v>91.52</c:v>
                      </c:pt>
                      <c:pt idx="6145">
                        <c:v>87.31</c:v>
                      </c:pt>
                      <c:pt idx="6146">
                        <c:v>86.76</c:v>
                      </c:pt>
                      <c:pt idx="6147">
                        <c:v>84.63</c:v>
                      </c:pt>
                      <c:pt idx="6148">
                        <c:v>87.92</c:v>
                      </c:pt>
                      <c:pt idx="6149">
                        <c:v>100.49</c:v>
                      </c:pt>
                      <c:pt idx="6150">
                        <c:v>119.96</c:v>
                      </c:pt>
                      <c:pt idx="6151">
                        <c:v>132.24</c:v>
                      </c:pt>
                      <c:pt idx="6152">
                        <c:v>116.24</c:v>
                      </c:pt>
                      <c:pt idx="6153">
                        <c:v>102.54</c:v>
                      </c:pt>
                      <c:pt idx="6154">
                        <c:v>94.99</c:v>
                      </c:pt>
                      <c:pt idx="6155">
                        <c:v>88.55</c:v>
                      </c:pt>
                      <c:pt idx="6156">
                        <c:v>77.5</c:v>
                      </c:pt>
                      <c:pt idx="6157">
                        <c:v>66.959999999999994</c:v>
                      </c:pt>
                      <c:pt idx="6158">
                        <c:v>72.2</c:v>
                      </c:pt>
                      <c:pt idx="6159">
                        <c:v>74.3</c:v>
                      </c:pt>
                      <c:pt idx="6160">
                        <c:v>79.849999999999994</c:v>
                      </c:pt>
                      <c:pt idx="6161">
                        <c:v>96.47</c:v>
                      </c:pt>
                      <c:pt idx="6162">
                        <c:v>100</c:v>
                      </c:pt>
                      <c:pt idx="6163">
                        <c:v>94.25</c:v>
                      </c:pt>
                      <c:pt idx="6164">
                        <c:v>84.57</c:v>
                      </c:pt>
                      <c:pt idx="6165">
                        <c:v>79.3</c:v>
                      </c:pt>
                      <c:pt idx="6166">
                        <c:v>60.99</c:v>
                      </c:pt>
                      <c:pt idx="6167">
                        <c:v>55.61</c:v>
                      </c:pt>
                      <c:pt idx="6168">
                        <c:v>50.01</c:v>
                      </c:pt>
                      <c:pt idx="6169">
                        <c:v>43.33</c:v>
                      </c:pt>
                      <c:pt idx="6170">
                        <c:v>45.18</c:v>
                      </c:pt>
                      <c:pt idx="6171">
                        <c:v>46.7</c:v>
                      </c:pt>
                      <c:pt idx="6172">
                        <c:v>44.27</c:v>
                      </c:pt>
                      <c:pt idx="6173">
                        <c:v>55.35</c:v>
                      </c:pt>
                      <c:pt idx="6174">
                        <c:v>65</c:v>
                      </c:pt>
                      <c:pt idx="6175">
                        <c:v>75.540000000000006</c:v>
                      </c:pt>
                      <c:pt idx="6176">
                        <c:v>66.599999999999994</c:v>
                      </c:pt>
                      <c:pt idx="6177">
                        <c:v>41.02</c:v>
                      </c:pt>
                      <c:pt idx="6178">
                        <c:v>8.08</c:v>
                      </c:pt>
                      <c:pt idx="6179">
                        <c:v>0.86</c:v>
                      </c:pt>
                      <c:pt idx="6180">
                        <c:v>-0.06</c:v>
                      </c:pt>
                      <c:pt idx="6181">
                        <c:v>-0.46</c:v>
                      </c:pt>
                      <c:pt idx="6182">
                        <c:v>-7.0000000000000007E-2</c:v>
                      </c:pt>
                      <c:pt idx="6183">
                        <c:v>9.5399999999999991</c:v>
                      </c:pt>
                      <c:pt idx="6184">
                        <c:v>65.09</c:v>
                      </c:pt>
                      <c:pt idx="6185">
                        <c:v>94.39</c:v>
                      </c:pt>
                      <c:pt idx="6186">
                        <c:v>126.58</c:v>
                      </c:pt>
                      <c:pt idx="6187">
                        <c:v>117.85</c:v>
                      </c:pt>
                      <c:pt idx="6188">
                        <c:v>103.09</c:v>
                      </c:pt>
                      <c:pt idx="6189">
                        <c:v>93.75</c:v>
                      </c:pt>
                      <c:pt idx="6190">
                        <c:v>84.76</c:v>
                      </c:pt>
                      <c:pt idx="6191">
                        <c:v>78.11</c:v>
                      </c:pt>
                      <c:pt idx="6192">
                        <c:v>70.069999999999993</c:v>
                      </c:pt>
                      <c:pt idx="6193">
                        <c:v>66.599999999999994</c:v>
                      </c:pt>
                      <c:pt idx="6194">
                        <c:v>67.150000000000006</c:v>
                      </c:pt>
                      <c:pt idx="6195">
                        <c:v>63.66</c:v>
                      </c:pt>
                      <c:pt idx="6196">
                        <c:v>65.61</c:v>
                      </c:pt>
                      <c:pt idx="6197">
                        <c:v>69.180000000000007</c:v>
                      </c:pt>
                      <c:pt idx="6198">
                        <c:v>85.42</c:v>
                      </c:pt>
                      <c:pt idx="6199">
                        <c:v>76.959999999999994</c:v>
                      </c:pt>
                      <c:pt idx="6200">
                        <c:v>54.07</c:v>
                      </c:pt>
                      <c:pt idx="6201">
                        <c:v>10.92</c:v>
                      </c:pt>
                      <c:pt idx="6202">
                        <c:v>7.0000000000000007E-2</c:v>
                      </c:pt>
                      <c:pt idx="6203">
                        <c:v>0</c:v>
                      </c:pt>
                      <c:pt idx="6204">
                        <c:v>-0.01</c:v>
                      </c:pt>
                      <c:pt idx="6205">
                        <c:v>-0.41</c:v>
                      </c:pt>
                      <c:pt idx="6206">
                        <c:v>-0.27</c:v>
                      </c:pt>
                      <c:pt idx="6207">
                        <c:v>19.7</c:v>
                      </c:pt>
                      <c:pt idx="6208">
                        <c:v>82.25</c:v>
                      </c:pt>
                      <c:pt idx="6209">
                        <c:v>112.8</c:v>
                      </c:pt>
                      <c:pt idx="6210">
                        <c:v>133.16</c:v>
                      </c:pt>
                      <c:pt idx="6211">
                        <c:v>123.6</c:v>
                      </c:pt>
                      <c:pt idx="6212">
                        <c:v>112.68</c:v>
                      </c:pt>
                      <c:pt idx="6213">
                        <c:v>107.11</c:v>
                      </c:pt>
                      <c:pt idx="6214">
                        <c:v>92.6</c:v>
                      </c:pt>
                      <c:pt idx="6215">
                        <c:v>92.99</c:v>
                      </c:pt>
                      <c:pt idx="6216">
                        <c:v>88.14</c:v>
                      </c:pt>
                      <c:pt idx="6217">
                        <c:v>87.26</c:v>
                      </c:pt>
                      <c:pt idx="6218">
                        <c:v>84.93</c:v>
                      </c:pt>
                      <c:pt idx="6219">
                        <c:v>84.34</c:v>
                      </c:pt>
                      <c:pt idx="6220">
                        <c:v>88.31</c:v>
                      </c:pt>
                      <c:pt idx="6221">
                        <c:v>110.97</c:v>
                      </c:pt>
                      <c:pt idx="6222">
                        <c:v>130</c:v>
                      </c:pt>
                      <c:pt idx="6223">
                        <c:v>146.06</c:v>
                      </c:pt>
                      <c:pt idx="6224">
                        <c:v>126.4</c:v>
                      </c:pt>
                      <c:pt idx="6225">
                        <c:v>112.63</c:v>
                      </c:pt>
                      <c:pt idx="6226">
                        <c:v>105.02</c:v>
                      </c:pt>
                      <c:pt idx="6227">
                        <c:v>96.02</c:v>
                      </c:pt>
                      <c:pt idx="6228">
                        <c:v>86.89</c:v>
                      </c:pt>
                      <c:pt idx="6229">
                        <c:v>80.86</c:v>
                      </c:pt>
                      <c:pt idx="6230">
                        <c:v>75.37</c:v>
                      </c:pt>
                      <c:pt idx="6231">
                        <c:v>76.3</c:v>
                      </c:pt>
                      <c:pt idx="6232">
                        <c:v>86.98</c:v>
                      </c:pt>
                      <c:pt idx="6233">
                        <c:v>107.87</c:v>
                      </c:pt>
                      <c:pt idx="6234">
                        <c:v>112.57</c:v>
                      </c:pt>
                      <c:pt idx="6235">
                        <c:v>109.01</c:v>
                      </c:pt>
                      <c:pt idx="6236">
                        <c:v>90.1</c:v>
                      </c:pt>
                      <c:pt idx="6237">
                        <c:v>78.81</c:v>
                      </c:pt>
                      <c:pt idx="6238">
                        <c:v>81.53</c:v>
                      </c:pt>
                      <c:pt idx="6239">
                        <c:v>85.54</c:v>
                      </c:pt>
                      <c:pt idx="6240">
                        <c:v>82.3</c:v>
                      </c:pt>
                      <c:pt idx="6241">
                        <c:v>80.510000000000005</c:v>
                      </c:pt>
                      <c:pt idx="6242">
                        <c:v>79.84</c:v>
                      </c:pt>
                      <c:pt idx="6243">
                        <c:v>80.040000000000006</c:v>
                      </c:pt>
                      <c:pt idx="6244">
                        <c:v>91.52</c:v>
                      </c:pt>
                      <c:pt idx="6245">
                        <c:v>108.32</c:v>
                      </c:pt>
                      <c:pt idx="6246">
                        <c:v>133.94</c:v>
                      </c:pt>
                      <c:pt idx="6247">
                        <c:v>137.52000000000001</c:v>
                      </c:pt>
                      <c:pt idx="6248">
                        <c:v>108.91</c:v>
                      </c:pt>
                      <c:pt idx="6249">
                        <c:v>96.52</c:v>
                      </c:pt>
                      <c:pt idx="6250">
                        <c:v>82.39</c:v>
                      </c:pt>
                      <c:pt idx="6251">
                        <c:v>59.81</c:v>
                      </c:pt>
                      <c:pt idx="6252">
                        <c:v>41.77</c:v>
                      </c:pt>
                      <c:pt idx="6253">
                        <c:v>25.64</c:v>
                      </c:pt>
                      <c:pt idx="6254">
                        <c:v>44.44</c:v>
                      </c:pt>
                      <c:pt idx="6255">
                        <c:v>74.290000000000006</c:v>
                      </c:pt>
                      <c:pt idx="6256">
                        <c:v>93.5</c:v>
                      </c:pt>
                      <c:pt idx="6257">
                        <c:v>112.99</c:v>
                      </c:pt>
                      <c:pt idx="6258">
                        <c:v>132.53</c:v>
                      </c:pt>
                      <c:pt idx="6259">
                        <c:v>111.24</c:v>
                      </c:pt>
                      <c:pt idx="6260">
                        <c:v>96.12</c:v>
                      </c:pt>
                      <c:pt idx="6261">
                        <c:v>89.94</c:v>
                      </c:pt>
                      <c:pt idx="6262">
                        <c:v>83.84</c:v>
                      </c:pt>
                      <c:pt idx="6263">
                        <c:v>85.16</c:v>
                      </c:pt>
                      <c:pt idx="6264">
                        <c:v>80.94</c:v>
                      </c:pt>
                      <c:pt idx="6265">
                        <c:v>83.71</c:v>
                      </c:pt>
                      <c:pt idx="6266">
                        <c:v>83.67</c:v>
                      </c:pt>
                      <c:pt idx="6267">
                        <c:v>82.51</c:v>
                      </c:pt>
                      <c:pt idx="6268">
                        <c:v>89.92</c:v>
                      </c:pt>
                      <c:pt idx="6269">
                        <c:v>105.09</c:v>
                      </c:pt>
                      <c:pt idx="6270">
                        <c:v>141.91999999999999</c:v>
                      </c:pt>
                      <c:pt idx="6271">
                        <c:v>133.07</c:v>
                      </c:pt>
                      <c:pt idx="6272">
                        <c:v>102.44</c:v>
                      </c:pt>
                      <c:pt idx="6273">
                        <c:v>79</c:v>
                      </c:pt>
                      <c:pt idx="6274">
                        <c:v>55.32</c:v>
                      </c:pt>
                      <c:pt idx="6275">
                        <c:v>5.49</c:v>
                      </c:pt>
                      <c:pt idx="6276">
                        <c:v>0</c:v>
                      </c:pt>
                      <c:pt idx="6277">
                        <c:v>-0.09</c:v>
                      </c:pt>
                      <c:pt idx="6278">
                        <c:v>1.04</c:v>
                      </c:pt>
                      <c:pt idx="6279">
                        <c:v>40.049999999999997</c:v>
                      </c:pt>
                      <c:pt idx="6280">
                        <c:v>87.52</c:v>
                      </c:pt>
                      <c:pt idx="6281">
                        <c:v>113.91</c:v>
                      </c:pt>
                      <c:pt idx="6282">
                        <c:v>129.91999999999999</c:v>
                      </c:pt>
                      <c:pt idx="6283">
                        <c:v>108.2</c:v>
                      </c:pt>
                      <c:pt idx="6284">
                        <c:v>93.25</c:v>
                      </c:pt>
                      <c:pt idx="6285">
                        <c:v>89.92</c:v>
                      </c:pt>
                      <c:pt idx="6286">
                        <c:v>79.489999999999995</c:v>
                      </c:pt>
                      <c:pt idx="6287">
                        <c:v>76.400000000000006</c:v>
                      </c:pt>
                      <c:pt idx="6288">
                        <c:v>77.53</c:v>
                      </c:pt>
                      <c:pt idx="6289">
                        <c:v>78.03</c:v>
                      </c:pt>
                      <c:pt idx="6290">
                        <c:v>77.349999999999994</c:v>
                      </c:pt>
                      <c:pt idx="6291">
                        <c:v>79.260000000000005</c:v>
                      </c:pt>
                      <c:pt idx="6292">
                        <c:v>89.99</c:v>
                      </c:pt>
                      <c:pt idx="6293">
                        <c:v>113.47</c:v>
                      </c:pt>
                      <c:pt idx="6294">
                        <c:v>143.24</c:v>
                      </c:pt>
                      <c:pt idx="6295">
                        <c:v>124.12</c:v>
                      </c:pt>
                      <c:pt idx="6296">
                        <c:v>97.64</c:v>
                      </c:pt>
                      <c:pt idx="6297">
                        <c:v>74.81</c:v>
                      </c:pt>
                      <c:pt idx="6298">
                        <c:v>50.41</c:v>
                      </c:pt>
                      <c:pt idx="6299">
                        <c:v>4.97</c:v>
                      </c:pt>
                      <c:pt idx="6300">
                        <c:v>-0.06</c:v>
                      </c:pt>
                      <c:pt idx="6301">
                        <c:v>-0.09</c:v>
                      </c:pt>
                      <c:pt idx="6302">
                        <c:v>10.91</c:v>
                      </c:pt>
                      <c:pt idx="6303">
                        <c:v>58.55</c:v>
                      </c:pt>
                      <c:pt idx="6304">
                        <c:v>91.05</c:v>
                      </c:pt>
                      <c:pt idx="6305">
                        <c:v>114.53</c:v>
                      </c:pt>
                      <c:pt idx="6306">
                        <c:v>134.30000000000001</c:v>
                      </c:pt>
                      <c:pt idx="6307">
                        <c:v>113.5</c:v>
                      </c:pt>
                      <c:pt idx="6308">
                        <c:v>91.1</c:v>
                      </c:pt>
                      <c:pt idx="6309">
                        <c:v>88.97</c:v>
                      </c:pt>
                      <c:pt idx="6310">
                        <c:v>78.87</c:v>
                      </c:pt>
                      <c:pt idx="6311">
                        <c:v>72.61</c:v>
                      </c:pt>
                      <c:pt idx="6312">
                        <c:v>74.040000000000006</c:v>
                      </c:pt>
                      <c:pt idx="6313">
                        <c:v>73.42</c:v>
                      </c:pt>
                      <c:pt idx="6314">
                        <c:v>73.17</c:v>
                      </c:pt>
                      <c:pt idx="6315">
                        <c:v>74.52</c:v>
                      </c:pt>
                      <c:pt idx="6316">
                        <c:v>89.09</c:v>
                      </c:pt>
                      <c:pt idx="6317">
                        <c:v>108.06</c:v>
                      </c:pt>
                      <c:pt idx="6318">
                        <c:v>141.44999999999999</c:v>
                      </c:pt>
                      <c:pt idx="6319">
                        <c:v>108.6</c:v>
                      </c:pt>
                      <c:pt idx="6320">
                        <c:v>88.92</c:v>
                      </c:pt>
                      <c:pt idx="6321">
                        <c:v>62.05</c:v>
                      </c:pt>
                      <c:pt idx="6322">
                        <c:v>24.69</c:v>
                      </c:pt>
                      <c:pt idx="6323">
                        <c:v>8.24</c:v>
                      </c:pt>
                      <c:pt idx="6324">
                        <c:v>-0.01</c:v>
                      </c:pt>
                      <c:pt idx="6325">
                        <c:v>7.0000000000000007E-2</c:v>
                      </c:pt>
                      <c:pt idx="6326">
                        <c:v>7.56</c:v>
                      </c:pt>
                      <c:pt idx="6327">
                        <c:v>43.68</c:v>
                      </c:pt>
                      <c:pt idx="6328">
                        <c:v>84.12</c:v>
                      </c:pt>
                      <c:pt idx="6329">
                        <c:v>106.01</c:v>
                      </c:pt>
                      <c:pt idx="6330">
                        <c:v>145.72</c:v>
                      </c:pt>
                      <c:pt idx="6331">
                        <c:v>108.84</c:v>
                      </c:pt>
                      <c:pt idx="6332">
                        <c:v>91.07</c:v>
                      </c:pt>
                      <c:pt idx="6333">
                        <c:v>87.8</c:v>
                      </c:pt>
                      <c:pt idx="6334">
                        <c:v>87.08</c:v>
                      </c:pt>
                      <c:pt idx="6335">
                        <c:v>88.29</c:v>
                      </c:pt>
                      <c:pt idx="6336">
                        <c:v>85.3</c:v>
                      </c:pt>
                      <c:pt idx="6337">
                        <c:v>82</c:v>
                      </c:pt>
                      <c:pt idx="6338">
                        <c:v>82.19</c:v>
                      </c:pt>
                      <c:pt idx="6339">
                        <c:v>86.38</c:v>
                      </c:pt>
                      <c:pt idx="6340">
                        <c:v>89.48</c:v>
                      </c:pt>
                      <c:pt idx="6341">
                        <c:v>99.69</c:v>
                      </c:pt>
                      <c:pt idx="6342">
                        <c:v>97.76</c:v>
                      </c:pt>
                      <c:pt idx="6343">
                        <c:v>85.3</c:v>
                      </c:pt>
                      <c:pt idx="6344">
                        <c:v>60.99</c:v>
                      </c:pt>
                      <c:pt idx="6345">
                        <c:v>22</c:v>
                      </c:pt>
                      <c:pt idx="6346">
                        <c:v>3.15</c:v>
                      </c:pt>
                      <c:pt idx="6347">
                        <c:v>0</c:v>
                      </c:pt>
                      <c:pt idx="6348">
                        <c:v>-3.36</c:v>
                      </c:pt>
                      <c:pt idx="6349">
                        <c:v>-3.95</c:v>
                      </c:pt>
                      <c:pt idx="6350">
                        <c:v>1.0900000000000001</c:v>
                      </c:pt>
                      <c:pt idx="6351">
                        <c:v>47.26</c:v>
                      </c:pt>
                      <c:pt idx="6352">
                        <c:v>97.19</c:v>
                      </c:pt>
                      <c:pt idx="6353">
                        <c:v>127.5</c:v>
                      </c:pt>
                      <c:pt idx="6354">
                        <c:v>141.99</c:v>
                      </c:pt>
                      <c:pt idx="6355">
                        <c:v>112.5</c:v>
                      </c:pt>
                      <c:pt idx="6356">
                        <c:v>95.93</c:v>
                      </c:pt>
                      <c:pt idx="6357">
                        <c:v>93.6</c:v>
                      </c:pt>
                      <c:pt idx="6358">
                        <c:v>88.3</c:v>
                      </c:pt>
                      <c:pt idx="6359">
                        <c:v>97.73</c:v>
                      </c:pt>
                      <c:pt idx="6360">
                        <c:v>90.05</c:v>
                      </c:pt>
                      <c:pt idx="6361">
                        <c:v>89.99</c:v>
                      </c:pt>
                      <c:pt idx="6362">
                        <c:v>89.5</c:v>
                      </c:pt>
                      <c:pt idx="6363">
                        <c:v>90.75</c:v>
                      </c:pt>
                      <c:pt idx="6364">
                        <c:v>90.65</c:v>
                      </c:pt>
                      <c:pt idx="6365">
                        <c:v>94.88</c:v>
                      </c:pt>
                      <c:pt idx="6366">
                        <c:v>97.31</c:v>
                      </c:pt>
                      <c:pt idx="6367">
                        <c:v>86.48</c:v>
                      </c:pt>
                      <c:pt idx="6368">
                        <c:v>62.79</c:v>
                      </c:pt>
                      <c:pt idx="6369">
                        <c:v>26.17</c:v>
                      </c:pt>
                      <c:pt idx="6370">
                        <c:v>11.13</c:v>
                      </c:pt>
                      <c:pt idx="6371">
                        <c:v>7.69</c:v>
                      </c:pt>
                      <c:pt idx="6372">
                        <c:v>-0.08</c:v>
                      </c:pt>
                      <c:pt idx="6373">
                        <c:v>0.01</c:v>
                      </c:pt>
                      <c:pt idx="6374">
                        <c:v>9.66</c:v>
                      </c:pt>
                      <c:pt idx="6375">
                        <c:v>61.6</c:v>
                      </c:pt>
                      <c:pt idx="6376">
                        <c:v>106.27</c:v>
                      </c:pt>
                      <c:pt idx="6377">
                        <c:v>132.22999999999999</c:v>
                      </c:pt>
                      <c:pt idx="6378">
                        <c:v>157.18</c:v>
                      </c:pt>
                      <c:pt idx="6379">
                        <c:v>126.11</c:v>
                      </c:pt>
                      <c:pt idx="6380">
                        <c:v>109.54</c:v>
                      </c:pt>
                      <c:pt idx="6381">
                        <c:v>98.72</c:v>
                      </c:pt>
                      <c:pt idx="6382">
                        <c:v>92</c:v>
                      </c:pt>
                      <c:pt idx="6383">
                        <c:v>90.8</c:v>
                      </c:pt>
                      <c:pt idx="6384">
                        <c:v>84.08</c:v>
                      </c:pt>
                      <c:pt idx="6385">
                        <c:v>85.2</c:v>
                      </c:pt>
                      <c:pt idx="6386">
                        <c:v>87.15</c:v>
                      </c:pt>
                      <c:pt idx="6387">
                        <c:v>86.93</c:v>
                      </c:pt>
                      <c:pt idx="6388">
                        <c:v>97.3</c:v>
                      </c:pt>
                      <c:pt idx="6389">
                        <c:v>133.4</c:v>
                      </c:pt>
                      <c:pt idx="6390">
                        <c:v>203.73</c:v>
                      </c:pt>
                      <c:pt idx="6391">
                        <c:v>151.33000000000001</c:v>
                      </c:pt>
                      <c:pt idx="6392">
                        <c:v>109.99</c:v>
                      </c:pt>
                      <c:pt idx="6393">
                        <c:v>94.66</c:v>
                      </c:pt>
                      <c:pt idx="6394">
                        <c:v>80.16</c:v>
                      </c:pt>
                      <c:pt idx="6395">
                        <c:v>78.94</c:v>
                      </c:pt>
                      <c:pt idx="6396">
                        <c:v>76.55</c:v>
                      </c:pt>
                      <c:pt idx="6397">
                        <c:v>76.77</c:v>
                      </c:pt>
                      <c:pt idx="6398">
                        <c:v>80.98</c:v>
                      </c:pt>
                      <c:pt idx="6399">
                        <c:v>102.25</c:v>
                      </c:pt>
                      <c:pt idx="6400">
                        <c:v>136.01</c:v>
                      </c:pt>
                      <c:pt idx="6401">
                        <c:v>240.26</c:v>
                      </c:pt>
                      <c:pt idx="6402">
                        <c:v>328.39</c:v>
                      </c:pt>
                      <c:pt idx="6403">
                        <c:v>178.64</c:v>
                      </c:pt>
                      <c:pt idx="6404">
                        <c:v>116.71</c:v>
                      </c:pt>
                      <c:pt idx="6405">
                        <c:v>100.93</c:v>
                      </c:pt>
                      <c:pt idx="6406">
                        <c:v>91.54</c:v>
                      </c:pt>
                      <c:pt idx="6407">
                        <c:v>88.2</c:v>
                      </c:pt>
                      <c:pt idx="6408">
                        <c:v>82.51</c:v>
                      </c:pt>
                      <c:pt idx="6409">
                        <c:v>83.69</c:v>
                      </c:pt>
                      <c:pt idx="6410">
                        <c:v>85.02</c:v>
                      </c:pt>
                      <c:pt idx="6411">
                        <c:v>83.26</c:v>
                      </c:pt>
                      <c:pt idx="6412">
                        <c:v>88.29</c:v>
                      </c:pt>
                      <c:pt idx="6413">
                        <c:v>110.75</c:v>
                      </c:pt>
                      <c:pt idx="6414">
                        <c:v>141.96</c:v>
                      </c:pt>
                      <c:pt idx="6415">
                        <c:v>127.4</c:v>
                      </c:pt>
                      <c:pt idx="6416">
                        <c:v>106.02</c:v>
                      </c:pt>
                      <c:pt idx="6417">
                        <c:v>92.61</c:v>
                      </c:pt>
                      <c:pt idx="6418">
                        <c:v>83.87</c:v>
                      </c:pt>
                      <c:pt idx="6419">
                        <c:v>75.75</c:v>
                      </c:pt>
                      <c:pt idx="6420">
                        <c:v>68.989999999999995</c:v>
                      </c:pt>
                      <c:pt idx="6421">
                        <c:v>61.59</c:v>
                      </c:pt>
                      <c:pt idx="6422">
                        <c:v>74.94</c:v>
                      </c:pt>
                      <c:pt idx="6423">
                        <c:v>83.27</c:v>
                      </c:pt>
                      <c:pt idx="6424">
                        <c:v>104.04</c:v>
                      </c:pt>
                      <c:pt idx="6425">
                        <c:v>119.05</c:v>
                      </c:pt>
                      <c:pt idx="6426">
                        <c:v>124.13</c:v>
                      </c:pt>
                      <c:pt idx="6427">
                        <c:v>101.7</c:v>
                      </c:pt>
                      <c:pt idx="6428">
                        <c:v>80.44</c:v>
                      </c:pt>
                      <c:pt idx="6429">
                        <c:v>74.48</c:v>
                      </c:pt>
                      <c:pt idx="6430">
                        <c:v>60.58</c:v>
                      </c:pt>
                      <c:pt idx="6431">
                        <c:v>51.48</c:v>
                      </c:pt>
                      <c:pt idx="6432">
                        <c:v>42.18</c:v>
                      </c:pt>
                      <c:pt idx="6433">
                        <c:v>39.200000000000003</c:v>
                      </c:pt>
                      <c:pt idx="6434">
                        <c:v>39.450000000000003</c:v>
                      </c:pt>
                      <c:pt idx="6435">
                        <c:v>54.77</c:v>
                      </c:pt>
                      <c:pt idx="6436">
                        <c:v>63.95</c:v>
                      </c:pt>
                      <c:pt idx="6437">
                        <c:v>78.34</c:v>
                      </c:pt>
                      <c:pt idx="6438">
                        <c:v>83.77</c:v>
                      </c:pt>
                      <c:pt idx="6439">
                        <c:v>88.15</c:v>
                      </c:pt>
                      <c:pt idx="6440">
                        <c:v>70.319999999999993</c:v>
                      </c:pt>
                      <c:pt idx="6441">
                        <c:v>49.46</c:v>
                      </c:pt>
                      <c:pt idx="6442">
                        <c:v>25.24</c:v>
                      </c:pt>
                      <c:pt idx="6443">
                        <c:v>19.100000000000001</c:v>
                      </c:pt>
                      <c:pt idx="6444">
                        <c:v>18.78</c:v>
                      </c:pt>
                      <c:pt idx="6445">
                        <c:v>55.53</c:v>
                      </c:pt>
                      <c:pt idx="6446">
                        <c:v>72.23</c:v>
                      </c:pt>
                      <c:pt idx="6447">
                        <c:v>89.69</c:v>
                      </c:pt>
                      <c:pt idx="6448">
                        <c:v>107.85</c:v>
                      </c:pt>
                      <c:pt idx="6449">
                        <c:v>156.19999999999999</c:v>
                      </c:pt>
                      <c:pt idx="6450">
                        <c:v>195.42</c:v>
                      </c:pt>
                      <c:pt idx="6451">
                        <c:v>131.84</c:v>
                      </c:pt>
                      <c:pt idx="6452">
                        <c:v>96.61</c:v>
                      </c:pt>
                      <c:pt idx="6453">
                        <c:v>91.64</c:v>
                      </c:pt>
                      <c:pt idx="6454">
                        <c:v>82.22</c:v>
                      </c:pt>
                      <c:pt idx="6455">
                        <c:v>66.02</c:v>
                      </c:pt>
                      <c:pt idx="6456">
                        <c:v>58.78</c:v>
                      </c:pt>
                      <c:pt idx="6457">
                        <c:v>52.34</c:v>
                      </c:pt>
                      <c:pt idx="6458">
                        <c:v>49.87</c:v>
                      </c:pt>
                      <c:pt idx="6459">
                        <c:v>45.53</c:v>
                      </c:pt>
                      <c:pt idx="6460">
                        <c:v>49.71</c:v>
                      </c:pt>
                      <c:pt idx="6461">
                        <c:v>72.03</c:v>
                      </c:pt>
                      <c:pt idx="6462">
                        <c:v>85.2</c:v>
                      </c:pt>
                      <c:pt idx="6463">
                        <c:v>83.4</c:v>
                      </c:pt>
                      <c:pt idx="6464">
                        <c:v>67.33</c:v>
                      </c:pt>
                      <c:pt idx="6465">
                        <c:v>49.23</c:v>
                      </c:pt>
                      <c:pt idx="6466">
                        <c:v>31.62</c:v>
                      </c:pt>
                      <c:pt idx="6467">
                        <c:v>17</c:v>
                      </c:pt>
                      <c:pt idx="6468">
                        <c:v>12.08</c:v>
                      </c:pt>
                      <c:pt idx="6469">
                        <c:v>12.68</c:v>
                      </c:pt>
                      <c:pt idx="6470">
                        <c:v>37.9</c:v>
                      </c:pt>
                      <c:pt idx="6471">
                        <c:v>54.91</c:v>
                      </c:pt>
                      <c:pt idx="6472">
                        <c:v>73.650000000000006</c:v>
                      </c:pt>
                      <c:pt idx="6473">
                        <c:v>80</c:v>
                      </c:pt>
                      <c:pt idx="6474">
                        <c:v>89</c:v>
                      </c:pt>
                      <c:pt idx="6475">
                        <c:v>78.930000000000007</c:v>
                      </c:pt>
                      <c:pt idx="6476">
                        <c:v>62.84</c:v>
                      </c:pt>
                      <c:pt idx="6477">
                        <c:v>53.72</c:v>
                      </c:pt>
                      <c:pt idx="6478">
                        <c:v>36.299999999999997</c:v>
                      </c:pt>
                      <c:pt idx="6479">
                        <c:v>-0.06</c:v>
                      </c:pt>
                      <c:pt idx="6480">
                        <c:v>0.04</c:v>
                      </c:pt>
                      <c:pt idx="6481">
                        <c:v>-0.01</c:v>
                      </c:pt>
                      <c:pt idx="6482">
                        <c:v>-0.59</c:v>
                      </c:pt>
                      <c:pt idx="6483">
                        <c:v>-0.2</c:v>
                      </c:pt>
                      <c:pt idx="6484">
                        <c:v>-0.03</c:v>
                      </c:pt>
                      <c:pt idx="6485">
                        <c:v>0</c:v>
                      </c:pt>
                      <c:pt idx="6486">
                        <c:v>25.92</c:v>
                      </c:pt>
                      <c:pt idx="6487">
                        <c:v>39.92</c:v>
                      </c:pt>
                      <c:pt idx="6488">
                        <c:v>5.53</c:v>
                      </c:pt>
                      <c:pt idx="6489">
                        <c:v>-0.09</c:v>
                      </c:pt>
                      <c:pt idx="6490">
                        <c:v>-3.75</c:v>
                      </c:pt>
                      <c:pt idx="6491">
                        <c:v>-5.56</c:v>
                      </c:pt>
                      <c:pt idx="6492">
                        <c:v>-6.32</c:v>
                      </c:pt>
                      <c:pt idx="6493">
                        <c:v>-5.05</c:v>
                      </c:pt>
                      <c:pt idx="6494">
                        <c:v>-0.11</c:v>
                      </c:pt>
                      <c:pt idx="6495">
                        <c:v>0</c:v>
                      </c:pt>
                      <c:pt idx="6496">
                        <c:v>37.83</c:v>
                      </c:pt>
                      <c:pt idx="6497">
                        <c:v>62.55</c:v>
                      </c:pt>
                      <c:pt idx="6498">
                        <c:v>60.47</c:v>
                      </c:pt>
                      <c:pt idx="6499">
                        <c:v>59.57</c:v>
                      </c:pt>
                      <c:pt idx="6500">
                        <c:v>33.090000000000003</c:v>
                      </c:pt>
                      <c:pt idx="6501">
                        <c:v>26.03</c:v>
                      </c:pt>
                      <c:pt idx="6502">
                        <c:v>25</c:v>
                      </c:pt>
                      <c:pt idx="6503">
                        <c:v>1.77</c:v>
                      </c:pt>
                      <c:pt idx="6504">
                        <c:v>3.03</c:v>
                      </c:pt>
                      <c:pt idx="6505">
                        <c:v>3.29</c:v>
                      </c:pt>
                      <c:pt idx="6506">
                        <c:v>3.16</c:v>
                      </c:pt>
                      <c:pt idx="6507">
                        <c:v>3.27</c:v>
                      </c:pt>
                      <c:pt idx="6508">
                        <c:v>4.1500000000000004</c:v>
                      </c:pt>
                      <c:pt idx="6509">
                        <c:v>11.96</c:v>
                      </c:pt>
                      <c:pt idx="6510">
                        <c:v>22.28</c:v>
                      </c:pt>
                      <c:pt idx="6511">
                        <c:v>26.21</c:v>
                      </c:pt>
                      <c:pt idx="6512">
                        <c:v>18.91</c:v>
                      </c:pt>
                      <c:pt idx="6513">
                        <c:v>9.75</c:v>
                      </c:pt>
                      <c:pt idx="6514">
                        <c:v>3.78</c:v>
                      </c:pt>
                      <c:pt idx="6515">
                        <c:v>0.65</c:v>
                      </c:pt>
                      <c:pt idx="6516">
                        <c:v>0</c:v>
                      </c:pt>
                      <c:pt idx="6517">
                        <c:v>0</c:v>
                      </c:pt>
                      <c:pt idx="6518">
                        <c:v>0.06</c:v>
                      </c:pt>
                      <c:pt idx="6519">
                        <c:v>9.82</c:v>
                      </c:pt>
                      <c:pt idx="6520">
                        <c:v>63.23</c:v>
                      </c:pt>
                      <c:pt idx="6521">
                        <c:v>80.28</c:v>
                      </c:pt>
                      <c:pt idx="6522">
                        <c:v>100.08</c:v>
                      </c:pt>
                      <c:pt idx="6523">
                        <c:v>96.31</c:v>
                      </c:pt>
                      <c:pt idx="6524">
                        <c:v>80.7</c:v>
                      </c:pt>
                      <c:pt idx="6525">
                        <c:v>80.28</c:v>
                      </c:pt>
                      <c:pt idx="6526">
                        <c:v>74.73</c:v>
                      </c:pt>
                      <c:pt idx="6527">
                        <c:v>60.66</c:v>
                      </c:pt>
                      <c:pt idx="6528">
                        <c:v>45.5</c:v>
                      </c:pt>
                      <c:pt idx="6529">
                        <c:v>44.16</c:v>
                      </c:pt>
                      <c:pt idx="6530">
                        <c:v>43.35</c:v>
                      </c:pt>
                      <c:pt idx="6531">
                        <c:v>57.74</c:v>
                      </c:pt>
                      <c:pt idx="6532">
                        <c:v>73.63</c:v>
                      </c:pt>
                      <c:pt idx="6533">
                        <c:v>77</c:v>
                      </c:pt>
                      <c:pt idx="6534">
                        <c:v>98</c:v>
                      </c:pt>
                      <c:pt idx="6535">
                        <c:v>96.88</c:v>
                      </c:pt>
                      <c:pt idx="6536">
                        <c:v>54.43</c:v>
                      </c:pt>
                      <c:pt idx="6537">
                        <c:v>1.33</c:v>
                      </c:pt>
                      <c:pt idx="6538">
                        <c:v>0</c:v>
                      </c:pt>
                      <c:pt idx="6539">
                        <c:v>-0.01</c:v>
                      </c:pt>
                      <c:pt idx="6540">
                        <c:v>-0.5</c:v>
                      </c:pt>
                      <c:pt idx="6541">
                        <c:v>-0.45</c:v>
                      </c:pt>
                      <c:pt idx="6542">
                        <c:v>0</c:v>
                      </c:pt>
                      <c:pt idx="6543">
                        <c:v>43.24</c:v>
                      </c:pt>
                      <c:pt idx="6544">
                        <c:v>94.01</c:v>
                      </c:pt>
                      <c:pt idx="6545">
                        <c:v>152.59</c:v>
                      </c:pt>
                      <c:pt idx="6546">
                        <c:v>167.32</c:v>
                      </c:pt>
                      <c:pt idx="6547">
                        <c:v>109.61</c:v>
                      </c:pt>
                      <c:pt idx="6548">
                        <c:v>80.13</c:v>
                      </c:pt>
                      <c:pt idx="6549">
                        <c:v>64.3</c:v>
                      </c:pt>
                      <c:pt idx="6550">
                        <c:v>37.39</c:v>
                      </c:pt>
                      <c:pt idx="6551">
                        <c:v>19</c:v>
                      </c:pt>
                      <c:pt idx="6552">
                        <c:v>11.45</c:v>
                      </c:pt>
                      <c:pt idx="6553">
                        <c:v>8.4</c:v>
                      </c:pt>
                      <c:pt idx="6554">
                        <c:v>5.53</c:v>
                      </c:pt>
                      <c:pt idx="6555">
                        <c:v>5.61</c:v>
                      </c:pt>
                      <c:pt idx="6556">
                        <c:v>16.98</c:v>
                      </c:pt>
                      <c:pt idx="6557">
                        <c:v>45.64</c:v>
                      </c:pt>
                      <c:pt idx="6558">
                        <c:v>90.42</c:v>
                      </c:pt>
                      <c:pt idx="6559">
                        <c:v>93.55</c:v>
                      </c:pt>
                      <c:pt idx="6560">
                        <c:v>68.459999999999994</c:v>
                      </c:pt>
                      <c:pt idx="6561">
                        <c:v>44.41</c:v>
                      </c:pt>
                      <c:pt idx="6562">
                        <c:v>20.91</c:v>
                      </c:pt>
                      <c:pt idx="6563">
                        <c:v>9.2799999999999994</c:v>
                      </c:pt>
                      <c:pt idx="6564">
                        <c:v>2.06</c:v>
                      </c:pt>
                      <c:pt idx="6565">
                        <c:v>7.63</c:v>
                      </c:pt>
                      <c:pt idx="6566">
                        <c:v>21.96</c:v>
                      </c:pt>
                      <c:pt idx="6567">
                        <c:v>35.130000000000003</c:v>
                      </c:pt>
                      <c:pt idx="6568">
                        <c:v>64.599999999999994</c:v>
                      </c:pt>
                      <c:pt idx="6569">
                        <c:v>70.36</c:v>
                      </c:pt>
                      <c:pt idx="6570">
                        <c:v>64.239999999999995</c:v>
                      </c:pt>
                      <c:pt idx="6571">
                        <c:v>42.35</c:v>
                      </c:pt>
                      <c:pt idx="6572">
                        <c:v>21.93</c:v>
                      </c:pt>
                      <c:pt idx="6573">
                        <c:v>20.010000000000002</c:v>
                      </c:pt>
                      <c:pt idx="6574">
                        <c:v>9.84</c:v>
                      </c:pt>
                      <c:pt idx="6575">
                        <c:v>3.21</c:v>
                      </c:pt>
                      <c:pt idx="6576">
                        <c:v>7.0000000000000007E-2</c:v>
                      </c:pt>
                      <c:pt idx="6577">
                        <c:v>0.05</c:v>
                      </c:pt>
                      <c:pt idx="6578">
                        <c:v>0.02</c:v>
                      </c:pt>
                      <c:pt idx="6579">
                        <c:v>0.09</c:v>
                      </c:pt>
                      <c:pt idx="6580">
                        <c:v>6.8</c:v>
                      </c:pt>
                      <c:pt idx="6581">
                        <c:v>63.96</c:v>
                      </c:pt>
                      <c:pt idx="6582">
                        <c:v>103.35</c:v>
                      </c:pt>
                      <c:pt idx="6583">
                        <c:v>114.98</c:v>
                      </c:pt>
                      <c:pt idx="6584">
                        <c:v>100.41</c:v>
                      </c:pt>
                      <c:pt idx="6585">
                        <c:v>76.48</c:v>
                      </c:pt>
                      <c:pt idx="6586">
                        <c:v>68.209999999999994</c:v>
                      </c:pt>
                      <c:pt idx="6587">
                        <c:v>58.6</c:v>
                      </c:pt>
                      <c:pt idx="6588">
                        <c:v>55.66</c:v>
                      </c:pt>
                      <c:pt idx="6589">
                        <c:v>56.51</c:v>
                      </c:pt>
                      <c:pt idx="6590">
                        <c:v>62.18</c:v>
                      </c:pt>
                      <c:pt idx="6591">
                        <c:v>98.94</c:v>
                      </c:pt>
                      <c:pt idx="6592">
                        <c:v>109.58</c:v>
                      </c:pt>
                      <c:pt idx="6593">
                        <c:v>133.9</c:v>
                      </c:pt>
                      <c:pt idx="6594">
                        <c:v>136.51</c:v>
                      </c:pt>
                      <c:pt idx="6595">
                        <c:v>118.54</c:v>
                      </c:pt>
                      <c:pt idx="6596">
                        <c:v>92.3</c:v>
                      </c:pt>
                      <c:pt idx="6597">
                        <c:v>91.45</c:v>
                      </c:pt>
                      <c:pt idx="6598">
                        <c:v>76.239999999999995</c:v>
                      </c:pt>
                      <c:pt idx="6599">
                        <c:v>85.44</c:v>
                      </c:pt>
                      <c:pt idx="6600">
                        <c:v>80.88</c:v>
                      </c:pt>
                      <c:pt idx="6601">
                        <c:v>77.09</c:v>
                      </c:pt>
                      <c:pt idx="6602">
                        <c:v>74.930000000000007</c:v>
                      </c:pt>
                      <c:pt idx="6603">
                        <c:v>77.14</c:v>
                      </c:pt>
                      <c:pt idx="6604">
                        <c:v>81.099999999999994</c:v>
                      </c:pt>
                      <c:pt idx="6605">
                        <c:v>96.53</c:v>
                      </c:pt>
                      <c:pt idx="6606">
                        <c:v>118.83</c:v>
                      </c:pt>
                      <c:pt idx="6607">
                        <c:v>135.69999999999999</c:v>
                      </c:pt>
                      <c:pt idx="6608">
                        <c:v>117.59</c:v>
                      </c:pt>
                      <c:pt idx="6609">
                        <c:v>103.21</c:v>
                      </c:pt>
                      <c:pt idx="6610">
                        <c:v>96.52</c:v>
                      </c:pt>
                      <c:pt idx="6611">
                        <c:v>90.45</c:v>
                      </c:pt>
                      <c:pt idx="6612">
                        <c:v>86.44</c:v>
                      </c:pt>
                      <c:pt idx="6613">
                        <c:v>78.87</c:v>
                      </c:pt>
                      <c:pt idx="6614">
                        <c:v>82.07</c:v>
                      </c:pt>
                      <c:pt idx="6615">
                        <c:v>81.510000000000005</c:v>
                      </c:pt>
                      <c:pt idx="6616">
                        <c:v>100.1</c:v>
                      </c:pt>
                      <c:pt idx="6617">
                        <c:v>117.01</c:v>
                      </c:pt>
                      <c:pt idx="6618">
                        <c:v>130.07</c:v>
                      </c:pt>
                      <c:pt idx="6619">
                        <c:v>114.37</c:v>
                      </c:pt>
                      <c:pt idx="6620">
                        <c:v>96.54</c:v>
                      </c:pt>
                      <c:pt idx="6621">
                        <c:v>93.3</c:v>
                      </c:pt>
                      <c:pt idx="6622">
                        <c:v>85</c:v>
                      </c:pt>
                      <c:pt idx="6623">
                        <c:v>67.33</c:v>
                      </c:pt>
                      <c:pt idx="6624">
                        <c:v>65.86</c:v>
                      </c:pt>
                      <c:pt idx="6625">
                        <c:v>65.14</c:v>
                      </c:pt>
                      <c:pt idx="6626">
                        <c:v>64.180000000000007</c:v>
                      </c:pt>
                      <c:pt idx="6627">
                        <c:v>63.98</c:v>
                      </c:pt>
                      <c:pt idx="6628">
                        <c:v>64.400000000000006</c:v>
                      </c:pt>
                      <c:pt idx="6629">
                        <c:v>65.430000000000007</c:v>
                      </c:pt>
                      <c:pt idx="6630">
                        <c:v>73.37</c:v>
                      </c:pt>
                      <c:pt idx="6631">
                        <c:v>76.67</c:v>
                      </c:pt>
                      <c:pt idx="6632">
                        <c:v>72.900000000000006</c:v>
                      </c:pt>
                      <c:pt idx="6633">
                        <c:v>69.28</c:v>
                      </c:pt>
                      <c:pt idx="6634">
                        <c:v>63.04</c:v>
                      </c:pt>
                      <c:pt idx="6635">
                        <c:v>47.09</c:v>
                      </c:pt>
                      <c:pt idx="6636">
                        <c:v>33.979999999999997</c:v>
                      </c:pt>
                      <c:pt idx="6637">
                        <c:v>39.14</c:v>
                      </c:pt>
                      <c:pt idx="6638">
                        <c:v>51.36</c:v>
                      </c:pt>
                      <c:pt idx="6639">
                        <c:v>66.040000000000006</c:v>
                      </c:pt>
                      <c:pt idx="6640">
                        <c:v>89.7</c:v>
                      </c:pt>
                      <c:pt idx="6641">
                        <c:v>110.07</c:v>
                      </c:pt>
                      <c:pt idx="6642">
                        <c:v>115.32</c:v>
                      </c:pt>
                      <c:pt idx="6643">
                        <c:v>108.28</c:v>
                      </c:pt>
                      <c:pt idx="6644">
                        <c:v>98.76</c:v>
                      </c:pt>
                      <c:pt idx="6645">
                        <c:v>90.96</c:v>
                      </c:pt>
                      <c:pt idx="6646">
                        <c:v>81.459999999999994</c:v>
                      </c:pt>
                      <c:pt idx="6647">
                        <c:v>73.900000000000006</c:v>
                      </c:pt>
                      <c:pt idx="6648">
                        <c:v>72.52</c:v>
                      </c:pt>
                      <c:pt idx="6649">
                        <c:v>72.099999999999994</c:v>
                      </c:pt>
                      <c:pt idx="6650">
                        <c:v>72</c:v>
                      </c:pt>
                      <c:pt idx="6651">
                        <c:v>72.33</c:v>
                      </c:pt>
                      <c:pt idx="6652">
                        <c:v>77.099999999999994</c:v>
                      </c:pt>
                      <c:pt idx="6653">
                        <c:v>103</c:v>
                      </c:pt>
                      <c:pt idx="6654">
                        <c:v>126.54</c:v>
                      </c:pt>
                      <c:pt idx="6655">
                        <c:v>141.41999999999999</c:v>
                      </c:pt>
                      <c:pt idx="6656">
                        <c:v>116.27</c:v>
                      </c:pt>
                      <c:pt idx="6657">
                        <c:v>100.09</c:v>
                      </c:pt>
                      <c:pt idx="6658">
                        <c:v>85</c:v>
                      </c:pt>
                      <c:pt idx="6659">
                        <c:v>75.069999999999993</c:v>
                      </c:pt>
                      <c:pt idx="6660">
                        <c:v>73.489999999999995</c:v>
                      </c:pt>
                      <c:pt idx="6661">
                        <c:v>75.819999999999993</c:v>
                      </c:pt>
                      <c:pt idx="6662">
                        <c:v>79.069999999999993</c:v>
                      </c:pt>
                      <c:pt idx="6663">
                        <c:v>89.8</c:v>
                      </c:pt>
                      <c:pt idx="6664">
                        <c:v>107.1</c:v>
                      </c:pt>
                      <c:pt idx="6665">
                        <c:v>131.97</c:v>
                      </c:pt>
                      <c:pt idx="6666">
                        <c:v>149.02000000000001</c:v>
                      </c:pt>
                      <c:pt idx="6667">
                        <c:v>123.7</c:v>
                      </c:pt>
                      <c:pt idx="6668">
                        <c:v>99.9</c:v>
                      </c:pt>
                      <c:pt idx="6669">
                        <c:v>99.9</c:v>
                      </c:pt>
                      <c:pt idx="6670">
                        <c:v>90</c:v>
                      </c:pt>
                      <c:pt idx="6671">
                        <c:v>93.1</c:v>
                      </c:pt>
                      <c:pt idx="6672">
                        <c:v>84.64</c:v>
                      </c:pt>
                      <c:pt idx="6673">
                        <c:v>81.400000000000006</c:v>
                      </c:pt>
                      <c:pt idx="6674">
                        <c:v>75.540000000000006</c:v>
                      </c:pt>
                      <c:pt idx="6675">
                        <c:v>75.72</c:v>
                      </c:pt>
                      <c:pt idx="6676">
                        <c:v>79.819999999999993</c:v>
                      </c:pt>
                      <c:pt idx="6677">
                        <c:v>86.2</c:v>
                      </c:pt>
                      <c:pt idx="6678">
                        <c:v>100.4</c:v>
                      </c:pt>
                      <c:pt idx="6679">
                        <c:v>110.62</c:v>
                      </c:pt>
                      <c:pt idx="6680">
                        <c:v>103</c:v>
                      </c:pt>
                      <c:pt idx="6681">
                        <c:v>82.42</c:v>
                      </c:pt>
                      <c:pt idx="6682">
                        <c:v>68.27</c:v>
                      </c:pt>
                      <c:pt idx="6683">
                        <c:v>51.44</c:v>
                      </c:pt>
                      <c:pt idx="6684">
                        <c:v>38.880000000000003</c:v>
                      </c:pt>
                      <c:pt idx="6685">
                        <c:v>43.49</c:v>
                      </c:pt>
                      <c:pt idx="6686">
                        <c:v>62.92</c:v>
                      </c:pt>
                      <c:pt idx="6687">
                        <c:v>77.12</c:v>
                      </c:pt>
                      <c:pt idx="6688">
                        <c:v>99.48</c:v>
                      </c:pt>
                      <c:pt idx="6689">
                        <c:v>148.65</c:v>
                      </c:pt>
                      <c:pt idx="6690">
                        <c:v>143.28</c:v>
                      </c:pt>
                      <c:pt idx="6691">
                        <c:v>107.23</c:v>
                      </c:pt>
                      <c:pt idx="6692">
                        <c:v>96.56</c:v>
                      </c:pt>
                      <c:pt idx="6693">
                        <c:v>85.23</c:v>
                      </c:pt>
                      <c:pt idx="6694">
                        <c:v>67</c:v>
                      </c:pt>
                      <c:pt idx="6695">
                        <c:v>67.040000000000006</c:v>
                      </c:pt>
                      <c:pt idx="6696">
                        <c:v>63.97</c:v>
                      </c:pt>
                      <c:pt idx="6697">
                        <c:v>62.83</c:v>
                      </c:pt>
                      <c:pt idx="6698">
                        <c:v>63.35</c:v>
                      </c:pt>
                      <c:pt idx="6699">
                        <c:v>62.71</c:v>
                      </c:pt>
                      <c:pt idx="6700">
                        <c:v>63.97</c:v>
                      </c:pt>
                      <c:pt idx="6701">
                        <c:v>63.41</c:v>
                      </c:pt>
                      <c:pt idx="6702">
                        <c:v>72.81</c:v>
                      </c:pt>
                      <c:pt idx="6703">
                        <c:v>77.2</c:v>
                      </c:pt>
                      <c:pt idx="6704">
                        <c:v>66.06</c:v>
                      </c:pt>
                      <c:pt idx="6705">
                        <c:v>35.28</c:v>
                      </c:pt>
                      <c:pt idx="6706">
                        <c:v>16.68</c:v>
                      </c:pt>
                      <c:pt idx="6707">
                        <c:v>5.25</c:v>
                      </c:pt>
                      <c:pt idx="6708">
                        <c:v>-0.01</c:v>
                      </c:pt>
                      <c:pt idx="6709">
                        <c:v>-0.01</c:v>
                      </c:pt>
                      <c:pt idx="6710">
                        <c:v>0.2</c:v>
                      </c:pt>
                      <c:pt idx="6711">
                        <c:v>59.6</c:v>
                      </c:pt>
                      <c:pt idx="6712">
                        <c:v>90.94</c:v>
                      </c:pt>
                      <c:pt idx="6713">
                        <c:v>106.3</c:v>
                      </c:pt>
                      <c:pt idx="6714">
                        <c:v>97.22</c:v>
                      </c:pt>
                      <c:pt idx="6715">
                        <c:v>72.98</c:v>
                      </c:pt>
                      <c:pt idx="6716">
                        <c:v>59.37</c:v>
                      </c:pt>
                      <c:pt idx="6717">
                        <c:v>58.69</c:v>
                      </c:pt>
                      <c:pt idx="6718">
                        <c:v>51.71</c:v>
                      </c:pt>
                      <c:pt idx="6719">
                        <c:v>34.58</c:v>
                      </c:pt>
                      <c:pt idx="6720">
                        <c:v>35.340000000000003</c:v>
                      </c:pt>
                      <c:pt idx="6721">
                        <c:v>33.25</c:v>
                      </c:pt>
                      <c:pt idx="6722">
                        <c:v>30.15</c:v>
                      </c:pt>
                      <c:pt idx="6723">
                        <c:v>36.090000000000003</c:v>
                      </c:pt>
                      <c:pt idx="6724">
                        <c:v>46.73</c:v>
                      </c:pt>
                      <c:pt idx="6725">
                        <c:v>67.59</c:v>
                      </c:pt>
                      <c:pt idx="6726">
                        <c:v>100.92</c:v>
                      </c:pt>
                      <c:pt idx="6727">
                        <c:v>108.32</c:v>
                      </c:pt>
                      <c:pt idx="6728">
                        <c:v>91.86</c:v>
                      </c:pt>
                      <c:pt idx="6729">
                        <c:v>66.09</c:v>
                      </c:pt>
                      <c:pt idx="6730">
                        <c:v>60.22</c:v>
                      </c:pt>
                      <c:pt idx="6731">
                        <c:v>54.11</c:v>
                      </c:pt>
                      <c:pt idx="6732">
                        <c:v>43.29</c:v>
                      </c:pt>
                      <c:pt idx="6733">
                        <c:v>55</c:v>
                      </c:pt>
                      <c:pt idx="6734">
                        <c:v>67.010000000000005</c:v>
                      </c:pt>
                      <c:pt idx="6735">
                        <c:v>97.9</c:v>
                      </c:pt>
                      <c:pt idx="6736">
                        <c:v>120.71</c:v>
                      </c:pt>
                      <c:pt idx="6737">
                        <c:v>237.65</c:v>
                      </c:pt>
                      <c:pt idx="6738">
                        <c:v>229.53</c:v>
                      </c:pt>
                      <c:pt idx="6739">
                        <c:v>121.98</c:v>
                      </c:pt>
                      <c:pt idx="6740">
                        <c:v>99.93</c:v>
                      </c:pt>
                      <c:pt idx="6741">
                        <c:v>91.91</c:v>
                      </c:pt>
                      <c:pt idx="6742">
                        <c:v>79.12</c:v>
                      </c:pt>
                      <c:pt idx="6743">
                        <c:v>72.33</c:v>
                      </c:pt>
                      <c:pt idx="6744">
                        <c:v>67.069999999999993</c:v>
                      </c:pt>
                      <c:pt idx="6745">
                        <c:v>63.99</c:v>
                      </c:pt>
                      <c:pt idx="6746">
                        <c:v>59.67</c:v>
                      </c:pt>
                      <c:pt idx="6747">
                        <c:v>59.69</c:v>
                      </c:pt>
                      <c:pt idx="6748">
                        <c:v>67.430000000000007</c:v>
                      </c:pt>
                      <c:pt idx="6749">
                        <c:v>85.97</c:v>
                      </c:pt>
                      <c:pt idx="6750">
                        <c:v>110.37</c:v>
                      </c:pt>
                      <c:pt idx="6751">
                        <c:v>106.24</c:v>
                      </c:pt>
                      <c:pt idx="6752">
                        <c:v>85</c:v>
                      </c:pt>
                      <c:pt idx="6753">
                        <c:v>80.33</c:v>
                      </c:pt>
                      <c:pt idx="6754">
                        <c:v>80.5</c:v>
                      </c:pt>
                      <c:pt idx="6755">
                        <c:v>76</c:v>
                      </c:pt>
                      <c:pt idx="6756">
                        <c:v>82.53</c:v>
                      </c:pt>
                      <c:pt idx="6757">
                        <c:v>88.39</c:v>
                      </c:pt>
                      <c:pt idx="6758">
                        <c:v>90.08</c:v>
                      </c:pt>
                      <c:pt idx="6759">
                        <c:v>101.19</c:v>
                      </c:pt>
                      <c:pt idx="6760">
                        <c:v>126.34</c:v>
                      </c:pt>
                      <c:pt idx="6761">
                        <c:v>156.77000000000001</c:v>
                      </c:pt>
                      <c:pt idx="6762">
                        <c:v>168.2</c:v>
                      </c:pt>
                      <c:pt idx="6763">
                        <c:v>114.41</c:v>
                      </c:pt>
                      <c:pt idx="6764">
                        <c:v>94.9</c:v>
                      </c:pt>
                      <c:pt idx="6765">
                        <c:v>86.6</c:v>
                      </c:pt>
                      <c:pt idx="6766">
                        <c:v>67.599999999999994</c:v>
                      </c:pt>
                      <c:pt idx="6767">
                        <c:v>61.93</c:v>
                      </c:pt>
                      <c:pt idx="6768">
                        <c:v>60</c:v>
                      </c:pt>
                      <c:pt idx="6769">
                        <c:v>57.48</c:v>
                      </c:pt>
                      <c:pt idx="6770">
                        <c:v>54.32</c:v>
                      </c:pt>
                      <c:pt idx="6771">
                        <c:v>57.32</c:v>
                      </c:pt>
                      <c:pt idx="6772">
                        <c:v>63.87</c:v>
                      </c:pt>
                      <c:pt idx="6773">
                        <c:v>86.7</c:v>
                      </c:pt>
                      <c:pt idx="6774">
                        <c:v>111.19</c:v>
                      </c:pt>
                      <c:pt idx="6775">
                        <c:v>110.98</c:v>
                      </c:pt>
                      <c:pt idx="6776">
                        <c:v>87</c:v>
                      </c:pt>
                      <c:pt idx="6777">
                        <c:v>72.09</c:v>
                      </c:pt>
                      <c:pt idx="6778">
                        <c:v>59.9</c:v>
                      </c:pt>
                      <c:pt idx="6779">
                        <c:v>59.8</c:v>
                      </c:pt>
                      <c:pt idx="6780">
                        <c:v>59.85</c:v>
                      </c:pt>
                      <c:pt idx="6781">
                        <c:v>67.63</c:v>
                      </c:pt>
                      <c:pt idx="6782">
                        <c:v>77.17</c:v>
                      </c:pt>
                      <c:pt idx="6783">
                        <c:v>95</c:v>
                      </c:pt>
                      <c:pt idx="6784">
                        <c:v>117.45</c:v>
                      </c:pt>
                      <c:pt idx="6785">
                        <c:v>122.53</c:v>
                      </c:pt>
                      <c:pt idx="6786">
                        <c:v>127.12</c:v>
                      </c:pt>
                      <c:pt idx="6787">
                        <c:v>111.05</c:v>
                      </c:pt>
                      <c:pt idx="6788">
                        <c:v>95.8</c:v>
                      </c:pt>
                      <c:pt idx="6789">
                        <c:v>95.1</c:v>
                      </c:pt>
                      <c:pt idx="6790">
                        <c:v>82.34</c:v>
                      </c:pt>
                      <c:pt idx="6791">
                        <c:v>61.19</c:v>
                      </c:pt>
                      <c:pt idx="6792">
                        <c:v>46.89</c:v>
                      </c:pt>
                      <c:pt idx="6793">
                        <c:v>37.75</c:v>
                      </c:pt>
                      <c:pt idx="6794">
                        <c:v>32</c:v>
                      </c:pt>
                      <c:pt idx="6795">
                        <c:v>29.64</c:v>
                      </c:pt>
                      <c:pt idx="6796">
                        <c:v>39.6</c:v>
                      </c:pt>
                      <c:pt idx="6797">
                        <c:v>62.1</c:v>
                      </c:pt>
                      <c:pt idx="6798">
                        <c:v>84.9</c:v>
                      </c:pt>
                      <c:pt idx="6799">
                        <c:v>80.459999999999994</c:v>
                      </c:pt>
                      <c:pt idx="6800">
                        <c:v>67.5</c:v>
                      </c:pt>
                      <c:pt idx="6801">
                        <c:v>52.01</c:v>
                      </c:pt>
                      <c:pt idx="6802">
                        <c:v>38.93</c:v>
                      </c:pt>
                      <c:pt idx="6803">
                        <c:v>21.89</c:v>
                      </c:pt>
                      <c:pt idx="6804">
                        <c:v>15.94</c:v>
                      </c:pt>
                      <c:pt idx="6805">
                        <c:v>20.010000000000002</c:v>
                      </c:pt>
                      <c:pt idx="6806">
                        <c:v>38.369999999999997</c:v>
                      </c:pt>
                      <c:pt idx="6807">
                        <c:v>58.5</c:v>
                      </c:pt>
                      <c:pt idx="6808">
                        <c:v>85.82</c:v>
                      </c:pt>
                      <c:pt idx="6809">
                        <c:v>96.07</c:v>
                      </c:pt>
                      <c:pt idx="6810">
                        <c:v>119.32</c:v>
                      </c:pt>
                      <c:pt idx="6811">
                        <c:v>101.19</c:v>
                      </c:pt>
                      <c:pt idx="6812">
                        <c:v>90.41</c:v>
                      </c:pt>
                      <c:pt idx="6813">
                        <c:v>83.16</c:v>
                      </c:pt>
                      <c:pt idx="6814">
                        <c:v>69.930000000000007</c:v>
                      </c:pt>
                      <c:pt idx="6815">
                        <c:v>79.959999999999994</c:v>
                      </c:pt>
                      <c:pt idx="6816">
                        <c:v>73.209999999999994</c:v>
                      </c:pt>
                      <c:pt idx="6817">
                        <c:v>71.7</c:v>
                      </c:pt>
                      <c:pt idx="6818">
                        <c:v>67.91</c:v>
                      </c:pt>
                      <c:pt idx="6819">
                        <c:v>69.56</c:v>
                      </c:pt>
                      <c:pt idx="6820">
                        <c:v>73.39</c:v>
                      </c:pt>
                      <c:pt idx="6821">
                        <c:v>99.95</c:v>
                      </c:pt>
                      <c:pt idx="6822">
                        <c:v>140.41</c:v>
                      </c:pt>
                      <c:pt idx="6823">
                        <c:v>155.49</c:v>
                      </c:pt>
                      <c:pt idx="6824">
                        <c:v>110.01</c:v>
                      </c:pt>
                      <c:pt idx="6825">
                        <c:v>90</c:v>
                      </c:pt>
                      <c:pt idx="6826">
                        <c:v>72.349999999999994</c:v>
                      </c:pt>
                      <c:pt idx="6827">
                        <c:v>61.65</c:v>
                      </c:pt>
                      <c:pt idx="6828">
                        <c:v>57.17</c:v>
                      </c:pt>
                      <c:pt idx="6829">
                        <c:v>59.56</c:v>
                      </c:pt>
                      <c:pt idx="6830">
                        <c:v>66.959999999999994</c:v>
                      </c:pt>
                      <c:pt idx="6831">
                        <c:v>73.349999999999994</c:v>
                      </c:pt>
                      <c:pt idx="6832">
                        <c:v>112.78</c:v>
                      </c:pt>
                      <c:pt idx="6833">
                        <c:v>167.86</c:v>
                      </c:pt>
                      <c:pt idx="6834">
                        <c:v>174.24</c:v>
                      </c:pt>
                      <c:pt idx="6835">
                        <c:v>121.31</c:v>
                      </c:pt>
                      <c:pt idx="6836">
                        <c:v>99.79</c:v>
                      </c:pt>
                      <c:pt idx="6837">
                        <c:v>98.41</c:v>
                      </c:pt>
                      <c:pt idx="6838">
                        <c:v>87.83</c:v>
                      </c:pt>
                      <c:pt idx="6839">
                        <c:v>90.09</c:v>
                      </c:pt>
                      <c:pt idx="6840">
                        <c:v>79.42</c:v>
                      </c:pt>
                      <c:pt idx="6841">
                        <c:v>75.58</c:v>
                      </c:pt>
                      <c:pt idx="6842">
                        <c:v>75.02</c:v>
                      </c:pt>
                      <c:pt idx="6843">
                        <c:v>71.92</c:v>
                      </c:pt>
                      <c:pt idx="6844">
                        <c:v>67.900000000000006</c:v>
                      </c:pt>
                      <c:pt idx="6845">
                        <c:v>71.63</c:v>
                      </c:pt>
                      <c:pt idx="6846">
                        <c:v>68.73</c:v>
                      </c:pt>
                      <c:pt idx="6847">
                        <c:v>68.91</c:v>
                      </c:pt>
                      <c:pt idx="6848">
                        <c:v>41.82</c:v>
                      </c:pt>
                      <c:pt idx="6849">
                        <c:v>35.299999999999997</c:v>
                      </c:pt>
                      <c:pt idx="6850">
                        <c:v>34.28</c:v>
                      </c:pt>
                      <c:pt idx="6851">
                        <c:v>24.79</c:v>
                      </c:pt>
                      <c:pt idx="6852">
                        <c:v>14.33</c:v>
                      </c:pt>
                      <c:pt idx="6853">
                        <c:v>23.34</c:v>
                      </c:pt>
                      <c:pt idx="6854">
                        <c:v>46.35</c:v>
                      </c:pt>
                      <c:pt idx="6855">
                        <c:v>63.18</c:v>
                      </c:pt>
                      <c:pt idx="6856">
                        <c:v>76.02</c:v>
                      </c:pt>
                      <c:pt idx="6857">
                        <c:v>80.86</c:v>
                      </c:pt>
                      <c:pt idx="6858">
                        <c:v>77.62</c:v>
                      </c:pt>
                      <c:pt idx="6859">
                        <c:v>60.19</c:v>
                      </c:pt>
                      <c:pt idx="6860">
                        <c:v>45.42</c:v>
                      </c:pt>
                      <c:pt idx="6861">
                        <c:v>34.869999999999997</c:v>
                      </c:pt>
                      <c:pt idx="6862">
                        <c:v>25.37</c:v>
                      </c:pt>
                      <c:pt idx="6863">
                        <c:v>0</c:v>
                      </c:pt>
                      <c:pt idx="6864">
                        <c:v>-0.01</c:v>
                      </c:pt>
                      <c:pt idx="6865">
                        <c:v>-7.0000000000000007E-2</c:v>
                      </c:pt>
                      <c:pt idx="6866">
                        <c:v>-0.37</c:v>
                      </c:pt>
                      <c:pt idx="6867">
                        <c:v>-0.51</c:v>
                      </c:pt>
                      <c:pt idx="6868">
                        <c:v>-0.09</c:v>
                      </c:pt>
                      <c:pt idx="6869">
                        <c:v>-0.3</c:v>
                      </c:pt>
                      <c:pt idx="6870">
                        <c:v>-0.04</c:v>
                      </c:pt>
                      <c:pt idx="6871">
                        <c:v>-7.0000000000000007E-2</c:v>
                      </c:pt>
                      <c:pt idx="6872">
                        <c:v>-0.86</c:v>
                      </c:pt>
                      <c:pt idx="6873">
                        <c:v>-0.64</c:v>
                      </c:pt>
                      <c:pt idx="6874">
                        <c:v>-1.97</c:v>
                      </c:pt>
                      <c:pt idx="6875">
                        <c:v>-7.49</c:v>
                      </c:pt>
                      <c:pt idx="6876">
                        <c:v>-15.16</c:v>
                      </c:pt>
                      <c:pt idx="6877">
                        <c:v>-15.69</c:v>
                      </c:pt>
                      <c:pt idx="6878">
                        <c:v>-5.01</c:v>
                      </c:pt>
                      <c:pt idx="6879">
                        <c:v>-1.99</c:v>
                      </c:pt>
                      <c:pt idx="6880">
                        <c:v>0.06</c:v>
                      </c:pt>
                      <c:pt idx="6881">
                        <c:v>35.83</c:v>
                      </c:pt>
                      <c:pt idx="6882">
                        <c:v>54.05</c:v>
                      </c:pt>
                      <c:pt idx="6883">
                        <c:v>39.51</c:v>
                      </c:pt>
                      <c:pt idx="6884">
                        <c:v>38.43</c:v>
                      </c:pt>
                      <c:pt idx="6885">
                        <c:v>40.130000000000003</c:v>
                      </c:pt>
                      <c:pt idx="6886">
                        <c:v>36.81</c:v>
                      </c:pt>
                      <c:pt idx="6887">
                        <c:v>37.1</c:v>
                      </c:pt>
                      <c:pt idx="6888">
                        <c:v>35.25</c:v>
                      </c:pt>
                      <c:pt idx="6889">
                        <c:v>35.17</c:v>
                      </c:pt>
                      <c:pt idx="6890">
                        <c:v>34.36</c:v>
                      </c:pt>
                      <c:pt idx="6891">
                        <c:v>39.33</c:v>
                      </c:pt>
                      <c:pt idx="6892">
                        <c:v>62.2</c:v>
                      </c:pt>
                      <c:pt idx="6893">
                        <c:v>98.74</c:v>
                      </c:pt>
                      <c:pt idx="6894">
                        <c:v>132.88999999999999</c:v>
                      </c:pt>
                      <c:pt idx="6895">
                        <c:v>153.61000000000001</c:v>
                      </c:pt>
                      <c:pt idx="6896">
                        <c:v>117.94</c:v>
                      </c:pt>
                      <c:pt idx="6897">
                        <c:v>100.95</c:v>
                      </c:pt>
                      <c:pt idx="6898">
                        <c:v>95.53</c:v>
                      </c:pt>
                      <c:pt idx="6899">
                        <c:v>88.36</c:v>
                      </c:pt>
                      <c:pt idx="6900">
                        <c:v>82.6</c:v>
                      </c:pt>
                      <c:pt idx="6901">
                        <c:v>74.16</c:v>
                      </c:pt>
                      <c:pt idx="6902">
                        <c:v>87.08</c:v>
                      </c:pt>
                      <c:pt idx="6903">
                        <c:v>105.79</c:v>
                      </c:pt>
                      <c:pt idx="6904">
                        <c:v>159.59</c:v>
                      </c:pt>
                      <c:pt idx="6905">
                        <c:v>257.10000000000002</c:v>
                      </c:pt>
                      <c:pt idx="6906">
                        <c:v>269.74</c:v>
                      </c:pt>
                      <c:pt idx="6907">
                        <c:v>158</c:v>
                      </c:pt>
                      <c:pt idx="6908">
                        <c:v>114.12</c:v>
                      </c:pt>
                      <c:pt idx="6909">
                        <c:v>99.66</c:v>
                      </c:pt>
                      <c:pt idx="6910">
                        <c:v>94.8</c:v>
                      </c:pt>
                      <c:pt idx="6911">
                        <c:v>91.23</c:v>
                      </c:pt>
                      <c:pt idx="6912">
                        <c:v>86.49</c:v>
                      </c:pt>
                      <c:pt idx="6913">
                        <c:v>88.35</c:v>
                      </c:pt>
                      <c:pt idx="6914">
                        <c:v>84.04</c:v>
                      </c:pt>
                      <c:pt idx="6915">
                        <c:v>80.8</c:v>
                      </c:pt>
                      <c:pt idx="6916">
                        <c:v>89.51</c:v>
                      </c:pt>
                      <c:pt idx="6917">
                        <c:v>114.53</c:v>
                      </c:pt>
                      <c:pt idx="6918">
                        <c:v>185.39</c:v>
                      </c:pt>
                      <c:pt idx="6919">
                        <c:v>176.61</c:v>
                      </c:pt>
                      <c:pt idx="6920">
                        <c:v>110.54</c:v>
                      </c:pt>
                      <c:pt idx="6921">
                        <c:v>92.75</c:v>
                      </c:pt>
                      <c:pt idx="6922">
                        <c:v>83.05</c:v>
                      </c:pt>
                      <c:pt idx="6923">
                        <c:v>78.47</c:v>
                      </c:pt>
                      <c:pt idx="6924">
                        <c:v>71.75</c:v>
                      </c:pt>
                      <c:pt idx="6925">
                        <c:v>75.900000000000006</c:v>
                      </c:pt>
                      <c:pt idx="6926">
                        <c:v>83.36</c:v>
                      </c:pt>
                      <c:pt idx="6927">
                        <c:v>89.03</c:v>
                      </c:pt>
                      <c:pt idx="6928">
                        <c:v>120.69</c:v>
                      </c:pt>
                      <c:pt idx="6929">
                        <c:v>136.79</c:v>
                      </c:pt>
                      <c:pt idx="6930">
                        <c:v>97.31</c:v>
                      </c:pt>
                      <c:pt idx="6931">
                        <c:v>76.260000000000005</c:v>
                      </c:pt>
                      <c:pt idx="6932">
                        <c:v>66.650000000000006</c:v>
                      </c:pt>
                      <c:pt idx="6933">
                        <c:v>59.65</c:v>
                      </c:pt>
                      <c:pt idx="6934">
                        <c:v>40.78</c:v>
                      </c:pt>
                      <c:pt idx="6935">
                        <c:v>23.35</c:v>
                      </c:pt>
                      <c:pt idx="6936">
                        <c:v>12.8</c:v>
                      </c:pt>
                      <c:pt idx="6937">
                        <c:v>5.3</c:v>
                      </c:pt>
                      <c:pt idx="6938">
                        <c:v>3.61</c:v>
                      </c:pt>
                      <c:pt idx="6939">
                        <c:v>3.16</c:v>
                      </c:pt>
                      <c:pt idx="6940">
                        <c:v>8.1999999999999993</c:v>
                      </c:pt>
                      <c:pt idx="6941">
                        <c:v>42.59</c:v>
                      </c:pt>
                      <c:pt idx="6942">
                        <c:v>67.290000000000006</c:v>
                      </c:pt>
                      <c:pt idx="6943">
                        <c:v>66.52</c:v>
                      </c:pt>
                      <c:pt idx="6944">
                        <c:v>54.29</c:v>
                      </c:pt>
                      <c:pt idx="6945">
                        <c:v>26.68</c:v>
                      </c:pt>
                      <c:pt idx="6946">
                        <c:v>14.16</c:v>
                      </c:pt>
                      <c:pt idx="6947">
                        <c:v>4.09</c:v>
                      </c:pt>
                      <c:pt idx="6948">
                        <c:v>2.04</c:v>
                      </c:pt>
                      <c:pt idx="6949">
                        <c:v>4</c:v>
                      </c:pt>
                      <c:pt idx="6950">
                        <c:v>14.18</c:v>
                      </c:pt>
                      <c:pt idx="6951">
                        <c:v>54.92</c:v>
                      </c:pt>
                      <c:pt idx="6952">
                        <c:v>72.95</c:v>
                      </c:pt>
                      <c:pt idx="6953">
                        <c:v>84.47</c:v>
                      </c:pt>
                      <c:pt idx="6954">
                        <c:v>88.38</c:v>
                      </c:pt>
                      <c:pt idx="6955">
                        <c:v>65.31</c:v>
                      </c:pt>
                      <c:pt idx="6956">
                        <c:v>61.86</c:v>
                      </c:pt>
                      <c:pt idx="6957">
                        <c:v>35.14</c:v>
                      </c:pt>
                      <c:pt idx="6958">
                        <c:v>26.54</c:v>
                      </c:pt>
                      <c:pt idx="6959">
                        <c:v>17.04</c:v>
                      </c:pt>
                      <c:pt idx="6960">
                        <c:v>12.15</c:v>
                      </c:pt>
                      <c:pt idx="6961">
                        <c:v>10.48</c:v>
                      </c:pt>
                      <c:pt idx="6962">
                        <c:v>5.61</c:v>
                      </c:pt>
                      <c:pt idx="6963">
                        <c:v>10.01</c:v>
                      </c:pt>
                      <c:pt idx="6964">
                        <c:v>29.8</c:v>
                      </c:pt>
                      <c:pt idx="6965">
                        <c:v>70.510000000000005</c:v>
                      </c:pt>
                      <c:pt idx="6966">
                        <c:v>101.39</c:v>
                      </c:pt>
                      <c:pt idx="6967">
                        <c:v>92.53</c:v>
                      </c:pt>
                      <c:pt idx="6968">
                        <c:v>73.760000000000005</c:v>
                      </c:pt>
                      <c:pt idx="6969">
                        <c:v>62.22</c:v>
                      </c:pt>
                      <c:pt idx="6970">
                        <c:v>52.02</c:v>
                      </c:pt>
                      <c:pt idx="6971">
                        <c:v>46.54</c:v>
                      </c:pt>
                      <c:pt idx="6972">
                        <c:v>47.52</c:v>
                      </c:pt>
                      <c:pt idx="6973">
                        <c:v>60.04</c:v>
                      </c:pt>
                      <c:pt idx="6974">
                        <c:v>63.55</c:v>
                      </c:pt>
                      <c:pt idx="6975">
                        <c:v>92.68</c:v>
                      </c:pt>
                      <c:pt idx="6976">
                        <c:v>123.6</c:v>
                      </c:pt>
                      <c:pt idx="6977">
                        <c:v>186.21</c:v>
                      </c:pt>
                      <c:pt idx="6978">
                        <c:v>172.19</c:v>
                      </c:pt>
                      <c:pt idx="6979">
                        <c:v>117.5</c:v>
                      </c:pt>
                      <c:pt idx="6980">
                        <c:v>97.81</c:v>
                      </c:pt>
                      <c:pt idx="6981">
                        <c:v>89.05</c:v>
                      </c:pt>
                      <c:pt idx="6982">
                        <c:v>82.21</c:v>
                      </c:pt>
                      <c:pt idx="6983">
                        <c:v>80.95</c:v>
                      </c:pt>
                      <c:pt idx="6984">
                        <c:v>81.16</c:v>
                      </c:pt>
                      <c:pt idx="6985">
                        <c:v>82.73</c:v>
                      </c:pt>
                      <c:pt idx="6986">
                        <c:v>78.84</c:v>
                      </c:pt>
                      <c:pt idx="6987">
                        <c:v>81.19</c:v>
                      </c:pt>
                      <c:pt idx="6988">
                        <c:v>84.34</c:v>
                      </c:pt>
                      <c:pt idx="6989">
                        <c:v>98.89</c:v>
                      </c:pt>
                      <c:pt idx="6990">
                        <c:v>149.78</c:v>
                      </c:pt>
                      <c:pt idx="6991">
                        <c:v>156.24</c:v>
                      </c:pt>
                      <c:pt idx="6992">
                        <c:v>111</c:v>
                      </c:pt>
                      <c:pt idx="6993">
                        <c:v>95.76</c:v>
                      </c:pt>
                      <c:pt idx="6994">
                        <c:v>85.3</c:v>
                      </c:pt>
                      <c:pt idx="6995">
                        <c:v>82.96</c:v>
                      </c:pt>
                      <c:pt idx="6996">
                        <c:v>80.2</c:v>
                      </c:pt>
                      <c:pt idx="6997">
                        <c:v>81.19</c:v>
                      </c:pt>
                      <c:pt idx="6998">
                        <c:v>84.34</c:v>
                      </c:pt>
                      <c:pt idx="6999">
                        <c:v>103.29</c:v>
                      </c:pt>
                      <c:pt idx="7000">
                        <c:v>133.66999999999999</c:v>
                      </c:pt>
                      <c:pt idx="7001">
                        <c:v>181.28</c:v>
                      </c:pt>
                      <c:pt idx="7002">
                        <c:v>142.58000000000001</c:v>
                      </c:pt>
                      <c:pt idx="7003">
                        <c:v>103.25</c:v>
                      </c:pt>
                      <c:pt idx="7004">
                        <c:v>96.83</c:v>
                      </c:pt>
                      <c:pt idx="7005">
                        <c:v>93.26</c:v>
                      </c:pt>
                      <c:pt idx="7006">
                        <c:v>85.54</c:v>
                      </c:pt>
                      <c:pt idx="7007">
                        <c:v>87.06</c:v>
                      </c:pt>
                      <c:pt idx="7008">
                        <c:v>83.03</c:v>
                      </c:pt>
                      <c:pt idx="7009">
                        <c:v>79.91</c:v>
                      </c:pt>
                      <c:pt idx="7010">
                        <c:v>75.260000000000005</c:v>
                      </c:pt>
                      <c:pt idx="7011">
                        <c:v>75.87</c:v>
                      </c:pt>
                      <c:pt idx="7012">
                        <c:v>76.77</c:v>
                      </c:pt>
                      <c:pt idx="7013">
                        <c:v>80</c:v>
                      </c:pt>
                      <c:pt idx="7014">
                        <c:v>91.91</c:v>
                      </c:pt>
                      <c:pt idx="7015">
                        <c:v>89.66</c:v>
                      </c:pt>
                      <c:pt idx="7016">
                        <c:v>84.6</c:v>
                      </c:pt>
                      <c:pt idx="7017">
                        <c:v>78.8</c:v>
                      </c:pt>
                      <c:pt idx="7018">
                        <c:v>73.319999999999993</c:v>
                      </c:pt>
                      <c:pt idx="7019">
                        <c:v>66.16</c:v>
                      </c:pt>
                      <c:pt idx="7020">
                        <c:v>60.96</c:v>
                      </c:pt>
                      <c:pt idx="7021">
                        <c:v>63.89</c:v>
                      </c:pt>
                      <c:pt idx="7022">
                        <c:v>79.069999999999993</c:v>
                      </c:pt>
                      <c:pt idx="7023">
                        <c:v>98.09</c:v>
                      </c:pt>
                      <c:pt idx="7024">
                        <c:v>109.14</c:v>
                      </c:pt>
                      <c:pt idx="7025">
                        <c:v>135.82</c:v>
                      </c:pt>
                      <c:pt idx="7026">
                        <c:v>118.93</c:v>
                      </c:pt>
                      <c:pt idx="7027">
                        <c:v>96.8</c:v>
                      </c:pt>
                      <c:pt idx="7028">
                        <c:v>90.18</c:v>
                      </c:pt>
                      <c:pt idx="7029">
                        <c:v>83.83</c:v>
                      </c:pt>
                      <c:pt idx="7030">
                        <c:v>73.33</c:v>
                      </c:pt>
                      <c:pt idx="7031">
                        <c:v>55.57</c:v>
                      </c:pt>
                      <c:pt idx="7032">
                        <c:v>54.9</c:v>
                      </c:pt>
                      <c:pt idx="7033">
                        <c:v>57.23</c:v>
                      </c:pt>
                      <c:pt idx="7034">
                        <c:v>59.82</c:v>
                      </c:pt>
                      <c:pt idx="7035">
                        <c:v>62.92</c:v>
                      </c:pt>
                      <c:pt idx="7036">
                        <c:v>66.91</c:v>
                      </c:pt>
                      <c:pt idx="7037">
                        <c:v>64.23</c:v>
                      </c:pt>
                      <c:pt idx="7038">
                        <c:v>75.319999999999993</c:v>
                      </c:pt>
                      <c:pt idx="7039">
                        <c:v>68.28</c:v>
                      </c:pt>
                      <c:pt idx="7040">
                        <c:v>45.75</c:v>
                      </c:pt>
                      <c:pt idx="7041">
                        <c:v>6.37</c:v>
                      </c:pt>
                      <c:pt idx="7042">
                        <c:v>0.08</c:v>
                      </c:pt>
                      <c:pt idx="7043">
                        <c:v>0</c:v>
                      </c:pt>
                      <c:pt idx="7044">
                        <c:v>-0.98</c:v>
                      </c:pt>
                      <c:pt idx="7045">
                        <c:v>-2.0099999999999998</c:v>
                      </c:pt>
                      <c:pt idx="7046">
                        <c:v>0</c:v>
                      </c:pt>
                      <c:pt idx="7047">
                        <c:v>5.0999999999999996</c:v>
                      </c:pt>
                      <c:pt idx="7048">
                        <c:v>57.69</c:v>
                      </c:pt>
                      <c:pt idx="7049">
                        <c:v>60.7</c:v>
                      </c:pt>
                      <c:pt idx="7050">
                        <c:v>45.08</c:v>
                      </c:pt>
                      <c:pt idx="7051">
                        <c:v>34.35</c:v>
                      </c:pt>
                      <c:pt idx="7052">
                        <c:v>20.95</c:v>
                      </c:pt>
                      <c:pt idx="7053">
                        <c:v>12.15</c:v>
                      </c:pt>
                      <c:pt idx="7054">
                        <c:v>1.93</c:v>
                      </c:pt>
                      <c:pt idx="7055">
                        <c:v>-0.1</c:v>
                      </c:pt>
                      <c:pt idx="7056">
                        <c:v>-0.1</c:v>
                      </c:pt>
                      <c:pt idx="7057">
                        <c:v>-0.14000000000000001</c:v>
                      </c:pt>
                      <c:pt idx="7058">
                        <c:v>-0.08</c:v>
                      </c:pt>
                      <c:pt idx="7059">
                        <c:v>-0.04</c:v>
                      </c:pt>
                      <c:pt idx="7060">
                        <c:v>3.45</c:v>
                      </c:pt>
                      <c:pt idx="7061">
                        <c:v>66.599999999999994</c:v>
                      </c:pt>
                      <c:pt idx="7062">
                        <c:v>104.98</c:v>
                      </c:pt>
                      <c:pt idx="7063">
                        <c:v>120.39</c:v>
                      </c:pt>
                      <c:pt idx="7064">
                        <c:v>103.9</c:v>
                      </c:pt>
                      <c:pt idx="7065">
                        <c:v>89.04</c:v>
                      </c:pt>
                      <c:pt idx="7066">
                        <c:v>81.03</c:v>
                      </c:pt>
                      <c:pt idx="7067">
                        <c:v>73.19</c:v>
                      </c:pt>
                      <c:pt idx="7068">
                        <c:v>81.36</c:v>
                      </c:pt>
                      <c:pt idx="7069">
                        <c:v>81.650000000000006</c:v>
                      </c:pt>
                      <c:pt idx="7070">
                        <c:v>98.59</c:v>
                      </c:pt>
                      <c:pt idx="7071">
                        <c:v>123.5</c:v>
                      </c:pt>
                      <c:pt idx="7072">
                        <c:v>131.54</c:v>
                      </c:pt>
                      <c:pt idx="7073">
                        <c:v>222.11</c:v>
                      </c:pt>
                      <c:pt idx="7074">
                        <c:v>190.87</c:v>
                      </c:pt>
                      <c:pt idx="7075">
                        <c:v>128.44</c:v>
                      </c:pt>
                      <c:pt idx="7076">
                        <c:v>102</c:v>
                      </c:pt>
                      <c:pt idx="7077">
                        <c:v>97.8</c:v>
                      </c:pt>
                      <c:pt idx="7078">
                        <c:v>92.97</c:v>
                      </c:pt>
                      <c:pt idx="7079">
                        <c:v>91.67</c:v>
                      </c:pt>
                      <c:pt idx="7080">
                        <c:v>89.43</c:v>
                      </c:pt>
                      <c:pt idx="7081">
                        <c:v>85.69</c:v>
                      </c:pt>
                      <c:pt idx="7082">
                        <c:v>83.6</c:v>
                      </c:pt>
                      <c:pt idx="7083">
                        <c:v>83.19</c:v>
                      </c:pt>
                      <c:pt idx="7084">
                        <c:v>89.95</c:v>
                      </c:pt>
                      <c:pt idx="7085">
                        <c:v>100.58</c:v>
                      </c:pt>
                      <c:pt idx="7086">
                        <c:v>156.09</c:v>
                      </c:pt>
                      <c:pt idx="7087">
                        <c:v>170.12</c:v>
                      </c:pt>
                      <c:pt idx="7088">
                        <c:v>113.44</c:v>
                      </c:pt>
                      <c:pt idx="7089">
                        <c:v>99.22</c:v>
                      </c:pt>
                      <c:pt idx="7090">
                        <c:v>87.75</c:v>
                      </c:pt>
                      <c:pt idx="7091">
                        <c:v>77.11</c:v>
                      </c:pt>
                      <c:pt idx="7092">
                        <c:v>70.88</c:v>
                      </c:pt>
                      <c:pt idx="7093">
                        <c:v>73.53</c:v>
                      </c:pt>
                      <c:pt idx="7094">
                        <c:v>87.08</c:v>
                      </c:pt>
                      <c:pt idx="7095">
                        <c:v>107.45</c:v>
                      </c:pt>
                      <c:pt idx="7096">
                        <c:v>109.97</c:v>
                      </c:pt>
                      <c:pt idx="7097">
                        <c:v>140.36000000000001</c:v>
                      </c:pt>
                      <c:pt idx="7098">
                        <c:v>157.75</c:v>
                      </c:pt>
                      <c:pt idx="7099">
                        <c:v>114.02</c:v>
                      </c:pt>
                      <c:pt idx="7100">
                        <c:v>99.4</c:v>
                      </c:pt>
                      <c:pt idx="7101">
                        <c:v>95.72</c:v>
                      </c:pt>
                      <c:pt idx="7102">
                        <c:v>88.35</c:v>
                      </c:pt>
                      <c:pt idx="7103">
                        <c:v>80.83</c:v>
                      </c:pt>
                      <c:pt idx="7104">
                        <c:v>83.23</c:v>
                      </c:pt>
                      <c:pt idx="7105">
                        <c:v>82.02</c:v>
                      </c:pt>
                      <c:pt idx="7106">
                        <c:v>83.21</c:v>
                      </c:pt>
                      <c:pt idx="7107">
                        <c:v>85.8</c:v>
                      </c:pt>
                      <c:pt idx="7108">
                        <c:v>93.6</c:v>
                      </c:pt>
                      <c:pt idx="7109">
                        <c:v>108.19</c:v>
                      </c:pt>
                      <c:pt idx="7110">
                        <c:v>172.79</c:v>
                      </c:pt>
                      <c:pt idx="7111">
                        <c:v>183.13</c:v>
                      </c:pt>
                      <c:pt idx="7112">
                        <c:v>128.41999999999999</c:v>
                      </c:pt>
                      <c:pt idx="7113">
                        <c:v>104.1</c:v>
                      </c:pt>
                      <c:pt idx="7114">
                        <c:v>93.86</c:v>
                      </c:pt>
                      <c:pt idx="7115">
                        <c:v>85.62</c:v>
                      </c:pt>
                      <c:pt idx="7116">
                        <c:v>80.989999999999995</c:v>
                      </c:pt>
                      <c:pt idx="7117">
                        <c:v>78.97</c:v>
                      </c:pt>
                      <c:pt idx="7118">
                        <c:v>88.62</c:v>
                      </c:pt>
                      <c:pt idx="7119">
                        <c:v>101.9</c:v>
                      </c:pt>
                      <c:pt idx="7120">
                        <c:v>147.15</c:v>
                      </c:pt>
                      <c:pt idx="7121">
                        <c:v>218.18</c:v>
                      </c:pt>
                      <c:pt idx="7122">
                        <c:v>177.6</c:v>
                      </c:pt>
                      <c:pt idx="7123">
                        <c:v>111.71</c:v>
                      </c:pt>
                      <c:pt idx="7124">
                        <c:v>101.51</c:v>
                      </c:pt>
                      <c:pt idx="7125">
                        <c:v>103.33</c:v>
                      </c:pt>
                      <c:pt idx="7126">
                        <c:v>93.16</c:v>
                      </c:pt>
                      <c:pt idx="7127">
                        <c:v>91.75</c:v>
                      </c:pt>
                      <c:pt idx="7128">
                        <c:v>82.42</c:v>
                      </c:pt>
                      <c:pt idx="7129">
                        <c:v>80.67</c:v>
                      </c:pt>
                      <c:pt idx="7130">
                        <c:v>80.290000000000006</c:v>
                      </c:pt>
                      <c:pt idx="7131">
                        <c:v>80.45</c:v>
                      </c:pt>
                      <c:pt idx="7132">
                        <c:v>83.82</c:v>
                      </c:pt>
                      <c:pt idx="7133">
                        <c:v>103.21</c:v>
                      </c:pt>
                      <c:pt idx="7134">
                        <c:v>148.29</c:v>
                      </c:pt>
                      <c:pt idx="7135">
                        <c:v>171.27</c:v>
                      </c:pt>
                      <c:pt idx="7136">
                        <c:v>117.3</c:v>
                      </c:pt>
                      <c:pt idx="7137">
                        <c:v>101.91</c:v>
                      </c:pt>
                      <c:pt idx="7138">
                        <c:v>93.05</c:v>
                      </c:pt>
                      <c:pt idx="7139">
                        <c:v>83.96</c:v>
                      </c:pt>
                      <c:pt idx="7140">
                        <c:v>79.150000000000006</c:v>
                      </c:pt>
                      <c:pt idx="7141">
                        <c:v>81.510000000000005</c:v>
                      </c:pt>
                      <c:pt idx="7142">
                        <c:v>95.7</c:v>
                      </c:pt>
                      <c:pt idx="7143">
                        <c:v>116.17</c:v>
                      </c:pt>
                      <c:pt idx="7144">
                        <c:v>129.9</c:v>
                      </c:pt>
                      <c:pt idx="7145">
                        <c:v>141.53</c:v>
                      </c:pt>
                      <c:pt idx="7146">
                        <c:v>114.19</c:v>
                      </c:pt>
                      <c:pt idx="7147">
                        <c:v>96.61</c:v>
                      </c:pt>
                      <c:pt idx="7148">
                        <c:v>93.64</c:v>
                      </c:pt>
                      <c:pt idx="7149">
                        <c:v>89.9</c:v>
                      </c:pt>
                      <c:pt idx="7150">
                        <c:v>83.61</c:v>
                      </c:pt>
                      <c:pt idx="7151">
                        <c:v>82.5</c:v>
                      </c:pt>
                      <c:pt idx="7152">
                        <c:v>82.07</c:v>
                      </c:pt>
                      <c:pt idx="7153">
                        <c:v>79.69</c:v>
                      </c:pt>
                      <c:pt idx="7154">
                        <c:v>82.6</c:v>
                      </c:pt>
                      <c:pt idx="7155">
                        <c:v>84.47</c:v>
                      </c:pt>
                      <c:pt idx="7156">
                        <c:v>94.59</c:v>
                      </c:pt>
                      <c:pt idx="7157">
                        <c:v>108.94</c:v>
                      </c:pt>
                      <c:pt idx="7158">
                        <c:v>123.75</c:v>
                      </c:pt>
                      <c:pt idx="7159">
                        <c:v>150.59</c:v>
                      </c:pt>
                      <c:pt idx="7160">
                        <c:v>122.43</c:v>
                      </c:pt>
                      <c:pt idx="7161">
                        <c:v>108.15</c:v>
                      </c:pt>
                      <c:pt idx="7162">
                        <c:v>93.9</c:v>
                      </c:pt>
                      <c:pt idx="7163">
                        <c:v>81.08</c:v>
                      </c:pt>
                      <c:pt idx="7164">
                        <c:v>78.180000000000007</c:v>
                      </c:pt>
                      <c:pt idx="7165">
                        <c:v>82.47</c:v>
                      </c:pt>
                      <c:pt idx="7166">
                        <c:v>99.33</c:v>
                      </c:pt>
                      <c:pt idx="7167">
                        <c:v>118.03</c:v>
                      </c:pt>
                      <c:pt idx="7168">
                        <c:v>158.72999999999999</c:v>
                      </c:pt>
                      <c:pt idx="7169">
                        <c:v>227.32</c:v>
                      </c:pt>
                      <c:pt idx="7170">
                        <c:v>184.85</c:v>
                      </c:pt>
                      <c:pt idx="7171">
                        <c:v>123.86</c:v>
                      </c:pt>
                      <c:pt idx="7172">
                        <c:v>116.29</c:v>
                      </c:pt>
                      <c:pt idx="7173">
                        <c:v>113.96</c:v>
                      </c:pt>
                      <c:pt idx="7174">
                        <c:v>107.4</c:v>
                      </c:pt>
                      <c:pt idx="7175">
                        <c:v>115.29</c:v>
                      </c:pt>
                      <c:pt idx="7176">
                        <c:v>109.64</c:v>
                      </c:pt>
                      <c:pt idx="7177">
                        <c:v>106.95</c:v>
                      </c:pt>
                      <c:pt idx="7178">
                        <c:v>107.79</c:v>
                      </c:pt>
                      <c:pt idx="7179">
                        <c:v>105.7</c:v>
                      </c:pt>
                      <c:pt idx="7180">
                        <c:v>106.82</c:v>
                      </c:pt>
                      <c:pt idx="7181">
                        <c:v>113.93</c:v>
                      </c:pt>
                      <c:pt idx="7182">
                        <c:v>125.71</c:v>
                      </c:pt>
                      <c:pt idx="7183">
                        <c:v>126</c:v>
                      </c:pt>
                      <c:pt idx="7184">
                        <c:v>117.57</c:v>
                      </c:pt>
                      <c:pt idx="7185">
                        <c:v>101.39</c:v>
                      </c:pt>
                      <c:pt idx="7186">
                        <c:v>81.48</c:v>
                      </c:pt>
                      <c:pt idx="7187">
                        <c:v>68.349999999999994</c:v>
                      </c:pt>
                      <c:pt idx="7188">
                        <c:v>63.3</c:v>
                      </c:pt>
                      <c:pt idx="7189">
                        <c:v>64.55</c:v>
                      </c:pt>
                      <c:pt idx="7190">
                        <c:v>81.44</c:v>
                      </c:pt>
                      <c:pt idx="7191">
                        <c:v>100.6</c:v>
                      </c:pt>
                      <c:pt idx="7192">
                        <c:v>125.73</c:v>
                      </c:pt>
                      <c:pt idx="7193">
                        <c:v>150.9</c:v>
                      </c:pt>
                      <c:pt idx="7194">
                        <c:v>118.74</c:v>
                      </c:pt>
                      <c:pt idx="7195">
                        <c:v>96.48</c:v>
                      </c:pt>
                      <c:pt idx="7196">
                        <c:v>88.76</c:v>
                      </c:pt>
                      <c:pt idx="7197">
                        <c:v>87.5</c:v>
                      </c:pt>
                      <c:pt idx="7198">
                        <c:v>76.63</c:v>
                      </c:pt>
                      <c:pt idx="7199">
                        <c:v>92.22</c:v>
                      </c:pt>
                      <c:pt idx="7200">
                        <c:v>84</c:v>
                      </c:pt>
                      <c:pt idx="7201">
                        <c:v>82.23</c:v>
                      </c:pt>
                      <c:pt idx="7202">
                        <c:v>80.430000000000007</c:v>
                      </c:pt>
                      <c:pt idx="7203">
                        <c:v>79.41</c:v>
                      </c:pt>
                      <c:pt idx="7204">
                        <c:v>78.790000000000006</c:v>
                      </c:pt>
                      <c:pt idx="7205">
                        <c:v>85.14</c:v>
                      </c:pt>
                      <c:pt idx="7206">
                        <c:v>89.21</c:v>
                      </c:pt>
                      <c:pt idx="7207">
                        <c:v>88.05</c:v>
                      </c:pt>
                      <c:pt idx="7208">
                        <c:v>84.34</c:v>
                      </c:pt>
                      <c:pt idx="7209">
                        <c:v>66.48</c:v>
                      </c:pt>
                      <c:pt idx="7210">
                        <c:v>54.72</c:v>
                      </c:pt>
                      <c:pt idx="7211">
                        <c:v>42.5</c:v>
                      </c:pt>
                      <c:pt idx="7212">
                        <c:v>39.99</c:v>
                      </c:pt>
                      <c:pt idx="7213">
                        <c:v>40</c:v>
                      </c:pt>
                      <c:pt idx="7214">
                        <c:v>64.33</c:v>
                      </c:pt>
                      <c:pt idx="7215">
                        <c:v>111.53</c:v>
                      </c:pt>
                      <c:pt idx="7216">
                        <c:v>123.67</c:v>
                      </c:pt>
                      <c:pt idx="7217">
                        <c:v>148.30000000000001</c:v>
                      </c:pt>
                      <c:pt idx="7218">
                        <c:v>145.71</c:v>
                      </c:pt>
                      <c:pt idx="7219">
                        <c:v>130.47</c:v>
                      </c:pt>
                      <c:pt idx="7220">
                        <c:v>118.15</c:v>
                      </c:pt>
                      <c:pt idx="7221">
                        <c:v>112.01</c:v>
                      </c:pt>
                      <c:pt idx="7222">
                        <c:v>113.68</c:v>
                      </c:pt>
                      <c:pt idx="7223">
                        <c:v>102.99</c:v>
                      </c:pt>
                      <c:pt idx="7224">
                        <c:v>95.6</c:v>
                      </c:pt>
                      <c:pt idx="7225">
                        <c:v>94.37</c:v>
                      </c:pt>
                      <c:pt idx="7226">
                        <c:v>88.74</c:v>
                      </c:pt>
                      <c:pt idx="7227">
                        <c:v>84.09</c:v>
                      </c:pt>
                      <c:pt idx="7228">
                        <c:v>86.26</c:v>
                      </c:pt>
                      <c:pt idx="7229">
                        <c:v>99.93</c:v>
                      </c:pt>
                      <c:pt idx="7230">
                        <c:v>109.92</c:v>
                      </c:pt>
                      <c:pt idx="7231">
                        <c:v>130.01</c:v>
                      </c:pt>
                      <c:pt idx="7232">
                        <c:v>127.38</c:v>
                      </c:pt>
                      <c:pt idx="7233">
                        <c:v>116.18</c:v>
                      </c:pt>
                      <c:pt idx="7234">
                        <c:v>97.61</c:v>
                      </c:pt>
                      <c:pt idx="7235">
                        <c:v>98.31</c:v>
                      </c:pt>
                      <c:pt idx="7236">
                        <c:v>94.93</c:v>
                      </c:pt>
                      <c:pt idx="7237">
                        <c:v>101.33</c:v>
                      </c:pt>
                      <c:pt idx="7238">
                        <c:v>113.93</c:v>
                      </c:pt>
                      <c:pt idx="7239">
                        <c:v>121.36</c:v>
                      </c:pt>
                      <c:pt idx="7240">
                        <c:v>124.2</c:v>
                      </c:pt>
                      <c:pt idx="7241">
                        <c:v>141.11000000000001</c:v>
                      </c:pt>
                      <c:pt idx="7242">
                        <c:v>148.80000000000001</c:v>
                      </c:pt>
                      <c:pt idx="7243">
                        <c:v>146.12</c:v>
                      </c:pt>
                      <c:pt idx="7244">
                        <c:v>124.19</c:v>
                      </c:pt>
                      <c:pt idx="7245">
                        <c:v>115.59</c:v>
                      </c:pt>
                      <c:pt idx="7246">
                        <c:v>109.96</c:v>
                      </c:pt>
                      <c:pt idx="7247">
                        <c:v>102.41</c:v>
                      </c:pt>
                      <c:pt idx="7248">
                        <c:v>101.34</c:v>
                      </c:pt>
                      <c:pt idx="7249">
                        <c:v>100.04</c:v>
                      </c:pt>
                      <c:pt idx="7250">
                        <c:v>98.83</c:v>
                      </c:pt>
                      <c:pt idx="7251">
                        <c:v>98.17</c:v>
                      </c:pt>
                      <c:pt idx="7252">
                        <c:v>100.02</c:v>
                      </c:pt>
                      <c:pt idx="7253">
                        <c:v>113.1</c:v>
                      </c:pt>
                      <c:pt idx="7254">
                        <c:v>127.38</c:v>
                      </c:pt>
                      <c:pt idx="7255">
                        <c:v>157.72999999999999</c:v>
                      </c:pt>
                      <c:pt idx="7256">
                        <c:v>151.32</c:v>
                      </c:pt>
                      <c:pt idx="7257">
                        <c:v>129.69</c:v>
                      </c:pt>
                      <c:pt idx="7258">
                        <c:v>120.7</c:v>
                      </c:pt>
                      <c:pt idx="7259">
                        <c:v>112.97</c:v>
                      </c:pt>
                      <c:pt idx="7260">
                        <c:v>105.45</c:v>
                      </c:pt>
                      <c:pt idx="7261">
                        <c:v>117.73</c:v>
                      </c:pt>
                      <c:pt idx="7262">
                        <c:v>135.94</c:v>
                      </c:pt>
                      <c:pt idx="7263">
                        <c:v>172.26</c:v>
                      </c:pt>
                      <c:pt idx="7264">
                        <c:v>212.72</c:v>
                      </c:pt>
                      <c:pt idx="7265">
                        <c:v>285.8</c:v>
                      </c:pt>
                      <c:pt idx="7266">
                        <c:v>257.44</c:v>
                      </c:pt>
                      <c:pt idx="7267">
                        <c:v>203.82</c:v>
                      </c:pt>
                      <c:pt idx="7268">
                        <c:v>140.6</c:v>
                      </c:pt>
                      <c:pt idx="7269">
                        <c:v>124.05</c:v>
                      </c:pt>
                      <c:pt idx="7270">
                        <c:v>118.08</c:v>
                      </c:pt>
                      <c:pt idx="7271">
                        <c:v>103.09</c:v>
                      </c:pt>
                      <c:pt idx="7272">
                        <c:v>100.71</c:v>
                      </c:pt>
                      <c:pt idx="7273">
                        <c:v>100.52</c:v>
                      </c:pt>
                      <c:pt idx="7274">
                        <c:v>98.16</c:v>
                      </c:pt>
                      <c:pt idx="7275">
                        <c:v>98.05</c:v>
                      </c:pt>
                      <c:pt idx="7276">
                        <c:v>100.56</c:v>
                      </c:pt>
                      <c:pt idx="7277">
                        <c:v>106.32</c:v>
                      </c:pt>
                      <c:pt idx="7278">
                        <c:v>123.54</c:v>
                      </c:pt>
                      <c:pt idx="7279">
                        <c:v>139.68</c:v>
                      </c:pt>
                      <c:pt idx="7280">
                        <c:v>138.91</c:v>
                      </c:pt>
                      <c:pt idx="7281">
                        <c:v>124.34</c:v>
                      </c:pt>
                      <c:pt idx="7282">
                        <c:v>115</c:v>
                      </c:pt>
                      <c:pt idx="7283">
                        <c:v>109.68</c:v>
                      </c:pt>
                      <c:pt idx="7284">
                        <c:v>102.53</c:v>
                      </c:pt>
                      <c:pt idx="7285">
                        <c:v>106.95</c:v>
                      </c:pt>
                      <c:pt idx="7286">
                        <c:v>111.31</c:v>
                      </c:pt>
                      <c:pt idx="7287">
                        <c:v>126.16</c:v>
                      </c:pt>
                      <c:pt idx="7288">
                        <c:v>160</c:v>
                      </c:pt>
                      <c:pt idx="7289">
                        <c:v>193.88</c:v>
                      </c:pt>
                      <c:pt idx="7290">
                        <c:v>192.89</c:v>
                      </c:pt>
                      <c:pt idx="7291">
                        <c:v>159.44</c:v>
                      </c:pt>
                      <c:pt idx="7292">
                        <c:v>133.56</c:v>
                      </c:pt>
                      <c:pt idx="7293">
                        <c:v>122.67</c:v>
                      </c:pt>
                      <c:pt idx="7294">
                        <c:v>115.34</c:v>
                      </c:pt>
                      <c:pt idx="7295">
                        <c:v>112.37</c:v>
                      </c:pt>
                      <c:pt idx="7296">
                        <c:v>105.16</c:v>
                      </c:pt>
                      <c:pt idx="7297">
                        <c:v>98.51</c:v>
                      </c:pt>
                      <c:pt idx="7298">
                        <c:v>96.58</c:v>
                      </c:pt>
                      <c:pt idx="7299">
                        <c:v>94.81</c:v>
                      </c:pt>
                      <c:pt idx="7300">
                        <c:v>98.03</c:v>
                      </c:pt>
                      <c:pt idx="7301">
                        <c:v>102.34</c:v>
                      </c:pt>
                      <c:pt idx="7302">
                        <c:v>121.15</c:v>
                      </c:pt>
                      <c:pt idx="7303">
                        <c:v>135.53</c:v>
                      </c:pt>
                      <c:pt idx="7304">
                        <c:v>133.47</c:v>
                      </c:pt>
                      <c:pt idx="7305">
                        <c:v>123.28</c:v>
                      </c:pt>
                      <c:pt idx="7306">
                        <c:v>105.14</c:v>
                      </c:pt>
                      <c:pt idx="7307">
                        <c:v>98.05</c:v>
                      </c:pt>
                      <c:pt idx="7308">
                        <c:v>88.91</c:v>
                      </c:pt>
                      <c:pt idx="7309">
                        <c:v>92.55</c:v>
                      </c:pt>
                      <c:pt idx="7310">
                        <c:v>99.38</c:v>
                      </c:pt>
                      <c:pt idx="7311">
                        <c:v>111.5</c:v>
                      </c:pt>
                      <c:pt idx="7312">
                        <c:v>123.17</c:v>
                      </c:pt>
                      <c:pt idx="7313">
                        <c:v>129</c:v>
                      </c:pt>
                      <c:pt idx="7314">
                        <c:v>128.41</c:v>
                      </c:pt>
                      <c:pt idx="7315">
                        <c:v>117.84</c:v>
                      </c:pt>
                      <c:pt idx="7316">
                        <c:v>105.8</c:v>
                      </c:pt>
                      <c:pt idx="7317">
                        <c:v>85.34</c:v>
                      </c:pt>
                      <c:pt idx="7318">
                        <c:v>80.44</c:v>
                      </c:pt>
                      <c:pt idx="7319">
                        <c:v>64.56</c:v>
                      </c:pt>
                      <c:pt idx="7320">
                        <c:v>63.34</c:v>
                      </c:pt>
                      <c:pt idx="7321">
                        <c:v>62.95</c:v>
                      </c:pt>
                      <c:pt idx="7322">
                        <c:v>57.1</c:v>
                      </c:pt>
                      <c:pt idx="7323">
                        <c:v>54.54</c:v>
                      </c:pt>
                      <c:pt idx="7324">
                        <c:v>56.99</c:v>
                      </c:pt>
                      <c:pt idx="7325">
                        <c:v>63.21</c:v>
                      </c:pt>
                      <c:pt idx="7326">
                        <c:v>69.680000000000007</c:v>
                      </c:pt>
                      <c:pt idx="7327">
                        <c:v>70.349999999999994</c:v>
                      </c:pt>
                      <c:pt idx="7328">
                        <c:v>64.180000000000007</c:v>
                      </c:pt>
                      <c:pt idx="7329">
                        <c:v>61.2</c:v>
                      </c:pt>
                      <c:pt idx="7330">
                        <c:v>55.01</c:v>
                      </c:pt>
                      <c:pt idx="7331">
                        <c:v>32.04</c:v>
                      </c:pt>
                      <c:pt idx="7332">
                        <c:v>29.49</c:v>
                      </c:pt>
                      <c:pt idx="7333">
                        <c:v>34.9</c:v>
                      </c:pt>
                      <c:pt idx="7334">
                        <c:v>63.83</c:v>
                      </c:pt>
                      <c:pt idx="7335">
                        <c:v>89.33</c:v>
                      </c:pt>
                      <c:pt idx="7336">
                        <c:v>115.98</c:v>
                      </c:pt>
                      <c:pt idx="7337">
                        <c:v>119.87</c:v>
                      </c:pt>
                      <c:pt idx="7338">
                        <c:v>117.97</c:v>
                      </c:pt>
                      <c:pt idx="7339">
                        <c:v>117.59</c:v>
                      </c:pt>
                      <c:pt idx="7340">
                        <c:v>113.2</c:v>
                      </c:pt>
                      <c:pt idx="7341">
                        <c:v>104.64</c:v>
                      </c:pt>
                      <c:pt idx="7342">
                        <c:v>98.41</c:v>
                      </c:pt>
                      <c:pt idx="7343">
                        <c:v>85.64</c:v>
                      </c:pt>
                      <c:pt idx="7344">
                        <c:v>95.75</c:v>
                      </c:pt>
                      <c:pt idx="7345">
                        <c:v>91.31</c:v>
                      </c:pt>
                      <c:pt idx="7346">
                        <c:v>88.76</c:v>
                      </c:pt>
                      <c:pt idx="7347">
                        <c:v>86</c:v>
                      </c:pt>
                      <c:pt idx="7348">
                        <c:v>86.85</c:v>
                      </c:pt>
                      <c:pt idx="7349">
                        <c:v>92.13</c:v>
                      </c:pt>
                      <c:pt idx="7350">
                        <c:v>96.97</c:v>
                      </c:pt>
                      <c:pt idx="7351">
                        <c:v>100.11</c:v>
                      </c:pt>
                      <c:pt idx="7352">
                        <c:v>101.16</c:v>
                      </c:pt>
                      <c:pt idx="7353">
                        <c:v>109.64</c:v>
                      </c:pt>
                      <c:pt idx="7354">
                        <c:v>91.19</c:v>
                      </c:pt>
                      <c:pt idx="7355">
                        <c:v>94.44</c:v>
                      </c:pt>
                      <c:pt idx="7356">
                        <c:v>88.68</c:v>
                      </c:pt>
                      <c:pt idx="7357">
                        <c:v>91.51</c:v>
                      </c:pt>
                      <c:pt idx="7358">
                        <c:v>103.42</c:v>
                      </c:pt>
                      <c:pt idx="7359">
                        <c:v>122.3</c:v>
                      </c:pt>
                      <c:pt idx="7360">
                        <c:v>137.61000000000001</c:v>
                      </c:pt>
                      <c:pt idx="7361">
                        <c:v>158.56</c:v>
                      </c:pt>
                      <c:pt idx="7362">
                        <c:v>149.91999999999999</c:v>
                      </c:pt>
                      <c:pt idx="7363">
                        <c:v>134.96</c:v>
                      </c:pt>
                      <c:pt idx="7364">
                        <c:v>122.79</c:v>
                      </c:pt>
                      <c:pt idx="7365">
                        <c:v>111.26</c:v>
                      </c:pt>
                      <c:pt idx="7366">
                        <c:v>106.28</c:v>
                      </c:pt>
                      <c:pt idx="7367">
                        <c:v>100.61</c:v>
                      </c:pt>
                      <c:pt idx="7368">
                        <c:v>101.19</c:v>
                      </c:pt>
                      <c:pt idx="7369">
                        <c:v>96.63</c:v>
                      </c:pt>
                      <c:pt idx="7370">
                        <c:v>89.05</c:v>
                      </c:pt>
                      <c:pt idx="7371">
                        <c:v>85.09</c:v>
                      </c:pt>
                      <c:pt idx="7372">
                        <c:v>87.43</c:v>
                      </c:pt>
                      <c:pt idx="7373">
                        <c:v>88.5</c:v>
                      </c:pt>
                      <c:pt idx="7374">
                        <c:v>95.56</c:v>
                      </c:pt>
                      <c:pt idx="7375">
                        <c:v>98.11</c:v>
                      </c:pt>
                      <c:pt idx="7376">
                        <c:v>88.47</c:v>
                      </c:pt>
                      <c:pt idx="7377">
                        <c:v>83.97</c:v>
                      </c:pt>
                      <c:pt idx="7378">
                        <c:v>70.709999999999994</c:v>
                      </c:pt>
                      <c:pt idx="7379">
                        <c:v>60.78</c:v>
                      </c:pt>
                      <c:pt idx="7380">
                        <c:v>52.63</c:v>
                      </c:pt>
                      <c:pt idx="7381">
                        <c:v>61.08</c:v>
                      </c:pt>
                      <c:pt idx="7382">
                        <c:v>84.37</c:v>
                      </c:pt>
                      <c:pt idx="7383">
                        <c:v>100.95</c:v>
                      </c:pt>
                      <c:pt idx="7384">
                        <c:v>115.16</c:v>
                      </c:pt>
                      <c:pt idx="7385">
                        <c:v>127.91</c:v>
                      </c:pt>
                      <c:pt idx="7386">
                        <c:v>126.09</c:v>
                      </c:pt>
                      <c:pt idx="7387">
                        <c:v>120.72</c:v>
                      </c:pt>
                      <c:pt idx="7388">
                        <c:v>110.8</c:v>
                      </c:pt>
                      <c:pt idx="7389">
                        <c:v>102</c:v>
                      </c:pt>
                      <c:pt idx="7390">
                        <c:v>100.69</c:v>
                      </c:pt>
                      <c:pt idx="7391">
                        <c:v>94.53</c:v>
                      </c:pt>
                      <c:pt idx="7392">
                        <c:v>92.04</c:v>
                      </c:pt>
                      <c:pt idx="7393">
                        <c:v>89.96</c:v>
                      </c:pt>
                      <c:pt idx="7394">
                        <c:v>90.07</c:v>
                      </c:pt>
                      <c:pt idx="7395">
                        <c:v>89.86</c:v>
                      </c:pt>
                      <c:pt idx="7396">
                        <c:v>90.8</c:v>
                      </c:pt>
                      <c:pt idx="7397">
                        <c:v>98.52</c:v>
                      </c:pt>
                      <c:pt idx="7398">
                        <c:v>124.89</c:v>
                      </c:pt>
                      <c:pt idx="7399">
                        <c:v>144.91</c:v>
                      </c:pt>
                      <c:pt idx="7400">
                        <c:v>139.18</c:v>
                      </c:pt>
                      <c:pt idx="7401">
                        <c:v>120.63</c:v>
                      </c:pt>
                      <c:pt idx="7402">
                        <c:v>100</c:v>
                      </c:pt>
                      <c:pt idx="7403">
                        <c:v>97.12</c:v>
                      </c:pt>
                      <c:pt idx="7404">
                        <c:v>95.16</c:v>
                      </c:pt>
                      <c:pt idx="7405">
                        <c:v>98.47</c:v>
                      </c:pt>
                      <c:pt idx="7406">
                        <c:v>103.17</c:v>
                      </c:pt>
                      <c:pt idx="7407">
                        <c:v>130.4</c:v>
                      </c:pt>
                      <c:pt idx="7408">
                        <c:v>181.47</c:v>
                      </c:pt>
                      <c:pt idx="7409">
                        <c:v>290.20999999999998</c:v>
                      </c:pt>
                      <c:pt idx="7410">
                        <c:v>241.04</c:v>
                      </c:pt>
                      <c:pt idx="7411">
                        <c:v>162.09</c:v>
                      </c:pt>
                      <c:pt idx="7412">
                        <c:v>123</c:v>
                      </c:pt>
                      <c:pt idx="7413">
                        <c:v>112.27</c:v>
                      </c:pt>
                      <c:pt idx="7414">
                        <c:v>107.98</c:v>
                      </c:pt>
                      <c:pt idx="7415">
                        <c:v>97.6</c:v>
                      </c:pt>
                      <c:pt idx="7416">
                        <c:v>101.77</c:v>
                      </c:pt>
                      <c:pt idx="7417">
                        <c:v>94</c:v>
                      </c:pt>
                      <c:pt idx="7418">
                        <c:v>91.2</c:v>
                      </c:pt>
                      <c:pt idx="7419">
                        <c:v>93</c:v>
                      </c:pt>
                      <c:pt idx="7420">
                        <c:v>95.39</c:v>
                      </c:pt>
                      <c:pt idx="7421">
                        <c:v>104.88</c:v>
                      </c:pt>
                      <c:pt idx="7422">
                        <c:v>127.95</c:v>
                      </c:pt>
                      <c:pt idx="7423">
                        <c:v>149.32</c:v>
                      </c:pt>
                      <c:pt idx="7424">
                        <c:v>139.15</c:v>
                      </c:pt>
                      <c:pt idx="7425">
                        <c:v>118.23</c:v>
                      </c:pt>
                      <c:pt idx="7426">
                        <c:v>105.87</c:v>
                      </c:pt>
                      <c:pt idx="7427">
                        <c:v>95.28</c:v>
                      </c:pt>
                      <c:pt idx="7428">
                        <c:v>94.92</c:v>
                      </c:pt>
                      <c:pt idx="7429">
                        <c:v>99.25</c:v>
                      </c:pt>
                      <c:pt idx="7430">
                        <c:v>110.35</c:v>
                      </c:pt>
                      <c:pt idx="7431">
                        <c:v>155.99</c:v>
                      </c:pt>
                      <c:pt idx="7432">
                        <c:v>331.83</c:v>
                      </c:pt>
                      <c:pt idx="7433">
                        <c:v>505.31</c:v>
                      </c:pt>
                      <c:pt idx="7434">
                        <c:v>468.74</c:v>
                      </c:pt>
                      <c:pt idx="7435">
                        <c:v>341.7</c:v>
                      </c:pt>
                      <c:pt idx="7436">
                        <c:v>172.14</c:v>
                      </c:pt>
                      <c:pt idx="7437">
                        <c:v>130.77000000000001</c:v>
                      </c:pt>
                      <c:pt idx="7438">
                        <c:v>117.77</c:v>
                      </c:pt>
                      <c:pt idx="7439">
                        <c:v>110.03</c:v>
                      </c:pt>
                      <c:pt idx="7440">
                        <c:v>106.39</c:v>
                      </c:pt>
                      <c:pt idx="7441">
                        <c:v>99.05</c:v>
                      </c:pt>
                      <c:pt idx="7442">
                        <c:v>95.47</c:v>
                      </c:pt>
                      <c:pt idx="7443">
                        <c:v>97.04</c:v>
                      </c:pt>
                      <c:pt idx="7444">
                        <c:v>100.51</c:v>
                      </c:pt>
                      <c:pt idx="7445">
                        <c:v>110.25</c:v>
                      </c:pt>
                      <c:pt idx="7446">
                        <c:v>163.4</c:v>
                      </c:pt>
                      <c:pt idx="7447">
                        <c:v>299.99</c:v>
                      </c:pt>
                      <c:pt idx="7448">
                        <c:v>240.54</c:v>
                      </c:pt>
                      <c:pt idx="7449">
                        <c:v>144.94</c:v>
                      </c:pt>
                      <c:pt idx="7450">
                        <c:v>133.46</c:v>
                      </c:pt>
                      <c:pt idx="7451">
                        <c:v>123.2</c:v>
                      </c:pt>
                      <c:pt idx="7452">
                        <c:v>123.2</c:v>
                      </c:pt>
                      <c:pt idx="7453">
                        <c:v>125.55</c:v>
                      </c:pt>
                      <c:pt idx="7454">
                        <c:v>141.76</c:v>
                      </c:pt>
                      <c:pt idx="7455">
                        <c:v>270.08999999999997</c:v>
                      </c:pt>
                      <c:pt idx="7456">
                        <c:v>524.25</c:v>
                      </c:pt>
                      <c:pt idx="7457">
                        <c:v>820.11</c:v>
                      </c:pt>
                      <c:pt idx="7458">
                        <c:v>805.08</c:v>
                      </c:pt>
                      <c:pt idx="7459">
                        <c:v>450</c:v>
                      </c:pt>
                      <c:pt idx="7460">
                        <c:v>207.35</c:v>
                      </c:pt>
                      <c:pt idx="7461">
                        <c:v>133.47999999999999</c:v>
                      </c:pt>
                      <c:pt idx="7462">
                        <c:v>119.35</c:v>
                      </c:pt>
                      <c:pt idx="7463">
                        <c:v>111.73</c:v>
                      </c:pt>
                      <c:pt idx="7464">
                        <c:v>109.54</c:v>
                      </c:pt>
                      <c:pt idx="7465">
                        <c:v>102.98</c:v>
                      </c:pt>
                      <c:pt idx="7466">
                        <c:v>99.74</c:v>
                      </c:pt>
                      <c:pt idx="7467">
                        <c:v>99.85</c:v>
                      </c:pt>
                      <c:pt idx="7468">
                        <c:v>102.73</c:v>
                      </c:pt>
                      <c:pt idx="7469">
                        <c:v>116.89</c:v>
                      </c:pt>
                      <c:pt idx="7470">
                        <c:v>157.41</c:v>
                      </c:pt>
                      <c:pt idx="7471">
                        <c:v>219.56</c:v>
                      </c:pt>
                      <c:pt idx="7472">
                        <c:v>191.99</c:v>
                      </c:pt>
                      <c:pt idx="7473">
                        <c:v>152.91999999999999</c:v>
                      </c:pt>
                      <c:pt idx="7474">
                        <c:v>148.9</c:v>
                      </c:pt>
                      <c:pt idx="7475">
                        <c:v>134.81</c:v>
                      </c:pt>
                      <c:pt idx="7476">
                        <c:v>135.06</c:v>
                      </c:pt>
                      <c:pt idx="7477">
                        <c:v>132.91</c:v>
                      </c:pt>
                      <c:pt idx="7478">
                        <c:v>139.94</c:v>
                      </c:pt>
                      <c:pt idx="7479">
                        <c:v>189.42</c:v>
                      </c:pt>
                      <c:pt idx="7480">
                        <c:v>261.16000000000003</c:v>
                      </c:pt>
                      <c:pt idx="7481">
                        <c:v>408.26</c:v>
                      </c:pt>
                      <c:pt idx="7482">
                        <c:v>296.77999999999997</c:v>
                      </c:pt>
                      <c:pt idx="7483">
                        <c:v>175.11</c:v>
                      </c:pt>
                      <c:pt idx="7484">
                        <c:v>129.41</c:v>
                      </c:pt>
                      <c:pt idx="7485">
                        <c:v>113.92</c:v>
                      </c:pt>
                      <c:pt idx="7486">
                        <c:v>111.77</c:v>
                      </c:pt>
                      <c:pt idx="7487">
                        <c:v>99.87</c:v>
                      </c:pt>
                      <c:pt idx="7488">
                        <c:v>99.57</c:v>
                      </c:pt>
                      <c:pt idx="7489">
                        <c:v>99.73</c:v>
                      </c:pt>
                      <c:pt idx="7490">
                        <c:v>97.97</c:v>
                      </c:pt>
                      <c:pt idx="7491">
                        <c:v>97.69</c:v>
                      </c:pt>
                      <c:pt idx="7492">
                        <c:v>97.45</c:v>
                      </c:pt>
                      <c:pt idx="7493">
                        <c:v>98.21</c:v>
                      </c:pt>
                      <c:pt idx="7494">
                        <c:v>107.19</c:v>
                      </c:pt>
                      <c:pt idx="7495">
                        <c:v>127.55</c:v>
                      </c:pt>
                      <c:pt idx="7496">
                        <c:v>132.91</c:v>
                      </c:pt>
                      <c:pt idx="7497">
                        <c:v>126.52</c:v>
                      </c:pt>
                      <c:pt idx="7498">
                        <c:v>117.34</c:v>
                      </c:pt>
                      <c:pt idx="7499">
                        <c:v>110.94</c:v>
                      </c:pt>
                      <c:pt idx="7500">
                        <c:v>105.59</c:v>
                      </c:pt>
                      <c:pt idx="7501">
                        <c:v>106.81</c:v>
                      </c:pt>
                      <c:pt idx="7502">
                        <c:v>112.25</c:v>
                      </c:pt>
                      <c:pt idx="7503">
                        <c:v>123.59</c:v>
                      </c:pt>
                      <c:pt idx="7504">
                        <c:v>129.1</c:v>
                      </c:pt>
                      <c:pt idx="7505">
                        <c:v>128.56</c:v>
                      </c:pt>
                      <c:pt idx="7506">
                        <c:v>132.9</c:v>
                      </c:pt>
                      <c:pt idx="7507">
                        <c:v>127.19</c:v>
                      </c:pt>
                      <c:pt idx="7508">
                        <c:v>115.74</c:v>
                      </c:pt>
                      <c:pt idx="7509">
                        <c:v>109.48</c:v>
                      </c:pt>
                      <c:pt idx="7510">
                        <c:v>113</c:v>
                      </c:pt>
                      <c:pt idx="7511">
                        <c:v>104.06</c:v>
                      </c:pt>
                      <c:pt idx="7512">
                        <c:v>105.1</c:v>
                      </c:pt>
                      <c:pt idx="7513">
                        <c:v>99.96</c:v>
                      </c:pt>
                      <c:pt idx="7514">
                        <c:v>98</c:v>
                      </c:pt>
                      <c:pt idx="7515">
                        <c:v>96.68</c:v>
                      </c:pt>
                      <c:pt idx="7516">
                        <c:v>98.41</c:v>
                      </c:pt>
                      <c:pt idx="7517">
                        <c:v>100.69</c:v>
                      </c:pt>
                      <c:pt idx="7518">
                        <c:v>104.31</c:v>
                      </c:pt>
                      <c:pt idx="7519">
                        <c:v>109.87</c:v>
                      </c:pt>
                      <c:pt idx="7520">
                        <c:v>114.1</c:v>
                      </c:pt>
                      <c:pt idx="7521">
                        <c:v>114.6</c:v>
                      </c:pt>
                      <c:pt idx="7522">
                        <c:v>109.97</c:v>
                      </c:pt>
                      <c:pt idx="7523">
                        <c:v>106.4</c:v>
                      </c:pt>
                      <c:pt idx="7524">
                        <c:v>106.88</c:v>
                      </c:pt>
                      <c:pt idx="7525">
                        <c:v>108</c:v>
                      </c:pt>
                      <c:pt idx="7526">
                        <c:v>110.18</c:v>
                      </c:pt>
                      <c:pt idx="7527">
                        <c:v>121.46</c:v>
                      </c:pt>
                      <c:pt idx="7528">
                        <c:v>137.22999999999999</c:v>
                      </c:pt>
                      <c:pt idx="7529">
                        <c:v>146.93</c:v>
                      </c:pt>
                      <c:pt idx="7530">
                        <c:v>147.80000000000001</c:v>
                      </c:pt>
                      <c:pt idx="7531">
                        <c:v>139.9</c:v>
                      </c:pt>
                      <c:pt idx="7532">
                        <c:v>128.32</c:v>
                      </c:pt>
                      <c:pt idx="7533">
                        <c:v>117.96</c:v>
                      </c:pt>
                      <c:pt idx="7534">
                        <c:v>114.53</c:v>
                      </c:pt>
                      <c:pt idx="7535">
                        <c:v>110.1</c:v>
                      </c:pt>
                      <c:pt idx="7536">
                        <c:v>104.99</c:v>
                      </c:pt>
                      <c:pt idx="7537">
                        <c:v>102.28</c:v>
                      </c:pt>
                      <c:pt idx="7538">
                        <c:v>102.01</c:v>
                      </c:pt>
                      <c:pt idx="7539">
                        <c:v>100.86</c:v>
                      </c:pt>
                      <c:pt idx="7540">
                        <c:v>100.88</c:v>
                      </c:pt>
                      <c:pt idx="7541">
                        <c:v>101.98</c:v>
                      </c:pt>
                      <c:pt idx="7542">
                        <c:v>100.32</c:v>
                      </c:pt>
                      <c:pt idx="7543">
                        <c:v>102.45</c:v>
                      </c:pt>
                      <c:pt idx="7544">
                        <c:v>105.38</c:v>
                      </c:pt>
                      <c:pt idx="7545">
                        <c:v>110.99</c:v>
                      </c:pt>
                      <c:pt idx="7546">
                        <c:v>112.62</c:v>
                      </c:pt>
                      <c:pt idx="7547">
                        <c:v>110.13</c:v>
                      </c:pt>
                      <c:pt idx="7548">
                        <c:v>110.92</c:v>
                      </c:pt>
                      <c:pt idx="7549">
                        <c:v>108.6</c:v>
                      </c:pt>
                      <c:pt idx="7550">
                        <c:v>112.36</c:v>
                      </c:pt>
                      <c:pt idx="7551">
                        <c:v>126.22</c:v>
                      </c:pt>
                      <c:pt idx="7552">
                        <c:v>134.02000000000001</c:v>
                      </c:pt>
                      <c:pt idx="7553">
                        <c:v>148.72</c:v>
                      </c:pt>
                      <c:pt idx="7554">
                        <c:v>146.01</c:v>
                      </c:pt>
                      <c:pt idx="7555">
                        <c:v>138.61000000000001</c:v>
                      </c:pt>
                      <c:pt idx="7556">
                        <c:v>125.31</c:v>
                      </c:pt>
                      <c:pt idx="7557">
                        <c:v>115.28</c:v>
                      </c:pt>
                      <c:pt idx="7558">
                        <c:v>111.1</c:v>
                      </c:pt>
                      <c:pt idx="7559">
                        <c:v>108.02</c:v>
                      </c:pt>
                      <c:pt idx="7560">
                        <c:v>109.65</c:v>
                      </c:pt>
                      <c:pt idx="7561">
                        <c:v>103.68</c:v>
                      </c:pt>
                      <c:pt idx="7562">
                        <c:v>100</c:v>
                      </c:pt>
                      <c:pt idx="7563">
                        <c:v>97.86</c:v>
                      </c:pt>
                      <c:pt idx="7564">
                        <c:v>97.5</c:v>
                      </c:pt>
                      <c:pt idx="7565">
                        <c:v>103.89</c:v>
                      </c:pt>
                      <c:pt idx="7566">
                        <c:v>115.69</c:v>
                      </c:pt>
                      <c:pt idx="7567">
                        <c:v>128.35</c:v>
                      </c:pt>
                      <c:pt idx="7568">
                        <c:v>135.06</c:v>
                      </c:pt>
                      <c:pt idx="7569">
                        <c:v>132.94</c:v>
                      </c:pt>
                      <c:pt idx="7570">
                        <c:v>128.5</c:v>
                      </c:pt>
                      <c:pt idx="7571">
                        <c:v>124.21</c:v>
                      </c:pt>
                      <c:pt idx="7572">
                        <c:v>119.84</c:v>
                      </c:pt>
                      <c:pt idx="7573">
                        <c:v>129.02000000000001</c:v>
                      </c:pt>
                      <c:pt idx="7574">
                        <c:v>130.44</c:v>
                      </c:pt>
                      <c:pt idx="7575">
                        <c:v>139.05000000000001</c:v>
                      </c:pt>
                      <c:pt idx="7576">
                        <c:v>140.94</c:v>
                      </c:pt>
                      <c:pt idx="7577">
                        <c:v>153.18</c:v>
                      </c:pt>
                      <c:pt idx="7578">
                        <c:v>147.09</c:v>
                      </c:pt>
                      <c:pt idx="7579">
                        <c:v>133.69999999999999</c:v>
                      </c:pt>
                      <c:pt idx="7580">
                        <c:v>121.94</c:v>
                      </c:pt>
                      <c:pt idx="7581">
                        <c:v>112.88</c:v>
                      </c:pt>
                      <c:pt idx="7582">
                        <c:v>111.56</c:v>
                      </c:pt>
                      <c:pt idx="7583">
                        <c:v>105.4</c:v>
                      </c:pt>
                      <c:pt idx="7584">
                        <c:v>110.31</c:v>
                      </c:pt>
                      <c:pt idx="7585">
                        <c:v>104.64</c:v>
                      </c:pt>
                      <c:pt idx="7586">
                        <c:v>102.69</c:v>
                      </c:pt>
                      <c:pt idx="7587">
                        <c:v>103.99</c:v>
                      </c:pt>
                      <c:pt idx="7588">
                        <c:v>107.5</c:v>
                      </c:pt>
                      <c:pt idx="7589">
                        <c:v>118.01</c:v>
                      </c:pt>
                      <c:pt idx="7590">
                        <c:v>147.66999999999999</c:v>
                      </c:pt>
                      <c:pt idx="7591">
                        <c:v>185.52</c:v>
                      </c:pt>
                      <c:pt idx="7592">
                        <c:v>201.64</c:v>
                      </c:pt>
                      <c:pt idx="7593">
                        <c:v>223.33</c:v>
                      </c:pt>
                      <c:pt idx="7594">
                        <c:v>190.24</c:v>
                      </c:pt>
                      <c:pt idx="7595">
                        <c:v>171.08</c:v>
                      </c:pt>
                      <c:pt idx="7596">
                        <c:v>161.59</c:v>
                      </c:pt>
                      <c:pt idx="7597">
                        <c:v>156.47</c:v>
                      </c:pt>
                      <c:pt idx="7598">
                        <c:v>174.37</c:v>
                      </c:pt>
                      <c:pt idx="7599">
                        <c:v>218.78</c:v>
                      </c:pt>
                      <c:pt idx="7600">
                        <c:v>272.73</c:v>
                      </c:pt>
                      <c:pt idx="7601">
                        <c:v>317.89</c:v>
                      </c:pt>
                      <c:pt idx="7602">
                        <c:v>225.33</c:v>
                      </c:pt>
                      <c:pt idx="7603">
                        <c:v>171.35</c:v>
                      </c:pt>
                      <c:pt idx="7604">
                        <c:v>149.12</c:v>
                      </c:pt>
                      <c:pt idx="7605">
                        <c:v>131.9</c:v>
                      </c:pt>
                      <c:pt idx="7606">
                        <c:v>125.21</c:v>
                      </c:pt>
                      <c:pt idx="7607">
                        <c:v>115.59</c:v>
                      </c:pt>
                      <c:pt idx="7608">
                        <c:v>117.15</c:v>
                      </c:pt>
                      <c:pt idx="7609">
                        <c:v>111.71</c:v>
                      </c:pt>
                      <c:pt idx="7610">
                        <c:v>107.85</c:v>
                      </c:pt>
                      <c:pt idx="7611">
                        <c:v>107.45</c:v>
                      </c:pt>
                      <c:pt idx="7612">
                        <c:v>110.63</c:v>
                      </c:pt>
                      <c:pt idx="7613">
                        <c:v>119</c:v>
                      </c:pt>
                      <c:pt idx="7614">
                        <c:v>131.1</c:v>
                      </c:pt>
                      <c:pt idx="7615">
                        <c:v>164.78</c:v>
                      </c:pt>
                      <c:pt idx="7616">
                        <c:v>225.45</c:v>
                      </c:pt>
                      <c:pt idx="7617">
                        <c:v>227.43</c:v>
                      </c:pt>
                      <c:pt idx="7618">
                        <c:v>200.8</c:v>
                      </c:pt>
                      <c:pt idx="7619">
                        <c:v>177.7</c:v>
                      </c:pt>
                      <c:pt idx="7620">
                        <c:v>160.99</c:v>
                      </c:pt>
                      <c:pt idx="7621">
                        <c:v>162.07</c:v>
                      </c:pt>
                      <c:pt idx="7622">
                        <c:v>159.9</c:v>
                      </c:pt>
                      <c:pt idx="7623">
                        <c:v>165.6</c:v>
                      </c:pt>
                      <c:pt idx="7624">
                        <c:v>178.28</c:v>
                      </c:pt>
                      <c:pt idx="7625">
                        <c:v>178.43</c:v>
                      </c:pt>
                      <c:pt idx="7626">
                        <c:v>173.9</c:v>
                      </c:pt>
                      <c:pt idx="7627">
                        <c:v>161.79</c:v>
                      </c:pt>
                      <c:pt idx="7628">
                        <c:v>125.22</c:v>
                      </c:pt>
                      <c:pt idx="7629">
                        <c:v>114.86</c:v>
                      </c:pt>
                      <c:pt idx="7630">
                        <c:v>113.51</c:v>
                      </c:pt>
                      <c:pt idx="7631">
                        <c:v>106.62</c:v>
                      </c:pt>
                      <c:pt idx="7632">
                        <c:v>101.7</c:v>
                      </c:pt>
                      <c:pt idx="7633">
                        <c:v>99.83</c:v>
                      </c:pt>
                      <c:pt idx="7634">
                        <c:v>96.01</c:v>
                      </c:pt>
                      <c:pt idx="7635">
                        <c:v>92.25</c:v>
                      </c:pt>
                      <c:pt idx="7636">
                        <c:v>91.41</c:v>
                      </c:pt>
                      <c:pt idx="7637">
                        <c:v>92.24</c:v>
                      </c:pt>
                      <c:pt idx="7638">
                        <c:v>103.44</c:v>
                      </c:pt>
                      <c:pt idx="7639">
                        <c:v>115.61</c:v>
                      </c:pt>
                      <c:pt idx="7640">
                        <c:v>127.14</c:v>
                      </c:pt>
                      <c:pt idx="7641">
                        <c:v>123.92</c:v>
                      </c:pt>
                      <c:pt idx="7642">
                        <c:v>125.65</c:v>
                      </c:pt>
                      <c:pt idx="7643">
                        <c:v>124.84</c:v>
                      </c:pt>
                      <c:pt idx="7644">
                        <c:v>121.68</c:v>
                      </c:pt>
                      <c:pt idx="7645">
                        <c:v>127.4</c:v>
                      </c:pt>
                      <c:pt idx="7646">
                        <c:v>134.01</c:v>
                      </c:pt>
                      <c:pt idx="7647">
                        <c:v>142.18</c:v>
                      </c:pt>
                      <c:pt idx="7648">
                        <c:v>147.41</c:v>
                      </c:pt>
                      <c:pt idx="7649">
                        <c:v>155.91</c:v>
                      </c:pt>
                      <c:pt idx="7650">
                        <c:v>154.09</c:v>
                      </c:pt>
                      <c:pt idx="7651">
                        <c:v>148.29</c:v>
                      </c:pt>
                      <c:pt idx="7652">
                        <c:v>138.58000000000001</c:v>
                      </c:pt>
                      <c:pt idx="7653">
                        <c:v>129.44</c:v>
                      </c:pt>
                      <c:pt idx="7654">
                        <c:v>122.89</c:v>
                      </c:pt>
                      <c:pt idx="7655">
                        <c:v>112.48</c:v>
                      </c:pt>
                      <c:pt idx="7656">
                        <c:v>110.44</c:v>
                      </c:pt>
                      <c:pt idx="7657">
                        <c:v>106.71</c:v>
                      </c:pt>
                      <c:pt idx="7658">
                        <c:v>107.01</c:v>
                      </c:pt>
                      <c:pt idx="7659">
                        <c:v>103.62</c:v>
                      </c:pt>
                      <c:pt idx="7660">
                        <c:v>104.42</c:v>
                      </c:pt>
                      <c:pt idx="7661">
                        <c:v>108.6</c:v>
                      </c:pt>
                      <c:pt idx="7662">
                        <c:v>129.26</c:v>
                      </c:pt>
                      <c:pt idx="7663">
                        <c:v>144.16</c:v>
                      </c:pt>
                      <c:pt idx="7664">
                        <c:v>157.77000000000001</c:v>
                      </c:pt>
                      <c:pt idx="7665">
                        <c:v>150.86000000000001</c:v>
                      </c:pt>
                      <c:pt idx="7666">
                        <c:v>138.84</c:v>
                      </c:pt>
                      <c:pt idx="7667">
                        <c:v>135.08000000000001</c:v>
                      </c:pt>
                      <c:pt idx="7668">
                        <c:v>121.74</c:v>
                      </c:pt>
                      <c:pt idx="7669">
                        <c:v>121.8</c:v>
                      </c:pt>
                      <c:pt idx="7670">
                        <c:v>131.88999999999999</c:v>
                      </c:pt>
                      <c:pt idx="7671">
                        <c:v>141.75</c:v>
                      </c:pt>
                      <c:pt idx="7672">
                        <c:v>133.94999999999999</c:v>
                      </c:pt>
                      <c:pt idx="7673">
                        <c:v>136.26</c:v>
                      </c:pt>
                      <c:pt idx="7674">
                        <c:v>134.77000000000001</c:v>
                      </c:pt>
                      <c:pt idx="7675">
                        <c:v>128.38999999999999</c:v>
                      </c:pt>
                      <c:pt idx="7676">
                        <c:v>115.73</c:v>
                      </c:pt>
                      <c:pt idx="7677">
                        <c:v>110.74</c:v>
                      </c:pt>
                      <c:pt idx="7678">
                        <c:v>108.19</c:v>
                      </c:pt>
                      <c:pt idx="7679">
                        <c:v>98.1</c:v>
                      </c:pt>
                      <c:pt idx="7680">
                        <c:v>101.92</c:v>
                      </c:pt>
                      <c:pt idx="7681">
                        <c:v>95.43</c:v>
                      </c:pt>
                      <c:pt idx="7682">
                        <c:v>89.87</c:v>
                      </c:pt>
                      <c:pt idx="7683">
                        <c:v>86.57</c:v>
                      </c:pt>
                      <c:pt idx="7684">
                        <c:v>88.81</c:v>
                      </c:pt>
                      <c:pt idx="7685">
                        <c:v>86.95</c:v>
                      </c:pt>
                      <c:pt idx="7686">
                        <c:v>73.819999999999993</c:v>
                      </c:pt>
                      <c:pt idx="7687">
                        <c:v>90.1</c:v>
                      </c:pt>
                      <c:pt idx="7688">
                        <c:v>104.75</c:v>
                      </c:pt>
                      <c:pt idx="7689">
                        <c:v>109.77</c:v>
                      </c:pt>
                      <c:pt idx="7690">
                        <c:v>107.6</c:v>
                      </c:pt>
                      <c:pt idx="7691">
                        <c:v>99.03</c:v>
                      </c:pt>
                      <c:pt idx="7692">
                        <c:v>96.98</c:v>
                      </c:pt>
                      <c:pt idx="7693">
                        <c:v>96.97</c:v>
                      </c:pt>
                      <c:pt idx="7694">
                        <c:v>93.72</c:v>
                      </c:pt>
                      <c:pt idx="7695">
                        <c:v>100.22</c:v>
                      </c:pt>
                      <c:pt idx="7696">
                        <c:v>108.99</c:v>
                      </c:pt>
                      <c:pt idx="7697">
                        <c:v>118.93</c:v>
                      </c:pt>
                      <c:pt idx="7698">
                        <c:v>114.95</c:v>
                      </c:pt>
                      <c:pt idx="7699">
                        <c:v>104.18</c:v>
                      </c:pt>
                      <c:pt idx="7700">
                        <c:v>82.67</c:v>
                      </c:pt>
                      <c:pt idx="7701">
                        <c:v>72.819999999999993</c:v>
                      </c:pt>
                      <c:pt idx="7702">
                        <c:v>73.83</c:v>
                      </c:pt>
                      <c:pt idx="7703">
                        <c:v>65.67</c:v>
                      </c:pt>
                      <c:pt idx="7704">
                        <c:v>80.099999999999994</c:v>
                      </c:pt>
                      <c:pt idx="7705">
                        <c:v>69.28</c:v>
                      </c:pt>
                      <c:pt idx="7706">
                        <c:v>72.48</c:v>
                      </c:pt>
                      <c:pt idx="7707">
                        <c:v>58.72</c:v>
                      </c:pt>
                      <c:pt idx="7708">
                        <c:v>42</c:v>
                      </c:pt>
                      <c:pt idx="7709">
                        <c:v>34.81</c:v>
                      </c:pt>
                      <c:pt idx="7710">
                        <c:v>42.36</c:v>
                      </c:pt>
                      <c:pt idx="7711">
                        <c:v>60.69</c:v>
                      </c:pt>
                      <c:pt idx="7712">
                        <c:v>64.8</c:v>
                      </c:pt>
                      <c:pt idx="7713">
                        <c:v>65.400000000000006</c:v>
                      </c:pt>
                      <c:pt idx="7714">
                        <c:v>68.3</c:v>
                      </c:pt>
                      <c:pt idx="7715">
                        <c:v>64.790000000000006</c:v>
                      </c:pt>
                      <c:pt idx="7716">
                        <c:v>54.9</c:v>
                      </c:pt>
                      <c:pt idx="7717">
                        <c:v>46.86</c:v>
                      </c:pt>
                      <c:pt idx="7718">
                        <c:v>61.25</c:v>
                      </c:pt>
                      <c:pt idx="7719">
                        <c:v>64.8</c:v>
                      </c:pt>
                      <c:pt idx="7720">
                        <c:v>70.099999999999994</c:v>
                      </c:pt>
                      <c:pt idx="7721">
                        <c:v>102.84</c:v>
                      </c:pt>
                      <c:pt idx="7722">
                        <c:v>80.7</c:v>
                      </c:pt>
                      <c:pt idx="7723">
                        <c:v>65.400000000000006</c:v>
                      </c:pt>
                      <c:pt idx="7724">
                        <c:v>57.41</c:v>
                      </c:pt>
                      <c:pt idx="7725">
                        <c:v>64.790000000000006</c:v>
                      </c:pt>
                      <c:pt idx="7726">
                        <c:v>68.760000000000005</c:v>
                      </c:pt>
                      <c:pt idx="7727">
                        <c:v>62.02</c:v>
                      </c:pt>
                      <c:pt idx="7728">
                        <c:v>65.42</c:v>
                      </c:pt>
                      <c:pt idx="7729">
                        <c:v>64.39</c:v>
                      </c:pt>
                      <c:pt idx="7730">
                        <c:v>59.86</c:v>
                      </c:pt>
                      <c:pt idx="7731">
                        <c:v>42.39</c:v>
                      </c:pt>
                      <c:pt idx="7732">
                        <c:v>58.17</c:v>
                      </c:pt>
                      <c:pt idx="7733">
                        <c:v>74.23</c:v>
                      </c:pt>
                      <c:pt idx="7734">
                        <c:v>95.55</c:v>
                      </c:pt>
                      <c:pt idx="7735">
                        <c:v>121.66</c:v>
                      </c:pt>
                      <c:pt idx="7736">
                        <c:v>121.91</c:v>
                      </c:pt>
                      <c:pt idx="7737">
                        <c:v>119.56</c:v>
                      </c:pt>
                      <c:pt idx="7738">
                        <c:v>111.51</c:v>
                      </c:pt>
                      <c:pt idx="7739">
                        <c:v>92.98</c:v>
                      </c:pt>
                      <c:pt idx="7740">
                        <c:v>79.5</c:v>
                      </c:pt>
                      <c:pt idx="7741">
                        <c:v>94.13</c:v>
                      </c:pt>
                      <c:pt idx="7742">
                        <c:v>109.52</c:v>
                      </c:pt>
                      <c:pt idx="7743">
                        <c:v>119.98</c:v>
                      </c:pt>
                      <c:pt idx="7744">
                        <c:v>132.47999999999999</c:v>
                      </c:pt>
                      <c:pt idx="7745">
                        <c:v>159.9</c:v>
                      </c:pt>
                      <c:pt idx="7746">
                        <c:v>161.82</c:v>
                      </c:pt>
                      <c:pt idx="7747">
                        <c:v>152.96</c:v>
                      </c:pt>
                      <c:pt idx="7748">
                        <c:v>128.94</c:v>
                      </c:pt>
                      <c:pt idx="7749">
                        <c:v>117.62</c:v>
                      </c:pt>
                      <c:pt idx="7750">
                        <c:v>116.99</c:v>
                      </c:pt>
                      <c:pt idx="7751">
                        <c:v>108.7</c:v>
                      </c:pt>
                      <c:pt idx="7752">
                        <c:v>107.06</c:v>
                      </c:pt>
                      <c:pt idx="7753">
                        <c:v>101.4</c:v>
                      </c:pt>
                      <c:pt idx="7754">
                        <c:v>95.58</c:v>
                      </c:pt>
                      <c:pt idx="7755">
                        <c:v>91.73</c:v>
                      </c:pt>
                      <c:pt idx="7756">
                        <c:v>95.28</c:v>
                      </c:pt>
                      <c:pt idx="7757">
                        <c:v>98.73</c:v>
                      </c:pt>
                      <c:pt idx="7758">
                        <c:v>116.27</c:v>
                      </c:pt>
                      <c:pt idx="7759">
                        <c:v>131.59</c:v>
                      </c:pt>
                      <c:pt idx="7760">
                        <c:v>155.06</c:v>
                      </c:pt>
                      <c:pt idx="7761">
                        <c:v>157.57</c:v>
                      </c:pt>
                      <c:pt idx="7762">
                        <c:v>156.26</c:v>
                      </c:pt>
                      <c:pt idx="7763">
                        <c:v>152.81</c:v>
                      </c:pt>
                      <c:pt idx="7764">
                        <c:v>148.19</c:v>
                      </c:pt>
                      <c:pt idx="7765">
                        <c:v>144.13999999999999</c:v>
                      </c:pt>
                      <c:pt idx="7766">
                        <c:v>140.15</c:v>
                      </c:pt>
                      <c:pt idx="7767">
                        <c:v>128.78</c:v>
                      </c:pt>
                      <c:pt idx="7768">
                        <c:v>132.88999999999999</c:v>
                      </c:pt>
                      <c:pt idx="7769">
                        <c:v>140.19</c:v>
                      </c:pt>
                      <c:pt idx="7770">
                        <c:v>134.65</c:v>
                      </c:pt>
                      <c:pt idx="7771">
                        <c:v>125.93</c:v>
                      </c:pt>
                      <c:pt idx="7772">
                        <c:v>117.1</c:v>
                      </c:pt>
                      <c:pt idx="7773">
                        <c:v>109.37</c:v>
                      </c:pt>
                      <c:pt idx="7774">
                        <c:v>105.25</c:v>
                      </c:pt>
                      <c:pt idx="7775">
                        <c:v>89.84</c:v>
                      </c:pt>
                      <c:pt idx="7776">
                        <c:v>100.14</c:v>
                      </c:pt>
                      <c:pt idx="7777">
                        <c:v>92</c:v>
                      </c:pt>
                      <c:pt idx="7778">
                        <c:v>86.6</c:v>
                      </c:pt>
                      <c:pt idx="7779">
                        <c:v>81.52</c:v>
                      </c:pt>
                      <c:pt idx="7780">
                        <c:v>81.96</c:v>
                      </c:pt>
                      <c:pt idx="7781">
                        <c:v>93.29</c:v>
                      </c:pt>
                      <c:pt idx="7782">
                        <c:v>107.55</c:v>
                      </c:pt>
                      <c:pt idx="7783">
                        <c:v>135.62</c:v>
                      </c:pt>
                      <c:pt idx="7784">
                        <c:v>142.87</c:v>
                      </c:pt>
                      <c:pt idx="7785">
                        <c:v>140.09</c:v>
                      </c:pt>
                      <c:pt idx="7786">
                        <c:v>120.35</c:v>
                      </c:pt>
                      <c:pt idx="7787">
                        <c:v>107.77</c:v>
                      </c:pt>
                      <c:pt idx="7788">
                        <c:v>97.26</c:v>
                      </c:pt>
                      <c:pt idx="7789">
                        <c:v>97.36</c:v>
                      </c:pt>
                      <c:pt idx="7790">
                        <c:v>106.64</c:v>
                      </c:pt>
                      <c:pt idx="7791">
                        <c:v>130.84</c:v>
                      </c:pt>
                      <c:pt idx="7792">
                        <c:v>135.09</c:v>
                      </c:pt>
                      <c:pt idx="7793">
                        <c:v>142</c:v>
                      </c:pt>
                      <c:pt idx="7794">
                        <c:v>142.58000000000001</c:v>
                      </c:pt>
                      <c:pt idx="7795">
                        <c:v>140.26</c:v>
                      </c:pt>
                      <c:pt idx="7796">
                        <c:v>135.97999999999999</c:v>
                      </c:pt>
                      <c:pt idx="7797">
                        <c:v>123.05</c:v>
                      </c:pt>
                      <c:pt idx="7798">
                        <c:v>116.42</c:v>
                      </c:pt>
                      <c:pt idx="7799">
                        <c:v>103.5</c:v>
                      </c:pt>
                      <c:pt idx="7800">
                        <c:v>93.96</c:v>
                      </c:pt>
                      <c:pt idx="7801">
                        <c:v>90.4</c:v>
                      </c:pt>
                      <c:pt idx="7802">
                        <c:v>86.8</c:v>
                      </c:pt>
                      <c:pt idx="7803">
                        <c:v>84.15</c:v>
                      </c:pt>
                      <c:pt idx="7804">
                        <c:v>84.23</c:v>
                      </c:pt>
                      <c:pt idx="7805">
                        <c:v>92.48</c:v>
                      </c:pt>
                      <c:pt idx="7806">
                        <c:v>107.17</c:v>
                      </c:pt>
                      <c:pt idx="7807">
                        <c:v>121.44</c:v>
                      </c:pt>
                      <c:pt idx="7808">
                        <c:v>132.99</c:v>
                      </c:pt>
                      <c:pt idx="7809">
                        <c:v>134.97999999999999</c:v>
                      </c:pt>
                      <c:pt idx="7810">
                        <c:v>127.33</c:v>
                      </c:pt>
                      <c:pt idx="7811">
                        <c:v>115.47</c:v>
                      </c:pt>
                      <c:pt idx="7812">
                        <c:v>113.57</c:v>
                      </c:pt>
                      <c:pt idx="7813">
                        <c:v>120.83</c:v>
                      </c:pt>
                      <c:pt idx="7814">
                        <c:v>141.62</c:v>
                      </c:pt>
                      <c:pt idx="7815">
                        <c:v>154.85</c:v>
                      </c:pt>
                      <c:pt idx="7816">
                        <c:v>174.97</c:v>
                      </c:pt>
                      <c:pt idx="7817">
                        <c:v>182.26</c:v>
                      </c:pt>
                      <c:pt idx="7818">
                        <c:v>161.34</c:v>
                      </c:pt>
                      <c:pt idx="7819">
                        <c:v>154.05000000000001</c:v>
                      </c:pt>
                      <c:pt idx="7820">
                        <c:v>131.33000000000001</c:v>
                      </c:pt>
                      <c:pt idx="7821">
                        <c:v>123.05</c:v>
                      </c:pt>
                      <c:pt idx="7822">
                        <c:v>122.9</c:v>
                      </c:pt>
                      <c:pt idx="7823">
                        <c:v>107.46</c:v>
                      </c:pt>
                      <c:pt idx="7824">
                        <c:v>116.12</c:v>
                      </c:pt>
                      <c:pt idx="7825">
                        <c:v>106.21</c:v>
                      </c:pt>
                      <c:pt idx="7826">
                        <c:v>97.85</c:v>
                      </c:pt>
                      <c:pt idx="7827">
                        <c:v>91.37</c:v>
                      </c:pt>
                      <c:pt idx="7828">
                        <c:v>88.65</c:v>
                      </c:pt>
                      <c:pt idx="7829">
                        <c:v>92.16</c:v>
                      </c:pt>
                      <c:pt idx="7830">
                        <c:v>117.06</c:v>
                      </c:pt>
                      <c:pt idx="7831">
                        <c:v>135.30000000000001</c:v>
                      </c:pt>
                      <c:pt idx="7832">
                        <c:v>144.08000000000001</c:v>
                      </c:pt>
                      <c:pt idx="7833">
                        <c:v>141.58000000000001</c:v>
                      </c:pt>
                      <c:pt idx="7834">
                        <c:v>135.75</c:v>
                      </c:pt>
                      <c:pt idx="7835">
                        <c:v>116.84</c:v>
                      </c:pt>
                      <c:pt idx="7836">
                        <c:v>105.14</c:v>
                      </c:pt>
                      <c:pt idx="7837">
                        <c:v>95.23</c:v>
                      </c:pt>
                      <c:pt idx="7838">
                        <c:v>96.18</c:v>
                      </c:pt>
                      <c:pt idx="7839">
                        <c:v>106.24</c:v>
                      </c:pt>
                      <c:pt idx="7840">
                        <c:v>111.21</c:v>
                      </c:pt>
                      <c:pt idx="7841">
                        <c:v>128.44</c:v>
                      </c:pt>
                      <c:pt idx="7842">
                        <c:v>134.28</c:v>
                      </c:pt>
                      <c:pt idx="7843">
                        <c:v>128.80000000000001</c:v>
                      </c:pt>
                      <c:pt idx="7844">
                        <c:v>106.21</c:v>
                      </c:pt>
                      <c:pt idx="7845">
                        <c:v>106.35</c:v>
                      </c:pt>
                      <c:pt idx="7846">
                        <c:v>93.25</c:v>
                      </c:pt>
                      <c:pt idx="7847">
                        <c:v>77</c:v>
                      </c:pt>
                      <c:pt idx="7848">
                        <c:v>80</c:v>
                      </c:pt>
                      <c:pt idx="7849">
                        <c:v>76.87</c:v>
                      </c:pt>
                      <c:pt idx="7850">
                        <c:v>77.88</c:v>
                      </c:pt>
                      <c:pt idx="7851">
                        <c:v>79.040000000000006</c:v>
                      </c:pt>
                      <c:pt idx="7852">
                        <c:v>79.349999999999994</c:v>
                      </c:pt>
                      <c:pt idx="7853">
                        <c:v>82.54</c:v>
                      </c:pt>
                      <c:pt idx="7854">
                        <c:v>82.05</c:v>
                      </c:pt>
                      <c:pt idx="7855">
                        <c:v>89.27</c:v>
                      </c:pt>
                      <c:pt idx="7856">
                        <c:v>97.48</c:v>
                      </c:pt>
                      <c:pt idx="7857">
                        <c:v>85.62</c:v>
                      </c:pt>
                      <c:pt idx="7858">
                        <c:v>78.540000000000006</c:v>
                      </c:pt>
                      <c:pt idx="7859">
                        <c:v>73.5</c:v>
                      </c:pt>
                      <c:pt idx="7860">
                        <c:v>71.2</c:v>
                      </c:pt>
                      <c:pt idx="7861">
                        <c:v>75.849999999999994</c:v>
                      </c:pt>
                      <c:pt idx="7862">
                        <c:v>85.68</c:v>
                      </c:pt>
                      <c:pt idx="7863">
                        <c:v>104.55</c:v>
                      </c:pt>
                      <c:pt idx="7864">
                        <c:v>87.31</c:v>
                      </c:pt>
                      <c:pt idx="7865">
                        <c:v>95.56</c:v>
                      </c:pt>
                      <c:pt idx="7866">
                        <c:v>86.08</c:v>
                      </c:pt>
                      <c:pt idx="7867">
                        <c:v>71</c:v>
                      </c:pt>
                      <c:pt idx="7868">
                        <c:v>59.55</c:v>
                      </c:pt>
                      <c:pt idx="7869">
                        <c:v>48.03</c:v>
                      </c:pt>
                      <c:pt idx="7870">
                        <c:v>39.1</c:v>
                      </c:pt>
                      <c:pt idx="7871">
                        <c:v>18.46</c:v>
                      </c:pt>
                      <c:pt idx="7872">
                        <c:v>1.01</c:v>
                      </c:pt>
                      <c:pt idx="7873">
                        <c:v>0</c:v>
                      </c:pt>
                      <c:pt idx="7874">
                        <c:v>0</c:v>
                      </c:pt>
                      <c:pt idx="7875">
                        <c:v>-0.01</c:v>
                      </c:pt>
                      <c:pt idx="7876">
                        <c:v>-0.02</c:v>
                      </c:pt>
                      <c:pt idx="7877">
                        <c:v>-0.03</c:v>
                      </c:pt>
                      <c:pt idx="7878">
                        <c:v>-0.05</c:v>
                      </c:pt>
                      <c:pt idx="7879">
                        <c:v>-0.03</c:v>
                      </c:pt>
                      <c:pt idx="7880">
                        <c:v>1.37</c:v>
                      </c:pt>
                      <c:pt idx="7881">
                        <c:v>3.75</c:v>
                      </c:pt>
                      <c:pt idx="7882">
                        <c:v>2.0699999999999998</c:v>
                      </c:pt>
                      <c:pt idx="7883">
                        <c:v>2.5299999999999998</c:v>
                      </c:pt>
                      <c:pt idx="7884">
                        <c:v>1.01</c:v>
                      </c:pt>
                      <c:pt idx="7885">
                        <c:v>1.01</c:v>
                      </c:pt>
                      <c:pt idx="7886">
                        <c:v>3.11</c:v>
                      </c:pt>
                      <c:pt idx="7887">
                        <c:v>6.61</c:v>
                      </c:pt>
                      <c:pt idx="7888">
                        <c:v>13.99</c:v>
                      </c:pt>
                      <c:pt idx="7889">
                        <c:v>15.52</c:v>
                      </c:pt>
                      <c:pt idx="7890">
                        <c:v>16.18</c:v>
                      </c:pt>
                      <c:pt idx="7891">
                        <c:v>12.02</c:v>
                      </c:pt>
                      <c:pt idx="7892">
                        <c:v>7.4</c:v>
                      </c:pt>
                      <c:pt idx="7893">
                        <c:v>4.5</c:v>
                      </c:pt>
                      <c:pt idx="7894">
                        <c:v>3.27</c:v>
                      </c:pt>
                      <c:pt idx="7895">
                        <c:v>0.01</c:v>
                      </c:pt>
                      <c:pt idx="7896">
                        <c:v>-1.25</c:v>
                      </c:pt>
                      <c:pt idx="7897">
                        <c:v>-1.59</c:v>
                      </c:pt>
                      <c:pt idx="7898">
                        <c:v>-1.42</c:v>
                      </c:pt>
                      <c:pt idx="7899">
                        <c:v>-1.86</c:v>
                      </c:pt>
                      <c:pt idx="7900">
                        <c:v>-1.42</c:v>
                      </c:pt>
                      <c:pt idx="7901">
                        <c:v>-0.28000000000000003</c:v>
                      </c:pt>
                      <c:pt idx="7902">
                        <c:v>0.09</c:v>
                      </c:pt>
                      <c:pt idx="7903">
                        <c:v>54.38</c:v>
                      </c:pt>
                      <c:pt idx="7904">
                        <c:v>77.010000000000005</c:v>
                      </c:pt>
                      <c:pt idx="7905">
                        <c:v>66.569999999999993</c:v>
                      </c:pt>
                      <c:pt idx="7906">
                        <c:v>42.55</c:v>
                      </c:pt>
                      <c:pt idx="7907">
                        <c:v>41.37</c:v>
                      </c:pt>
                      <c:pt idx="7908">
                        <c:v>40</c:v>
                      </c:pt>
                      <c:pt idx="7909">
                        <c:v>57.16</c:v>
                      </c:pt>
                      <c:pt idx="7910">
                        <c:v>67.97</c:v>
                      </c:pt>
                      <c:pt idx="7911">
                        <c:v>94.99</c:v>
                      </c:pt>
                      <c:pt idx="7912">
                        <c:v>92.58</c:v>
                      </c:pt>
                      <c:pt idx="7913">
                        <c:v>116.08</c:v>
                      </c:pt>
                      <c:pt idx="7914">
                        <c:v>128</c:v>
                      </c:pt>
                      <c:pt idx="7915">
                        <c:v>118</c:v>
                      </c:pt>
                      <c:pt idx="7916">
                        <c:v>94.73</c:v>
                      </c:pt>
                      <c:pt idx="7917">
                        <c:v>81.260000000000005</c:v>
                      </c:pt>
                      <c:pt idx="7918">
                        <c:v>86.26</c:v>
                      </c:pt>
                      <c:pt idx="7919">
                        <c:v>69.17</c:v>
                      </c:pt>
                      <c:pt idx="7920">
                        <c:v>89.53</c:v>
                      </c:pt>
                      <c:pt idx="7921">
                        <c:v>77.989999999999995</c:v>
                      </c:pt>
                      <c:pt idx="7922">
                        <c:v>77.66</c:v>
                      </c:pt>
                      <c:pt idx="7923">
                        <c:v>70.55</c:v>
                      </c:pt>
                      <c:pt idx="7924">
                        <c:v>72.72</c:v>
                      </c:pt>
                      <c:pt idx="7925">
                        <c:v>82.26</c:v>
                      </c:pt>
                      <c:pt idx="7926">
                        <c:v>101.45</c:v>
                      </c:pt>
                      <c:pt idx="7927">
                        <c:v>130.9</c:v>
                      </c:pt>
                      <c:pt idx="7928">
                        <c:v>137.84</c:v>
                      </c:pt>
                      <c:pt idx="7929">
                        <c:v>127.09</c:v>
                      </c:pt>
                      <c:pt idx="7930">
                        <c:v>112.09</c:v>
                      </c:pt>
                      <c:pt idx="7931">
                        <c:v>100</c:v>
                      </c:pt>
                      <c:pt idx="7932">
                        <c:v>90.9</c:v>
                      </c:pt>
                      <c:pt idx="7933">
                        <c:v>102.07</c:v>
                      </c:pt>
                      <c:pt idx="7934">
                        <c:v>116.1</c:v>
                      </c:pt>
                      <c:pt idx="7935">
                        <c:v>123.95</c:v>
                      </c:pt>
                      <c:pt idx="7936">
                        <c:v>143.1</c:v>
                      </c:pt>
                      <c:pt idx="7937">
                        <c:v>155.52000000000001</c:v>
                      </c:pt>
                      <c:pt idx="7938">
                        <c:v>160.91</c:v>
                      </c:pt>
                      <c:pt idx="7939">
                        <c:v>153.28</c:v>
                      </c:pt>
                      <c:pt idx="7940">
                        <c:v>126.38</c:v>
                      </c:pt>
                      <c:pt idx="7941">
                        <c:v>118.23</c:v>
                      </c:pt>
                      <c:pt idx="7942">
                        <c:v>122.13</c:v>
                      </c:pt>
                      <c:pt idx="7943">
                        <c:v>113.34</c:v>
                      </c:pt>
                      <c:pt idx="7944">
                        <c:v>104.74</c:v>
                      </c:pt>
                      <c:pt idx="7945">
                        <c:v>106.28</c:v>
                      </c:pt>
                      <c:pt idx="7946">
                        <c:v>110</c:v>
                      </c:pt>
                      <c:pt idx="7947">
                        <c:v>111.46</c:v>
                      </c:pt>
                      <c:pt idx="7948">
                        <c:v>114.66</c:v>
                      </c:pt>
                      <c:pt idx="7949">
                        <c:v>123.92</c:v>
                      </c:pt>
                      <c:pt idx="7950">
                        <c:v>140.5</c:v>
                      </c:pt>
                      <c:pt idx="7951">
                        <c:v>160</c:v>
                      </c:pt>
                      <c:pt idx="7952">
                        <c:v>184.84</c:v>
                      </c:pt>
                      <c:pt idx="7953">
                        <c:v>164.45</c:v>
                      </c:pt>
                      <c:pt idx="7954">
                        <c:v>153.1</c:v>
                      </c:pt>
                      <c:pt idx="7955">
                        <c:v>150</c:v>
                      </c:pt>
                      <c:pt idx="7956">
                        <c:v>145.66</c:v>
                      </c:pt>
                      <c:pt idx="7957">
                        <c:v>140.49</c:v>
                      </c:pt>
                      <c:pt idx="7958">
                        <c:v>130.09</c:v>
                      </c:pt>
                      <c:pt idx="7959">
                        <c:v>131.69999999999999</c:v>
                      </c:pt>
                      <c:pt idx="7960">
                        <c:v>117.56</c:v>
                      </c:pt>
                      <c:pt idx="7961">
                        <c:v>110.24</c:v>
                      </c:pt>
                      <c:pt idx="7962">
                        <c:v>112.29</c:v>
                      </c:pt>
                      <c:pt idx="7963">
                        <c:v>101.84</c:v>
                      </c:pt>
                      <c:pt idx="7964">
                        <c:v>78.14</c:v>
                      </c:pt>
                      <c:pt idx="7965">
                        <c:v>71.86</c:v>
                      </c:pt>
                      <c:pt idx="7966">
                        <c:v>67.05</c:v>
                      </c:pt>
                      <c:pt idx="7967">
                        <c:v>48.78</c:v>
                      </c:pt>
                      <c:pt idx="7968">
                        <c:v>49.21</c:v>
                      </c:pt>
                      <c:pt idx="7969">
                        <c:v>41.21</c:v>
                      </c:pt>
                      <c:pt idx="7970">
                        <c:v>32.950000000000003</c:v>
                      </c:pt>
                      <c:pt idx="7971">
                        <c:v>32.08</c:v>
                      </c:pt>
                      <c:pt idx="7972">
                        <c:v>31.69</c:v>
                      </c:pt>
                      <c:pt idx="7973">
                        <c:v>52.29</c:v>
                      </c:pt>
                      <c:pt idx="7974">
                        <c:v>64.98</c:v>
                      </c:pt>
                      <c:pt idx="7975">
                        <c:v>88.13</c:v>
                      </c:pt>
                      <c:pt idx="7976">
                        <c:v>107.41</c:v>
                      </c:pt>
                      <c:pt idx="7977">
                        <c:v>107.41</c:v>
                      </c:pt>
                      <c:pt idx="7978">
                        <c:v>92.1</c:v>
                      </c:pt>
                      <c:pt idx="7979">
                        <c:v>98.7</c:v>
                      </c:pt>
                      <c:pt idx="7980">
                        <c:v>96.16</c:v>
                      </c:pt>
                      <c:pt idx="7981">
                        <c:v>96.68</c:v>
                      </c:pt>
                      <c:pt idx="7982">
                        <c:v>97.86</c:v>
                      </c:pt>
                      <c:pt idx="7983">
                        <c:v>111.59</c:v>
                      </c:pt>
                      <c:pt idx="7984">
                        <c:v>132.62</c:v>
                      </c:pt>
                      <c:pt idx="7985">
                        <c:v>149.33000000000001</c:v>
                      </c:pt>
                      <c:pt idx="7986">
                        <c:v>158.22999999999999</c:v>
                      </c:pt>
                      <c:pt idx="7987">
                        <c:v>153.91</c:v>
                      </c:pt>
                      <c:pt idx="7988">
                        <c:v>143.97</c:v>
                      </c:pt>
                      <c:pt idx="7989">
                        <c:v>132.49</c:v>
                      </c:pt>
                      <c:pt idx="7990">
                        <c:v>122.16</c:v>
                      </c:pt>
                      <c:pt idx="7991">
                        <c:v>112.6</c:v>
                      </c:pt>
                      <c:pt idx="7992">
                        <c:v>110.3</c:v>
                      </c:pt>
                      <c:pt idx="7993">
                        <c:v>107.01</c:v>
                      </c:pt>
                      <c:pt idx="7994">
                        <c:v>103.47</c:v>
                      </c:pt>
                      <c:pt idx="7995">
                        <c:v>102.8</c:v>
                      </c:pt>
                      <c:pt idx="7996">
                        <c:v>105.3</c:v>
                      </c:pt>
                      <c:pt idx="7997">
                        <c:v>115.28</c:v>
                      </c:pt>
                      <c:pt idx="7998">
                        <c:v>145.1</c:v>
                      </c:pt>
                      <c:pt idx="7999">
                        <c:v>169.28</c:v>
                      </c:pt>
                      <c:pt idx="8000">
                        <c:v>181.35</c:v>
                      </c:pt>
                      <c:pt idx="8001">
                        <c:v>162.49</c:v>
                      </c:pt>
                      <c:pt idx="8002">
                        <c:v>143.01</c:v>
                      </c:pt>
                      <c:pt idx="8003">
                        <c:v>136.4</c:v>
                      </c:pt>
                      <c:pt idx="8004">
                        <c:v>126.59</c:v>
                      </c:pt>
                      <c:pt idx="8005">
                        <c:v>119.5</c:v>
                      </c:pt>
                      <c:pt idx="8006">
                        <c:v>129.58000000000001</c:v>
                      </c:pt>
                      <c:pt idx="8007">
                        <c:v>141.02000000000001</c:v>
                      </c:pt>
                      <c:pt idx="8008">
                        <c:v>152.01</c:v>
                      </c:pt>
                      <c:pt idx="8009">
                        <c:v>150.44</c:v>
                      </c:pt>
                      <c:pt idx="8010">
                        <c:v>142.03</c:v>
                      </c:pt>
                      <c:pt idx="8011">
                        <c:v>130.81</c:v>
                      </c:pt>
                      <c:pt idx="8012">
                        <c:v>119.9</c:v>
                      </c:pt>
                      <c:pt idx="8013">
                        <c:v>115.1</c:v>
                      </c:pt>
                      <c:pt idx="8014">
                        <c:v>113.73</c:v>
                      </c:pt>
                      <c:pt idx="8015">
                        <c:v>103.45</c:v>
                      </c:pt>
                      <c:pt idx="8016">
                        <c:v>98.83</c:v>
                      </c:pt>
                      <c:pt idx="8017">
                        <c:v>92</c:v>
                      </c:pt>
                      <c:pt idx="8018">
                        <c:v>89.69</c:v>
                      </c:pt>
                      <c:pt idx="8019">
                        <c:v>86.9</c:v>
                      </c:pt>
                      <c:pt idx="8020">
                        <c:v>88.18</c:v>
                      </c:pt>
                      <c:pt idx="8021">
                        <c:v>90.18</c:v>
                      </c:pt>
                      <c:pt idx="8022">
                        <c:v>88.9</c:v>
                      </c:pt>
                      <c:pt idx="8023">
                        <c:v>103.06</c:v>
                      </c:pt>
                      <c:pt idx="8024">
                        <c:v>107.39</c:v>
                      </c:pt>
                      <c:pt idx="8025">
                        <c:v>91.17</c:v>
                      </c:pt>
                      <c:pt idx="8026">
                        <c:v>85.2</c:v>
                      </c:pt>
                      <c:pt idx="8027">
                        <c:v>86.12</c:v>
                      </c:pt>
                      <c:pt idx="8028">
                        <c:v>87.7</c:v>
                      </c:pt>
                      <c:pt idx="8029">
                        <c:v>90.03</c:v>
                      </c:pt>
                      <c:pt idx="8030">
                        <c:v>93.35</c:v>
                      </c:pt>
                      <c:pt idx="8031">
                        <c:v>124.34</c:v>
                      </c:pt>
                      <c:pt idx="8032">
                        <c:v>132.88999999999999</c:v>
                      </c:pt>
                      <c:pt idx="8033">
                        <c:v>136.94</c:v>
                      </c:pt>
                      <c:pt idx="8034">
                        <c:v>135.9</c:v>
                      </c:pt>
                      <c:pt idx="8035">
                        <c:v>131.96</c:v>
                      </c:pt>
                      <c:pt idx="8036">
                        <c:v>124.51</c:v>
                      </c:pt>
                      <c:pt idx="8037">
                        <c:v>115.08</c:v>
                      </c:pt>
                      <c:pt idx="8038">
                        <c:v>114.78</c:v>
                      </c:pt>
                      <c:pt idx="8039">
                        <c:v>106.67</c:v>
                      </c:pt>
                      <c:pt idx="8040">
                        <c:v>99.66</c:v>
                      </c:pt>
                      <c:pt idx="8041">
                        <c:v>90.01</c:v>
                      </c:pt>
                      <c:pt idx="8042">
                        <c:v>88.14</c:v>
                      </c:pt>
                      <c:pt idx="8043">
                        <c:v>85.7</c:v>
                      </c:pt>
                      <c:pt idx="8044">
                        <c:v>84.8</c:v>
                      </c:pt>
                      <c:pt idx="8045">
                        <c:v>85.31</c:v>
                      </c:pt>
                      <c:pt idx="8046">
                        <c:v>84.43</c:v>
                      </c:pt>
                      <c:pt idx="8047">
                        <c:v>89.97</c:v>
                      </c:pt>
                      <c:pt idx="8048">
                        <c:v>99.64</c:v>
                      </c:pt>
                      <c:pt idx="8049">
                        <c:v>94.6</c:v>
                      </c:pt>
                      <c:pt idx="8050">
                        <c:v>89.3</c:v>
                      </c:pt>
                      <c:pt idx="8051">
                        <c:v>82.38</c:v>
                      </c:pt>
                      <c:pt idx="8052">
                        <c:v>85.25</c:v>
                      </c:pt>
                      <c:pt idx="8053">
                        <c:v>83.08</c:v>
                      </c:pt>
                      <c:pt idx="8054">
                        <c:v>90.61</c:v>
                      </c:pt>
                      <c:pt idx="8055">
                        <c:v>108.62</c:v>
                      </c:pt>
                      <c:pt idx="8056">
                        <c:v>121.53</c:v>
                      </c:pt>
                      <c:pt idx="8057">
                        <c:v>117.77</c:v>
                      </c:pt>
                      <c:pt idx="8058">
                        <c:v>121.51</c:v>
                      </c:pt>
                      <c:pt idx="8059">
                        <c:v>110.23</c:v>
                      </c:pt>
                      <c:pt idx="8060">
                        <c:v>91.35</c:v>
                      </c:pt>
                      <c:pt idx="8061">
                        <c:v>84.36</c:v>
                      </c:pt>
                      <c:pt idx="8062">
                        <c:v>96.98</c:v>
                      </c:pt>
                      <c:pt idx="8063">
                        <c:v>85</c:v>
                      </c:pt>
                      <c:pt idx="8064">
                        <c:v>74.77</c:v>
                      </c:pt>
                      <c:pt idx="8065">
                        <c:v>65.78</c:v>
                      </c:pt>
                      <c:pt idx="8066">
                        <c:v>61.17</c:v>
                      </c:pt>
                      <c:pt idx="8067">
                        <c:v>46.44</c:v>
                      </c:pt>
                      <c:pt idx="8068">
                        <c:v>50.21</c:v>
                      </c:pt>
                      <c:pt idx="8069">
                        <c:v>69.53</c:v>
                      </c:pt>
                      <c:pt idx="8070">
                        <c:v>92.08</c:v>
                      </c:pt>
                      <c:pt idx="8071">
                        <c:v>125.25</c:v>
                      </c:pt>
                      <c:pt idx="8072">
                        <c:v>125.2</c:v>
                      </c:pt>
                      <c:pt idx="8073">
                        <c:v>123.63</c:v>
                      </c:pt>
                      <c:pt idx="8074">
                        <c:v>121.27</c:v>
                      </c:pt>
                      <c:pt idx="8075">
                        <c:v>115.8</c:v>
                      </c:pt>
                      <c:pt idx="8076">
                        <c:v>115.09</c:v>
                      </c:pt>
                      <c:pt idx="8077">
                        <c:v>127.6</c:v>
                      </c:pt>
                      <c:pt idx="8078">
                        <c:v>136.74</c:v>
                      </c:pt>
                      <c:pt idx="8079">
                        <c:v>144.04</c:v>
                      </c:pt>
                      <c:pt idx="8080">
                        <c:v>144.75</c:v>
                      </c:pt>
                      <c:pt idx="8081">
                        <c:v>147.68</c:v>
                      </c:pt>
                      <c:pt idx="8082">
                        <c:v>147.9</c:v>
                      </c:pt>
                      <c:pt idx="8083">
                        <c:v>138</c:v>
                      </c:pt>
                      <c:pt idx="8084">
                        <c:v>120.01</c:v>
                      </c:pt>
                      <c:pt idx="8085">
                        <c:v>112.68</c:v>
                      </c:pt>
                      <c:pt idx="8086">
                        <c:v>111.72</c:v>
                      </c:pt>
                      <c:pt idx="8087">
                        <c:v>102.21</c:v>
                      </c:pt>
                      <c:pt idx="8088">
                        <c:v>110.73</c:v>
                      </c:pt>
                      <c:pt idx="8089">
                        <c:v>103.05</c:v>
                      </c:pt>
                      <c:pt idx="8090">
                        <c:v>96.28</c:v>
                      </c:pt>
                      <c:pt idx="8091">
                        <c:v>93.22</c:v>
                      </c:pt>
                      <c:pt idx="8092">
                        <c:v>100.48</c:v>
                      </c:pt>
                      <c:pt idx="8093">
                        <c:v>108.09</c:v>
                      </c:pt>
                      <c:pt idx="8094">
                        <c:v>121.76</c:v>
                      </c:pt>
                      <c:pt idx="8095">
                        <c:v>142.38999999999999</c:v>
                      </c:pt>
                      <c:pt idx="8096">
                        <c:v>154.62</c:v>
                      </c:pt>
                      <c:pt idx="8097">
                        <c:v>150.09</c:v>
                      </c:pt>
                      <c:pt idx="8098">
                        <c:v>141.37</c:v>
                      </c:pt>
                      <c:pt idx="8099">
                        <c:v>139.22999999999999</c:v>
                      </c:pt>
                      <c:pt idx="8100">
                        <c:v>135.62</c:v>
                      </c:pt>
                      <c:pt idx="8101">
                        <c:v>142.41</c:v>
                      </c:pt>
                      <c:pt idx="8102">
                        <c:v>150.02000000000001</c:v>
                      </c:pt>
                      <c:pt idx="8103">
                        <c:v>168.94</c:v>
                      </c:pt>
                      <c:pt idx="8104">
                        <c:v>205.18</c:v>
                      </c:pt>
                      <c:pt idx="8105">
                        <c:v>210</c:v>
                      </c:pt>
                      <c:pt idx="8106">
                        <c:v>197.88</c:v>
                      </c:pt>
                      <c:pt idx="8107">
                        <c:v>189.83</c:v>
                      </c:pt>
                      <c:pt idx="8108">
                        <c:v>170.04</c:v>
                      </c:pt>
                      <c:pt idx="8109">
                        <c:v>153.61000000000001</c:v>
                      </c:pt>
                      <c:pt idx="8110">
                        <c:v>142.08000000000001</c:v>
                      </c:pt>
                      <c:pt idx="8111">
                        <c:v>130.81</c:v>
                      </c:pt>
                      <c:pt idx="8112">
                        <c:v>120.99</c:v>
                      </c:pt>
                      <c:pt idx="8113">
                        <c:v>116.66</c:v>
                      </c:pt>
                      <c:pt idx="8114">
                        <c:v>112.79</c:v>
                      </c:pt>
                      <c:pt idx="8115">
                        <c:v>110.19</c:v>
                      </c:pt>
                      <c:pt idx="8116">
                        <c:v>112.26</c:v>
                      </c:pt>
                      <c:pt idx="8117">
                        <c:v>120.91</c:v>
                      </c:pt>
                      <c:pt idx="8118">
                        <c:v>145.19999999999999</c:v>
                      </c:pt>
                      <c:pt idx="8119">
                        <c:v>209.76</c:v>
                      </c:pt>
                      <c:pt idx="8120">
                        <c:v>276.66000000000003</c:v>
                      </c:pt>
                      <c:pt idx="8121">
                        <c:v>250.76</c:v>
                      </c:pt>
                      <c:pt idx="8122">
                        <c:v>212.21</c:v>
                      </c:pt>
                      <c:pt idx="8123">
                        <c:v>198.95</c:v>
                      </c:pt>
                      <c:pt idx="8124">
                        <c:v>192.25</c:v>
                      </c:pt>
                      <c:pt idx="8125">
                        <c:v>199.82</c:v>
                      </c:pt>
                      <c:pt idx="8126">
                        <c:v>218.44</c:v>
                      </c:pt>
                      <c:pt idx="8127">
                        <c:v>242.87</c:v>
                      </c:pt>
                      <c:pt idx="8128">
                        <c:v>267.35000000000002</c:v>
                      </c:pt>
                      <c:pt idx="8129">
                        <c:v>287.76</c:v>
                      </c:pt>
                      <c:pt idx="8130">
                        <c:v>230.22</c:v>
                      </c:pt>
                      <c:pt idx="8131">
                        <c:v>197.59</c:v>
                      </c:pt>
                      <c:pt idx="8132">
                        <c:v>165.68</c:v>
                      </c:pt>
                      <c:pt idx="8133">
                        <c:v>148.34</c:v>
                      </c:pt>
                      <c:pt idx="8134">
                        <c:v>128.33000000000001</c:v>
                      </c:pt>
                      <c:pt idx="8135">
                        <c:v>113.27</c:v>
                      </c:pt>
                      <c:pt idx="8136">
                        <c:v>114.77</c:v>
                      </c:pt>
                      <c:pt idx="8137">
                        <c:v>105.74</c:v>
                      </c:pt>
                      <c:pt idx="8138">
                        <c:v>103.27</c:v>
                      </c:pt>
                      <c:pt idx="8139">
                        <c:v>104.5</c:v>
                      </c:pt>
                      <c:pt idx="8140">
                        <c:v>103.27</c:v>
                      </c:pt>
                      <c:pt idx="8141">
                        <c:v>104.12</c:v>
                      </c:pt>
                      <c:pt idx="8142">
                        <c:v>135.88</c:v>
                      </c:pt>
                      <c:pt idx="8143">
                        <c:v>143.54</c:v>
                      </c:pt>
                      <c:pt idx="8144">
                        <c:v>141.29</c:v>
                      </c:pt>
                      <c:pt idx="8145">
                        <c:v>131.78</c:v>
                      </c:pt>
                      <c:pt idx="8146">
                        <c:v>124.92</c:v>
                      </c:pt>
                      <c:pt idx="8147">
                        <c:v>107.31</c:v>
                      </c:pt>
                      <c:pt idx="8148">
                        <c:v>102.67</c:v>
                      </c:pt>
                      <c:pt idx="8149">
                        <c:v>102.93</c:v>
                      </c:pt>
                      <c:pt idx="8150">
                        <c:v>102.89</c:v>
                      </c:pt>
                      <c:pt idx="8151">
                        <c:v>100.87</c:v>
                      </c:pt>
                      <c:pt idx="8152">
                        <c:v>101.5</c:v>
                      </c:pt>
                      <c:pt idx="8153">
                        <c:v>118.31</c:v>
                      </c:pt>
                      <c:pt idx="8154">
                        <c:v>112.16</c:v>
                      </c:pt>
                      <c:pt idx="8155">
                        <c:v>105.36</c:v>
                      </c:pt>
                      <c:pt idx="8156">
                        <c:v>87.13</c:v>
                      </c:pt>
                      <c:pt idx="8157">
                        <c:v>77.3</c:v>
                      </c:pt>
                      <c:pt idx="8158">
                        <c:v>74.17</c:v>
                      </c:pt>
                      <c:pt idx="8159">
                        <c:v>43.14</c:v>
                      </c:pt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2-3E99-4ADF-8426-44CB883A620C}"/>
                  </c:ext>
                </c:extLst>
              </c15:ser>
            </c15:filteredLineSeries>
            <c15:filteredLine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2024'!$C$1</c15:sqref>
                        </c15:formulaRef>
                      </c:ext>
                    </c:extLst>
                    <c:strCache>
                      <c:ptCount val="1"/>
                      <c:pt idx="0">
                        <c:v>Day Ahead Auktion (DE-AT-LU) 2017</c:v>
                      </c:pt>
                    </c:strCache>
                  </c:strRef>
                </c:tx>
                <c:spPr>
                  <a:ln w="952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dPt>
                  <c:idx val="476"/>
                  <c:marker>
                    <c:symbol val="none"/>
                  </c:marker>
                  <c:bubble3D val="0"/>
                  <c:extLst xmlns:c15="http://schemas.microsoft.com/office/drawing/2012/chart">
                    <c:ext xmlns:c16="http://schemas.microsoft.com/office/drawing/2014/chart" uri="{C3380CC4-5D6E-409C-BE32-E72D297353CC}">
                      <c16:uniqueId val="{00000003-3E99-4ADF-8426-44CB883A620C}"/>
                    </c:ext>
                  </c:extLst>
                </c:dP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2024'!$C$3:$C$8762</c15:sqref>
                        </c15:formulaRef>
                      </c:ext>
                    </c:extLst>
                    <c:numCache>
                      <c:formatCode>General</c:formatCode>
                      <c:ptCount val="8760"/>
                      <c:pt idx="0">
                        <c:v>20.96</c:v>
                      </c:pt>
                      <c:pt idx="1">
                        <c:v>20.9</c:v>
                      </c:pt>
                      <c:pt idx="2">
                        <c:v>18.13</c:v>
                      </c:pt>
                      <c:pt idx="3">
                        <c:v>16.03</c:v>
                      </c:pt>
                      <c:pt idx="4">
                        <c:v>16.43</c:v>
                      </c:pt>
                      <c:pt idx="5">
                        <c:v>13.75</c:v>
                      </c:pt>
                      <c:pt idx="6">
                        <c:v>11.1</c:v>
                      </c:pt>
                      <c:pt idx="7">
                        <c:v>15.47</c:v>
                      </c:pt>
                      <c:pt idx="8">
                        <c:v>16.88</c:v>
                      </c:pt>
                      <c:pt idx="9">
                        <c:v>21.81</c:v>
                      </c:pt>
                      <c:pt idx="10">
                        <c:v>26.24</c:v>
                      </c:pt>
                      <c:pt idx="11">
                        <c:v>26.42</c:v>
                      </c:pt>
                      <c:pt idx="12">
                        <c:v>27.66</c:v>
                      </c:pt>
                      <c:pt idx="13">
                        <c:v>28.7</c:v>
                      </c:pt>
                      <c:pt idx="14">
                        <c:v>29.66</c:v>
                      </c:pt>
                      <c:pt idx="15">
                        <c:v>35.33</c:v>
                      </c:pt>
                      <c:pt idx="16">
                        <c:v>44.12</c:v>
                      </c:pt>
                      <c:pt idx="17">
                        <c:v>51.59</c:v>
                      </c:pt>
                      <c:pt idx="18">
                        <c:v>53.95</c:v>
                      </c:pt>
                      <c:pt idx="19">
                        <c:v>50.97</c:v>
                      </c:pt>
                      <c:pt idx="20">
                        <c:v>44.93</c:v>
                      </c:pt>
                      <c:pt idx="21">
                        <c:v>38.83</c:v>
                      </c:pt>
                      <c:pt idx="22">
                        <c:v>42.17</c:v>
                      </c:pt>
                      <c:pt idx="23">
                        <c:v>33.06</c:v>
                      </c:pt>
                      <c:pt idx="24">
                        <c:v>30.54</c:v>
                      </c:pt>
                      <c:pt idx="25">
                        <c:v>28.91</c:v>
                      </c:pt>
                      <c:pt idx="26">
                        <c:v>28.11</c:v>
                      </c:pt>
                      <c:pt idx="27">
                        <c:v>27.89</c:v>
                      </c:pt>
                      <c:pt idx="28">
                        <c:v>27.73</c:v>
                      </c:pt>
                      <c:pt idx="29">
                        <c:v>31.18</c:v>
                      </c:pt>
                      <c:pt idx="30">
                        <c:v>37.99</c:v>
                      </c:pt>
                      <c:pt idx="31">
                        <c:v>50.98</c:v>
                      </c:pt>
                      <c:pt idx="32">
                        <c:v>53.88</c:v>
                      </c:pt>
                      <c:pt idx="33">
                        <c:v>53.94</c:v>
                      </c:pt>
                      <c:pt idx="34">
                        <c:v>53.54</c:v>
                      </c:pt>
                      <c:pt idx="35">
                        <c:v>54.91</c:v>
                      </c:pt>
                      <c:pt idx="36">
                        <c:v>54.08</c:v>
                      </c:pt>
                      <c:pt idx="37">
                        <c:v>55.67</c:v>
                      </c:pt>
                      <c:pt idx="38">
                        <c:v>55.98</c:v>
                      </c:pt>
                      <c:pt idx="39">
                        <c:v>56</c:v>
                      </c:pt>
                      <c:pt idx="40">
                        <c:v>57.77</c:v>
                      </c:pt>
                      <c:pt idx="41">
                        <c:v>67.66</c:v>
                      </c:pt>
                      <c:pt idx="42">
                        <c:v>55.1</c:v>
                      </c:pt>
                      <c:pt idx="43">
                        <c:v>53.92</c:v>
                      </c:pt>
                      <c:pt idx="44">
                        <c:v>49.07</c:v>
                      </c:pt>
                      <c:pt idx="45">
                        <c:v>40.25</c:v>
                      </c:pt>
                      <c:pt idx="46">
                        <c:v>45.92</c:v>
                      </c:pt>
                      <c:pt idx="47">
                        <c:v>38.880000000000003</c:v>
                      </c:pt>
                      <c:pt idx="48">
                        <c:v>36.020000000000003</c:v>
                      </c:pt>
                      <c:pt idx="49">
                        <c:v>34.979999999999997</c:v>
                      </c:pt>
                      <c:pt idx="50">
                        <c:v>33.64</c:v>
                      </c:pt>
                      <c:pt idx="51">
                        <c:v>33.89</c:v>
                      </c:pt>
                      <c:pt idx="52">
                        <c:v>33.5</c:v>
                      </c:pt>
                      <c:pt idx="53">
                        <c:v>33.909999999999997</c:v>
                      </c:pt>
                      <c:pt idx="54">
                        <c:v>48.13</c:v>
                      </c:pt>
                      <c:pt idx="55">
                        <c:v>54.61</c:v>
                      </c:pt>
                      <c:pt idx="56">
                        <c:v>57.93</c:v>
                      </c:pt>
                      <c:pt idx="57">
                        <c:v>57.18</c:v>
                      </c:pt>
                      <c:pt idx="58">
                        <c:v>52.27</c:v>
                      </c:pt>
                      <c:pt idx="59">
                        <c:v>49.94</c:v>
                      </c:pt>
                      <c:pt idx="60">
                        <c:v>46.3</c:v>
                      </c:pt>
                      <c:pt idx="61">
                        <c:v>41.51</c:v>
                      </c:pt>
                      <c:pt idx="62">
                        <c:v>37.08</c:v>
                      </c:pt>
                      <c:pt idx="63">
                        <c:v>37.03</c:v>
                      </c:pt>
                      <c:pt idx="64">
                        <c:v>39.08</c:v>
                      </c:pt>
                      <c:pt idx="65">
                        <c:v>42.14</c:v>
                      </c:pt>
                      <c:pt idx="66">
                        <c:v>36.67</c:v>
                      </c:pt>
                      <c:pt idx="67">
                        <c:v>36.03</c:v>
                      </c:pt>
                      <c:pt idx="68">
                        <c:v>33.549999999999997</c:v>
                      </c:pt>
                      <c:pt idx="69">
                        <c:v>24.56</c:v>
                      </c:pt>
                      <c:pt idx="70">
                        <c:v>17.77</c:v>
                      </c:pt>
                      <c:pt idx="71">
                        <c:v>9.49</c:v>
                      </c:pt>
                      <c:pt idx="72">
                        <c:v>8.5</c:v>
                      </c:pt>
                      <c:pt idx="73">
                        <c:v>-0.05</c:v>
                      </c:pt>
                      <c:pt idx="74">
                        <c:v>-6.27</c:v>
                      </c:pt>
                      <c:pt idx="75">
                        <c:v>-5.09</c:v>
                      </c:pt>
                      <c:pt idx="76">
                        <c:v>0.06</c:v>
                      </c:pt>
                      <c:pt idx="77">
                        <c:v>10.55</c:v>
                      </c:pt>
                      <c:pt idx="78">
                        <c:v>10.98</c:v>
                      </c:pt>
                      <c:pt idx="79">
                        <c:v>31.63</c:v>
                      </c:pt>
                      <c:pt idx="80">
                        <c:v>34.94</c:v>
                      </c:pt>
                      <c:pt idx="81">
                        <c:v>33.270000000000003</c:v>
                      </c:pt>
                      <c:pt idx="82">
                        <c:v>33.520000000000003</c:v>
                      </c:pt>
                      <c:pt idx="83">
                        <c:v>34.81</c:v>
                      </c:pt>
                      <c:pt idx="84">
                        <c:v>35.08</c:v>
                      </c:pt>
                      <c:pt idx="85">
                        <c:v>35.880000000000003</c:v>
                      </c:pt>
                      <c:pt idx="86">
                        <c:v>36.03</c:v>
                      </c:pt>
                      <c:pt idx="87">
                        <c:v>36.17</c:v>
                      </c:pt>
                      <c:pt idx="88">
                        <c:v>36.58</c:v>
                      </c:pt>
                      <c:pt idx="89">
                        <c:v>46.95</c:v>
                      </c:pt>
                      <c:pt idx="90">
                        <c:v>49.45</c:v>
                      </c:pt>
                      <c:pt idx="91">
                        <c:v>48.37</c:v>
                      </c:pt>
                      <c:pt idx="92">
                        <c:v>38.020000000000003</c:v>
                      </c:pt>
                      <c:pt idx="93">
                        <c:v>34.549999999999997</c:v>
                      </c:pt>
                      <c:pt idx="94">
                        <c:v>33.33</c:v>
                      </c:pt>
                      <c:pt idx="95">
                        <c:v>32.049999999999997</c:v>
                      </c:pt>
                      <c:pt idx="96">
                        <c:v>36.07</c:v>
                      </c:pt>
                      <c:pt idx="97">
                        <c:v>36.32</c:v>
                      </c:pt>
                      <c:pt idx="98">
                        <c:v>30.99</c:v>
                      </c:pt>
                      <c:pt idx="99">
                        <c:v>30.97</c:v>
                      </c:pt>
                      <c:pt idx="100">
                        <c:v>35.64</c:v>
                      </c:pt>
                      <c:pt idx="101">
                        <c:v>35.729999999999997</c:v>
                      </c:pt>
                      <c:pt idx="102">
                        <c:v>39.03</c:v>
                      </c:pt>
                      <c:pt idx="103">
                        <c:v>51.7</c:v>
                      </c:pt>
                      <c:pt idx="104">
                        <c:v>57.98</c:v>
                      </c:pt>
                      <c:pt idx="105">
                        <c:v>54.11</c:v>
                      </c:pt>
                      <c:pt idx="106">
                        <c:v>53.13</c:v>
                      </c:pt>
                      <c:pt idx="107">
                        <c:v>50.06</c:v>
                      </c:pt>
                      <c:pt idx="108">
                        <c:v>49.97</c:v>
                      </c:pt>
                      <c:pt idx="109">
                        <c:v>48.84</c:v>
                      </c:pt>
                      <c:pt idx="110">
                        <c:v>50.99</c:v>
                      </c:pt>
                      <c:pt idx="111">
                        <c:v>57.48</c:v>
                      </c:pt>
                      <c:pt idx="112">
                        <c:v>69.7</c:v>
                      </c:pt>
                      <c:pt idx="113">
                        <c:v>73.92</c:v>
                      </c:pt>
                      <c:pt idx="114">
                        <c:v>73.760000000000005</c:v>
                      </c:pt>
                      <c:pt idx="115">
                        <c:v>65.150000000000006</c:v>
                      </c:pt>
                      <c:pt idx="116">
                        <c:v>64.239999999999995</c:v>
                      </c:pt>
                      <c:pt idx="117">
                        <c:v>43.09</c:v>
                      </c:pt>
                      <c:pt idx="118">
                        <c:v>53.11</c:v>
                      </c:pt>
                      <c:pt idx="119">
                        <c:v>37.08</c:v>
                      </c:pt>
                      <c:pt idx="120">
                        <c:v>40.840000000000003</c:v>
                      </c:pt>
                      <c:pt idx="121">
                        <c:v>41.15</c:v>
                      </c:pt>
                      <c:pt idx="122">
                        <c:v>43.77</c:v>
                      </c:pt>
                      <c:pt idx="123">
                        <c:v>39.97</c:v>
                      </c:pt>
                      <c:pt idx="124">
                        <c:v>40.81</c:v>
                      </c:pt>
                      <c:pt idx="125">
                        <c:v>43.04</c:v>
                      </c:pt>
                      <c:pt idx="126">
                        <c:v>45.37</c:v>
                      </c:pt>
                      <c:pt idx="127">
                        <c:v>49.49</c:v>
                      </c:pt>
                      <c:pt idx="128">
                        <c:v>59.92</c:v>
                      </c:pt>
                      <c:pt idx="129">
                        <c:v>60</c:v>
                      </c:pt>
                      <c:pt idx="130">
                        <c:v>60.04</c:v>
                      </c:pt>
                      <c:pt idx="131">
                        <c:v>57.7</c:v>
                      </c:pt>
                      <c:pt idx="132">
                        <c:v>52.86</c:v>
                      </c:pt>
                      <c:pt idx="133">
                        <c:v>50.05</c:v>
                      </c:pt>
                      <c:pt idx="134">
                        <c:v>50.94</c:v>
                      </c:pt>
                      <c:pt idx="135">
                        <c:v>54.04</c:v>
                      </c:pt>
                      <c:pt idx="136">
                        <c:v>57.52</c:v>
                      </c:pt>
                      <c:pt idx="137">
                        <c:v>64.91</c:v>
                      </c:pt>
                      <c:pt idx="138">
                        <c:v>59.92</c:v>
                      </c:pt>
                      <c:pt idx="139">
                        <c:v>57.99</c:v>
                      </c:pt>
                      <c:pt idx="140">
                        <c:v>43.68</c:v>
                      </c:pt>
                      <c:pt idx="141">
                        <c:v>38.46</c:v>
                      </c:pt>
                      <c:pt idx="142">
                        <c:v>40.94</c:v>
                      </c:pt>
                      <c:pt idx="143">
                        <c:v>35.89</c:v>
                      </c:pt>
                      <c:pt idx="144">
                        <c:v>36.83</c:v>
                      </c:pt>
                      <c:pt idx="145">
                        <c:v>34.369999999999997</c:v>
                      </c:pt>
                      <c:pt idx="146">
                        <c:v>33.840000000000003</c:v>
                      </c:pt>
                      <c:pt idx="147">
                        <c:v>33.83</c:v>
                      </c:pt>
                      <c:pt idx="148">
                        <c:v>33.619999999999997</c:v>
                      </c:pt>
                      <c:pt idx="149">
                        <c:v>32.96</c:v>
                      </c:pt>
                      <c:pt idx="150">
                        <c:v>30.07</c:v>
                      </c:pt>
                      <c:pt idx="151">
                        <c:v>33.58</c:v>
                      </c:pt>
                      <c:pt idx="152">
                        <c:v>36.020000000000003</c:v>
                      </c:pt>
                      <c:pt idx="153">
                        <c:v>36.86</c:v>
                      </c:pt>
                      <c:pt idx="154">
                        <c:v>36.43</c:v>
                      </c:pt>
                      <c:pt idx="155">
                        <c:v>39.01</c:v>
                      </c:pt>
                      <c:pt idx="156">
                        <c:v>39.5</c:v>
                      </c:pt>
                      <c:pt idx="157">
                        <c:v>39.020000000000003</c:v>
                      </c:pt>
                      <c:pt idx="158">
                        <c:v>38.6</c:v>
                      </c:pt>
                      <c:pt idx="159">
                        <c:v>39.28</c:v>
                      </c:pt>
                      <c:pt idx="160">
                        <c:v>46.95</c:v>
                      </c:pt>
                      <c:pt idx="161">
                        <c:v>57.01</c:v>
                      </c:pt>
                      <c:pt idx="162">
                        <c:v>54.02</c:v>
                      </c:pt>
                      <c:pt idx="163">
                        <c:v>46.92</c:v>
                      </c:pt>
                      <c:pt idx="164">
                        <c:v>38.119999999999997</c:v>
                      </c:pt>
                      <c:pt idx="165">
                        <c:v>35.090000000000003</c:v>
                      </c:pt>
                      <c:pt idx="166">
                        <c:v>38.1</c:v>
                      </c:pt>
                      <c:pt idx="167">
                        <c:v>34.53</c:v>
                      </c:pt>
                      <c:pt idx="168">
                        <c:v>33.86</c:v>
                      </c:pt>
                      <c:pt idx="169">
                        <c:v>34.14</c:v>
                      </c:pt>
                      <c:pt idx="170">
                        <c:v>33.96</c:v>
                      </c:pt>
                      <c:pt idx="171">
                        <c:v>35.01</c:v>
                      </c:pt>
                      <c:pt idx="172">
                        <c:v>36.07</c:v>
                      </c:pt>
                      <c:pt idx="173">
                        <c:v>36.07</c:v>
                      </c:pt>
                      <c:pt idx="174">
                        <c:v>36.01</c:v>
                      </c:pt>
                      <c:pt idx="175">
                        <c:v>35.369999999999997</c:v>
                      </c:pt>
                      <c:pt idx="176">
                        <c:v>37.29</c:v>
                      </c:pt>
                      <c:pt idx="177">
                        <c:v>39.15</c:v>
                      </c:pt>
                      <c:pt idx="178">
                        <c:v>41.25</c:v>
                      </c:pt>
                      <c:pt idx="179">
                        <c:v>51.93</c:v>
                      </c:pt>
                      <c:pt idx="180">
                        <c:v>45.37</c:v>
                      </c:pt>
                      <c:pt idx="181">
                        <c:v>40.53</c:v>
                      </c:pt>
                      <c:pt idx="182">
                        <c:v>39.729999999999997</c:v>
                      </c:pt>
                      <c:pt idx="183">
                        <c:v>42.75</c:v>
                      </c:pt>
                      <c:pt idx="184">
                        <c:v>53.87</c:v>
                      </c:pt>
                      <c:pt idx="185">
                        <c:v>60.95</c:v>
                      </c:pt>
                      <c:pt idx="186">
                        <c:v>64.930000000000007</c:v>
                      </c:pt>
                      <c:pt idx="187">
                        <c:v>58.91</c:v>
                      </c:pt>
                      <c:pt idx="188">
                        <c:v>50.03</c:v>
                      </c:pt>
                      <c:pt idx="189">
                        <c:v>39.06</c:v>
                      </c:pt>
                      <c:pt idx="190">
                        <c:v>40.06</c:v>
                      </c:pt>
                      <c:pt idx="191">
                        <c:v>37.090000000000003</c:v>
                      </c:pt>
                      <c:pt idx="192">
                        <c:v>40</c:v>
                      </c:pt>
                      <c:pt idx="193">
                        <c:v>39.049999999999997</c:v>
                      </c:pt>
                      <c:pt idx="194">
                        <c:v>39.21</c:v>
                      </c:pt>
                      <c:pt idx="195">
                        <c:v>39.24</c:v>
                      </c:pt>
                      <c:pt idx="196">
                        <c:v>40.26</c:v>
                      </c:pt>
                      <c:pt idx="197">
                        <c:v>43.84</c:v>
                      </c:pt>
                      <c:pt idx="198">
                        <c:v>58.99</c:v>
                      </c:pt>
                      <c:pt idx="199">
                        <c:v>74.040000000000006</c:v>
                      </c:pt>
                      <c:pt idx="200">
                        <c:v>75.489999999999995</c:v>
                      </c:pt>
                      <c:pt idx="201">
                        <c:v>74.63</c:v>
                      </c:pt>
                      <c:pt idx="202">
                        <c:v>73.97</c:v>
                      </c:pt>
                      <c:pt idx="203">
                        <c:v>72</c:v>
                      </c:pt>
                      <c:pt idx="204">
                        <c:v>72.12</c:v>
                      </c:pt>
                      <c:pt idx="205">
                        <c:v>70.09</c:v>
                      </c:pt>
                      <c:pt idx="206">
                        <c:v>67.41</c:v>
                      </c:pt>
                      <c:pt idx="207">
                        <c:v>65.209999999999994</c:v>
                      </c:pt>
                      <c:pt idx="208">
                        <c:v>65.09</c:v>
                      </c:pt>
                      <c:pt idx="209">
                        <c:v>74.72</c:v>
                      </c:pt>
                      <c:pt idx="210">
                        <c:v>59.94</c:v>
                      </c:pt>
                      <c:pt idx="211">
                        <c:v>52.2</c:v>
                      </c:pt>
                      <c:pt idx="212">
                        <c:v>39.1</c:v>
                      </c:pt>
                      <c:pt idx="213">
                        <c:v>36.619999999999997</c:v>
                      </c:pt>
                      <c:pt idx="214">
                        <c:v>36.08</c:v>
                      </c:pt>
                      <c:pt idx="215">
                        <c:v>32.76</c:v>
                      </c:pt>
                      <c:pt idx="216">
                        <c:v>32.450000000000003</c:v>
                      </c:pt>
                      <c:pt idx="217">
                        <c:v>31.52</c:v>
                      </c:pt>
                      <c:pt idx="218">
                        <c:v>29.08</c:v>
                      </c:pt>
                      <c:pt idx="219">
                        <c:v>28.92</c:v>
                      </c:pt>
                      <c:pt idx="220">
                        <c:v>31.49</c:v>
                      </c:pt>
                      <c:pt idx="221">
                        <c:v>33.06</c:v>
                      </c:pt>
                      <c:pt idx="222">
                        <c:v>36.26</c:v>
                      </c:pt>
                      <c:pt idx="223">
                        <c:v>46</c:v>
                      </c:pt>
                      <c:pt idx="224">
                        <c:v>59.89</c:v>
                      </c:pt>
                      <c:pt idx="225">
                        <c:v>59.96</c:v>
                      </c:pt>
                      <c:pt idx="226">
                        <c:v>62.69</c:v>
                      </c:pt>
                      <c:pt idx="227">
                        <c:v>66.819999999999993</c:v>
                      </c:pt>
                      <c:pt idx="228">
                        <c:v>71.42</c:v>
                      </c:pt>
                      <c:pt idx="229">
                        <c:v>72.33</c:v>
                      </c:pt>
                      <c:pt idx="230">
                        <c:v>69.5</c:v>
                      </c:pt>
                      <c:pt idx="231">
                        <c:v>70.64</c:v>
                      </c:pt>
                      <c:pt idx="232">
                        <c:v>66.959999999999994</c:v>
                      </c:pt>
                      <c:pt idx="233">
                        <c:v>88.38</c:v>
                      </c:pt>
                      <c:pt idx="234">
                        <c:v>98.93</c:v>
                      </c:pt>
                      <c:pt idx="235">
                        <c:v>69.650000000000006</c:v>
                      </c:pt>
                      <c:pt idx="236">
                        <c:v>58.82</c:v>
                      </c:pt>
                      <c:pt idx="237">
                        <c:v>47.63</c:v>
                      </c:pt>
                      <c:pt idx="238">
                        <c:v>40.08</c:v>
                      </c:pt>
                      <c:pt idx="239">
                        <c:v>38.06</c:v>
                      </c:pt>
                      <c:pt idx="240">
                        <c:v>38.99</c:v>
                      </c:pt>
                      <c:pt idx="241">
                        <c:v>37.200000000000003</c:v>
                      </c:pt>
                      <c:pt idx="242">
                        <c:v>34.03</c:v>
                      </c:pt>
                      <c:pt idx="243">
                        <c:v>34.78</c:v>
                      </c:pt>
                      <c:pt idx="244">
                        <c:v>32.700000000000003</c:v>
                      </c:pt>
                      <c:pt idx="245">
                        <c:v>31.21</c:v>
                      </c:pt>
                      <c:pt idx="246">
                        <c:v>37.200000000000003</c:v>
                      </c:pt>
                      <c:pt idx="247">
                        <c:v>49.97</c:v>
                      </c:pt>
                      <c:pt idx="248">
                        <c:v>46.98</c:v>
                      </c:pt>
                      <c:pt idx="249">
                        <c:v>44.7</c:v>
                      </c:pt>
                      <c:pt idx="250">
                        <c:v>44.41</c:v>
                      </c:pt>
                      <c:pt idx="251">
                        <c:v>41.06</c:v>
                      </c:pt>
                      <c:pt idx="252">
                        <c:v>36.94</c:v>
                      </c:pt>
                      <c:pt idx="253">
                        <c:v>34.090000000000003</c:v>
                      </c:pt>
                      <c:pt idx="254">
                        <c:v>33.68</c:v>
                      </c:pt>
                      <c:pt idx="255">
                        <c:v>33.64</c:v>
                      </c:pt>
                      <c:pt idx="256">
                        <c:v>33.659999999999997</c:v>
                      </c:pt>
                      <c:pt idx="257">
                        <c:v>38.53</c:v>
                      </c:pt>
                      <c:pt idx="258">
                        <c:v>37.4</c:v>
                      </c:pt>
                      <c:pt idx="259">
                        <c:v>37.07</c:v>
                      </c:pt>
                      <c:pt idx="260">
                        <c:v>34</c:v>
                      </c:pt>
                      <c:pt idx="261">
                        <c:v>31.83</c:v>
                      </c:pt>
                      <c:pt idx="262">
                        <c:v>26.27</c:v>
                      </c:pt>
                      <c:pt idx="263">
                        <c:v>11.68</c:v>
                      </c:pt>
                      <c:pt idx="264">
                        <c:v>12.12</c:v>
                      </c:pt>
                      <c:pt idx="265">
                        <c:v>9.83</c:v>
                      </c:pt>
                      <c:pt idx="266">
                        <c:v>9.02</c:v>
                      </c:pt>
                      <c:pt idx="267">
                        <c:v>9.27</c:v>
                      </c:pt>
                      <c:pt idx="268">
                        <c:v>9.84</c:v>
                      </c:pt>
                      <c:pt idx="269">
                        <c:v>10.55</c:v>
                      </c:pt>
                      <c:pt idx="270">
                        <c:v>28.29</c:v>
                      </c:pt>
                      <c:pt idx="271">
                        <c:v>40.020000000000003</c:v>
                      </c:pt>
                      <c:pt idx="272">
                        <c:v>40.07</c:v>
                      </c:pt>
                      <c:pt idx="273">
                        <c:v>38.200000000000003</c:v>
                      </c:pt>
                      <c:pt idx="274">
                        <c:v>38.61</c:v>
                      </c:pt>
                      <c:pt idx="275">
                        <c:v>38.43</c:v>
                      </c:pt>
                      <c:pt idx="276">
                        <c:v>36.700000000000003</c:v>
                      </c:pt>
                      <c:pt idx="277">
                        <c:v>39.61</c:v>
                      </c:pt>
                      <c:pt idx="278">
                        <c:v>40.049999999999997</c:v>
                      </c:pt>
                      <c:pt idx="279">
                        <c:v>45.32</c:v>
                      </c:pt>
                      <c:pt idx="280">
                        <c:v>46.98</c:v>
                      </c:pt>
                      <c:pt idx="281">
                        <c:v>57.09</c:v>
                      </c:pt>
                      <c:pt idx="282">
                        <c:v>57.13</c:v>
                      </c:pt>
                      <c:pt idx="283">
                        <c:v>57.05</c:v>
                      </c:pt>
                      <c:pt idx="284">
                        <c:v>45.01</c:v>
                      </c:pt>
                      <c:pt idx="285">
                        <c:v>40.090000000000003</c:v>
                      </c:pt>
                      <c:pt idx="286">
                        <c:v>37.89</c:v>
                      </c:pt>
                      <c:pt idx="287">
                        <c:v>33.07</c:v>
                      </c:pt>
                      <c:pt idx="288">
                        <c:v>35.19</c:v>
                      </c:pt>
                      <c:pt idx="289">
                        <c:v>33.44</c:v>
                      </c:pt>
                      <c:pt idx="290">
                        <c:v>32.44</c:v>
                      </c:pt>
                      <c:pt idx="291">
                        <c:v>29.8</c:v>
                      </c:pt>
                      <c:pt idx="292">
                        <c:v>29.25</c:v>
                      </c:pt>
                      <c:pt idx="293">
                        <c:v>30.64</c:v>
                      </c:pt>
                      <c:pt idx="294">
                        <c:v>37.270000000000003</c:v>
                      </c:pt>
                      <c:pt idx="295">
                        <c:v>46.98</c:v>
                      </c:pt>
                      <c:pt idx="296">
                        <c:v>45.5</c:v>
                      </c:pt>
                      <c:pt idx="297">
                        <c:v>45.48</c:v>
                      </c:pt>
                      <c:pt idx="298">
                        <c:v>46.96</c:v>
                      </c:pt>
                      <c:pt idx="299">
                        <c:v>46.7</c:v>
                      </c:pt>
                      <c:pt idx="300">
                        <c:v>43.07</c:v>
                      </c:pt>
                      <c:pt idx="301">
                        <c:v>42.06</c:v>
                      </c:pt>
                      <c:pt idx="302">
                        <c:v>41.98</c:v>
                      </c:pt>
                      <c:pt idx="303">
                        <c:v>43.03</c:v>
                      </c:pt>
                      <c:pt idx="304">
                        <c:v>44.87</c:v>
                      </c:pt>
                      <c:pt idx="305">
                        <c:v>48.72</c:v>
                      </c:pt>
                      <c:pt idx="306">
                        <c:v>45.17</c:v>
                      </c:pt>
                      <c:pt idx="307">
                        <c:v>44.94</c:v>
                      </c:pt>
                      <c:pt idx="308">
                        <c:v>39.94</c:v>
                      </c:pt>
                      <c:pt idx="309">
                        <c:v>36.700000000000003</c:v>
                      </c:pt>
                      <c:pt idx="310">
                        <c:v>33.99</c:v>
                      </c:pt>
                      <c:pt idx="311">
                        <c:v>30.99</c:v>
                      </c:pt>
                      <c:pt idx="312">
                        <c:v>29.82</c:v>
                      </c:pt>
                      <c:pt idx="313">
                        <c:v>28.98</c:v>
                      </c:pt>
                      <c:pt idx="314">
                        <c:v>28.64</c:v>
                      </c:pt>
                      <c:pt idx="315">
                        <c:v>28.5</c:v>
                      </c:pt>
                      <c:pt idx="316">
                        <c:v>28.61</c:v>
                      </c:pt>
                      <c:pt idx="317">
                        <c:v>28.05</c:v>
                      </c:pt>
                      <c:pt idx="318">
                        <c:v>29.49</c:v>
                      </c:pt>
                      <c:pt idx="319">
                        <c:v>28.97</c:v>
                      </c:pt>
                      <c:pt idx="320">
                        <c:v>33.19</c:v>
                      </c:pt>
                      <c:pt idx="321">
                        <c:v>36.78</c:v>
                      </c:pt>
                      <c:pt idx="322">
                        <c:v>39.81</c:v>
                      </c:pt>
                      <c:pt idx="323">
                        <c:v>40.049999999999997</c:v>
                      </c:pt>
                      <c:pt idx="324">
                        <c:v>36.47</c:v>
                      </c:pt>
                      <c:pt idx="325">
                        <c:v>34.76</c:v>
                      </c:pt>
                      <c:pt idx="326">
                        <c:v>33.369999999999997</c:v>
                      </c:pt>
                      <c:pt idx="327">
                        <c:v>34.29</c:v>
                      </c:pt>
                      <c:pt idx="328">
                        <c:v>38.54</c:v>
                      </c:pt>
                      <c:pt idx="329">
                        <c:v>41.97</c:v>
                      </c:pt>
                      <c:pt idx="330">
                        <c:v>39.64</c:v>
                      </c:pt>
                      <c:pt idx="331">
                        <c:v>37.01</c:v>
                      </c:pt>
                      <c:pt idx="332">
                        <c:v>32.520000000000003</c:v>
                      </c:pt>
                      <c:pt idx="333">
                        <c:v>30.66</c:v>
                      </c:pt>
                      <c:pt idx="334">
                        <c:v>30.25</c:v>
                      </c:pt>
                      <c:pt idx="335">
                        <c:v>29.55</c:v>
                      </c:pt>
                      <c:pt idx="336">
                        <c:v>28.75</c:v>
                      </c:pt>
                      <c:pt idx="337">
                        <c:v>28.11</c:v>
                      </c:pt>
                      <c:pt idx="338">
                        <c:v>26.03</c:v>
                      </c:pt>
                      <c:pt idx="339">
                        <c:v>19.96</c:v>
                      </c:pt>
                      <c:pt idx="340">
                        <c:v>22.93</c:v>
                      </c:pt>
                      <c:pt idx="341">
                        <c:v>22.8</c:v>
                      </c:pt>
                      <c:pt idx="342">
                        <c:v>14.91</c:v>
                      </c:pt>
                      <c:pt idx="343">
                        <c:v>20.37</c:v>
                      </c:pt>
                      <c:pt idx="344">
                        <c:v>33.28</c:v>
                      </c:pt>
                      <c:pt idx="345">
                        <c:v>33.96</c:v>
                      </c:pt>
                      <c:pt idx="346">
                        <c:v>35.979999999999997</c:v>
                      </c:pt>
                      <c:pt idx="347">
                        <c:v>44.65</c:v>
                      </c:pt>
                      <c:pt idx="348">
                        <c:v>41.68</c:v>
                      </c:pt>
                      <c:pt idx="349">
                        <c:v>36.659999999999997</c:v>
                      </c:pt>
                      <c:pt idx="350">
                        <c:v>35.72</c:v>
                      </c:pt>
                      <c:pt idx="351">
                        <c:v>36.35</c:v>
                      </c:pt>
                      <c:pt idx="352">
                        <c:v>38.71</c:v>
                      </c:pt>
                      <c:pt idx="353">
                        <c:v>54.35</c:v>
                      </c:pt>
                      <c:pt idx="354">
                        <c:v>58.02</c:v>
                      </c:pt>
                      <c:pt idx="355">
                        <c:v>55.12</c:v>
                      </c:pt>
                      <c:pt idx="356">
                        <c:v>47.91</c:v>
                      </c:pt>
                      <c:pt idx="357">
                        <c:v>36.92</c:v>
                      </c:pt>
                      <c:pt idx="358">
                        <c:v>43</c:v>
                      </c:pt>
                      <c:pt idx="359">
                        <c:v>38.64</c:v>
                      </c:pt>
                      <c:pt idx="360">
                        <c:v>45.07</c:v>
                      </c:pt>
                      <c:pt idx="361">
                        <c:v>43.25</c:v>
                      </c:pt>
                      <c:pt idx="362">
                        <c:v>39.08</c:v>
                      </c:pt>
                      <c:pt idx="363">
                        <c:v>37.57</c:v>
                      </c:pt>
                      <c:pt idx="364">
                        <c:v>38.24</c:v>
                      </c:pt>
                      <c:pt idx="365">
                        <c:v>39.06</c:v>
                      </c:pt>
                      <c:pt idx="366">
                        <c:v>64.8</c:v>
                      </c:pt>
                      <c:pt idx="367">
                        <c:v>94.43</c:v>
                      </c:pt>
                      <c:pt idx="368">
                        <c:v>99.76</c:v>
                      </c:pt>
                      <c:pt idx="369">
                        <c:v>100.88</c:v>
                      </c:pt>
                      <c:pt idx="370">
                        <c:v>99.97</c:v>
                      </c:pt>
                      <c:pt idx="371">
                        <c:v>99.56</c:v>
                      </c:pt>
                      <c:pt idx="372">
                        <c:v>98.56</c:v>
                      </c:pt>
                      <c:pt idx="373">
                        <c:v>98.92</c:v>
                      </c:pt>
                      <c:pt idx="374">
                        <c:v>100.26</c:v>
                      </c:pt>
                      <c:pt idx="375">
                        <c:v>103.84</c:v>
                      </c:pt>
                      <c:pt idx="376">
                        <c:v>102.06</c:v>
                      </c:pt>
                      <c:pt idx="377">
                        <c:v>120</c:v>
                      </c:pt>
                      <c:pt idx="378">
                        <c:v>124.83</c:v>
                      </c:pt>
                      <c:pt idx="379">
                        <c:v>113.69</c:v>
                      </c:pt>
                      <c:pt idx="380">
                        <c:v>88.98</c:v>
                      </c:pt>
                      <c:pt idx="381">
                        <c:v>73.59</c:v>
                      </c:pt>
                      <c:pt idx="382">
                        <c:v>55.19</c:v>
                      </c:pt>
                      <c:pt idx="383">
                        <c:v>45.06</c:v>
                      </c:pt>
                      <c:pt idx="384">
                        <c:v>45.83</c:v>
                      </c:pt>
                      <c:pt idx="385">
                        <c:v>41.64</c:v>
                      </c:pt>
                      <c:pt idx="386">
                        <c:v>34.61</c:v>
                      </c:pt>
                      <c:pt idx="387">
                        <c:v>36.28</c:v>
                      </c:pt>
                      <c:pt idx="388">
                        <c:v>35.25</c:v>
                      </c:pt>
                      <c:pt idx="389">
                        <c:v>39.94</c:v>
                      </c:pt>
                      <c:pt idx="390">
                        <c:v>58.29</c:v>
                      </c:pt>
                      <c:pt idx="391">
                        <c:v>111.04</c:v>
                      </c:pt>
                      <c:pt idx="392">
                        <c:v>121.67</c:v>
                      </c:pt>
                      <c:pt idx="393">
                        <c:v>125.61</c:v>
                      </c:pt>
                      <c:pt idx="394">
                        <c:v>121.49</c:v>
                      </c:pt>
                      <c:pt idx="395">
                        <c:v>117.34</c:v>
                      </c:pt>
                      <c:pt idx="396">
                        <c:v>106.15</c:v>
                      </c:pt>
                      <c:pt idx="397">
                        <c:v>101.91</c:v>
                      </c:pt>
                      <c:pt idx="398">
                        <c:v>100.03</c:v>
                      </c:pt>
                      <c:pt idx="399">
                        <c:v>103.42</c:v>
                      </c:pt>
                      <c:pt idx="400">
                        <c:v>110.91</c:v>
                      </c:pt>
                      <c:pt idx="401">
                        <c:v>142.78</c:v>
                      </c:pt>
                      <c:pt idx="402">
                        <c:v>143.09</c:v>
                      </c:pt>
                      <c:pt idx="403">
                        <c:v>124.94</c:v>
                      </c:pt>
                      <c:pt idx="404">
                        <c:v>84.97</c:v>
                      </c:pt>
                      <c:pt idx="405">
                        <c:v>55.08</c:v>
                      </c:pt>
                      <c:pt idx="406">
                        <c:v>48.95</c:v>
                      </c:pt>
                      <c:pt idx="407">
                        <c:v>37.74</c:v>
                      </c:pt>
                      <c:pt idx="408">
                        <c:v>38.28</c:v>
                      </c:pt>
                      <c:pt idx="409">
                        <c:v>37.74</c:v>
                      </c:pt>
                      <c:pt idx="410">
                        <c:v>35.090000000000003</c:v>
                      </c:pt>
                      <c:pt idx="411">
                        <c:v>35.07</c:v>
                      </c:pt>
                      <c:pt idx="412">
                        <c:v>35.07</c:v>
                      </c:pt>
                      <c:pt idx="413">
                        <c:v>36.619999999999997</c:v>
                      </c:pt>
                      <c:pt idx="414">
                        <c:v>55.08</c:v>
                      </c:pt>
                      <c:pt idx="415">
                        <c:v>89.64</c:v>
                      </c:pt>
                      <c:pt idx="416">
                        <c:v>91.75</c:v>
                      </c:pt>
                      <c:pt idx="417">
                        <c:v>84.92</c:v>
                      </c:pt>
                      <c:pt idx="418">
                        <c:v>82.93</c:v>
                      </c:pt>
                      <c:pt idx="419">
                        <c:v>85.97</c:v>
                      </c:pt>
                      <c:pt idx="420">
                        <c:v>86.03</c:v>
                      </c:pt>
                      <c:pt idx="421">
                        <c:v>91.02</c:v>
                      </c:pt>
                      <c:pt idx="422">
                        <c:v>89.92</c:v>
                      </c:pt>
                      <c:pt idx="423">
                        <c:v>86.7</c:v>
                      </c:pt>
                      <c:pt idx="424">
                        <c:v>92.45</c:v>
                      </c:pt>
                      <c:pt idx="425">
                        <c:v>115.7</c:v>
                      </c:pt>
                      <c:pt idx="426">
                        <c:v>91.25</c:v>
                      </c:pt>
                      <c:pt idx="427">
                        <c:v>83.91</c:v>
                      </c:pt>
                      <c:pt idx="428">
                        <c:v>79.73</c:v>
                      </c:pt>
                      <c:pt idx="429">
                        <c:v>55.03</c:v>
                      </c:pt>
                      <c:pt idx="430">
                        <c:v>48.86</c:v>
                      </c:pt>
                      <c:pt idx="431">
                        <c:v>44.9</c:v>
                      </c:pt>
                      <c:pt idx="432">
                        <c:v>38.53</c:v>
                      </c:pt>
                      <c:pt idx="433">
                        <c:v>37.880000000000003</c:v>
                      </c:pt>
                      <c:pt idx="434">
                        <c:v>36.61</c:v>
                      </c:pt>
                      <c:pt idx="435">
                        <c:v>36.32</c:v>
                      </c:pt>
                      <c:pt idx="436">
                        <c:v>36.450000000000003</c:v>
                      </c:pt>
                      <c:pt idx="437">
                        <c:v>38.67</c:v>
                      </c:pt>
                      <c:pt idx="438">
                        <c:v>50.04</c:v>
                      </c:pt>
                      <c:pt idx="439">
                        <c:v>82.9</c:v>
                      </c:pt>
                      <c:pt idx="440">
                        <c:v>89.95</c:v>
                      </c:pt>
                      <c:pt idx="441">
                        <c:v>82.14</c:v>
                      </c:pt>
                      <c:pt idx="442">
                        <c:v>80</c:v>
                      </c:pt>
                      <c:pt idx="443">
                        <c:v>79.92</c:v>
                      </c:pt>
                      <c:pt idx="444">
                        <c:v>79.97</c:v>
                      </c:pt>
                      <c:pt idx="445">
                        <c:v>79.92</c:v>
                      </c:pt>
                      <c:pt idx="446">
                        <c:v>73.95</c:v>
                      </c:pt>
                      <c:pt idx="447">
                        <c:v>73.91</c:v>
                      </c:pt>
                      <c:pt idx="448">
                        <c:v>74.62</c:v>
                      </c:pt>
                      <c:pt idx="449">
                        <c:v>100.1</c:v>
                      </c:pt>
                      <c:pt idx="450">
                        <c:v>114.92</c:v>
                      </c:pt>
                      <c:pt idx="451">
                        <c:v>90.75</c:v>
                      </c:pt>
                      <c:pt idx="452">
                        <c:v>74.989999999999995</c:v>
                      </c:pt>
                      <c:pt idx="453">
                        <c:v>56.17</c:v>
                      </c:pt>
                      <c:pt idx="454">
                        <c:v>50.05</c:v>
                      </c:pt>
                      <c:pt idx="455">
                        <c:v>45.83</c:v>
                      </c:pt>
                      <c:pt idx="456">
                        <c:v>45.09</c:v>
                      </c:pt>
                      <c:pt idx="457">
                        <c:v>39.51</c:v>
                      </c:pt>
                      <c:pt idx="458">
                        <c:v>38.03</c:v>
                      </c:pt>
                      <c:pt idx="459">
                        <c:v>36.85</c:v>
                      </c:pt>
                      <c:pt idx="460">
                        <c:v>38.06</c:v>
                      </c:pt>
                      <c:pt idx="461">
                        <c:v>38.729999999999997</c:v>
                      </c:pt>
                      <c:pt idx="462">
                        <c:v>55.63</c:v>
                      </c:pt>
                      <c:pt idx="463">
                        <c:v>69.989999999999995</c:v>
                      </c:pt>
                      <c:pt idx="464">
                        <c:v>87.42</c:v>
                      </c:pt>
                      <c:pt idx="465">
                        <c:v>87.61</c:v>
                      </c:pt>
                      <c:pt idx="466">
                        <c:v>79.86</c:v>
                      </c:pt>
                      <c:pt idx="467">
                        <c:v>77.84</c:v>
                      </c:pt>
                      <c:pt idx="468">
                        <c:v>70.44</c:v>
                      </c:pt>
                      <c:pt idx="469">
                        <c:v>72.8</c:v>
                      </c:pt>
                      <c:pt idx="470">
                        <c:v>65.930000000000007</c:v>
                      </c:pt>
                      <c:pt idx="471">
                        <c:v>72.930000000000007</c:v>
                      </c:pt>
                      <c:pt idx="472">
                        <c:v>77.34</c:v>
                      </c:pt>
                      <c:pt idx="473">
                        <c:v>90.07</c:v>
                      </c:pt>
                      <c:pt idx="474">
                        <c:v>87.95</c:v>
                      </c:pt>
                      <c:pt idx="475">
                        <c:v>76.94</c:v>
                      </c:pt>
                      <c:pt idx="476">
                        <c:v>62.98</c:v>
                      </c:pt>
                      <c:pt idx="477">
                        <c:v>47.1</c:v>
                      </c:pt>
                      <c:pt idx="478">
                        <c:v>45.02</c:v>
                      </c:pt>
                      <c:pt idx="479">
                        <c:v>45.09</c:v>
                      </c:pt>
                      <c:pt idx="480">
                        <c:v>45.9</c:v>
                      </c:pt>
                      <c:pt idx="481">
                        <c:v>39.340000000000003</c:v>
                      </c:pt>
                      <c:pt idx="482">
                        <c:v>40.99</c:v>
                      </c:pt>
                      <c:pt idx="483">
                        <c:v>44.04</c:v>
                      </c:pt>
                      <c:pt idx="484">
                        <c:v>43.07</c:v>
                      </c:pt>
                      <c:pt idx="485">
                        <c:v>41.56</c:v>
                      </c:pt>
                      <c:pt idx="486">
                        <c:v>40.619999999999997</c:v>
                      </c:pt>
                      <c:pt idx="487">
                        <c:v>43.93</c:v>
                      </c:pt>
                      <c:pt idx="488">
                        <c:v>50.99</c:v>
                      </c:pt>
                      <c:pt idx="489">
                        <c:v>54.98</c:v>
                      </c:pt>
                      <c:pt idx="490">
                        <c:v>53.05</c:v>
                      </c:pt>
                      <c:pt idx="491">
                        <c:v>48.34</c:v>
                      </c:pt>
                      <c:pt idx="492">
                        <c:v>45.89</c:v>
                      </c:pt>
                      <c:pt idx="493">
                        <c:v>43.3</c:v>
                      </c:pt>
                      <c:pt idx="494">
                        <c:v>44</c:v>
                      </c:pt>
                      <c:pt idx="495">
                        <c:v>47.56</c:v>
                      </c:pt>
                      <c:pt idx="496">
                        <c:v>61.94</c:v>
                      </c:pt>
                      <c:pt idx="497">
                        <c:v>65.91</c:v>
                      </c:pt>
                      <c:pt idx="498">
                        <c:v>65.010000000000005</c:v>
                      </c:pt>
                      <c:pt idx="499">
                        <c:v>62.92</c:v>
                      </c:pt>
                      <c:pt idx="500">
                        <c:v>47.01</c:v>
                      </c:pt>
                      <c:pt idx="501">
                        <c:v>44.03</c:v>
                      </c:pt>
                      <c:pt idx="502">
                        <c:v>44.33</c:v>
                      </c:pt>
                      <c:pt idx="503">
                        <c:v>39.54</c:v>
                      </c:pt>
                      <c:pt idx="504">
                        <c:v>38.6</c:v>
                      </c:pt>
                      <c:pt idx="505">
                        <c:v>38.22</c:v>
                      </c:pt>
                      <c:pt idx="506">
                        <c:v>38.6</c:v>
                      </c:pt>
                      <c:pt idx="507">
                        <c:v>37.43</c:v>
                      </c:pt>
                      <c:pt idx="508">
                        <c:v>38.270000000000003</c:v>
                      </c:pt>
                      <c:pt idx="509">
                        <c:v>37.83</c:v>
                      </c:pt>
                      <c:pt idx="510">
                        <c:v>35.97</c:v>
                      </c:pt>
                      <c:pt idx="511">
                        <c:v>39.24</c:v>
                      </c:pt>
                      <c:pt idx="512">
                        <c:v>37.76</c:v>
                      </c:pt>
                      <c:pt idx="513">
                        <c:v>39.26</c:v>
                      </c:pt>
                      <c:pt idx="514">
                        <c:v>38.03</c:v>
                      </c:pt>
                      <c:pt idx="515">
                        <c:v>38.159999999999997</c:v>
                      </c:pt>
                      <c:pt idx="516">
                        <c:v>37.07</c:v>
                      </c:pt>
                      <c:pt idx="517">
                        <c:v>36.03</c:v>
                      </c:pt>
                      <c:pt idx="518">
                        <c:v>37.32</c:v>
                      </c:pt>
                      <c:pt idx="519">
                        <c:v>38.29</c:v>
                      </c:pt>
                      <c:pt idx="520">
                        <c:v>44.06</c:v>
                      </c:pt>
                      <c:pt idx="521">
                        <c:v>61.92</c:v>
                      </c:pt>
                      <c:pt idx="522">
                        <c:v>57.72</c:v>
                      </c:pt>
                      <c:pt idx="523">
                        <c:v>57.38</c:v>
                      </c:pt>
                      <c:pt idx="524">
                        <c:v>46</c:v>
                      </c:pt>
                      <c:pt idx="525">
                        <c:v>39.39</c:v>
                      </c:pt>
                      <c:pt idx="526">
                        <c:v>44.05</c:v>
                      </c:pt>
                      <c:pt idx="527">
                        <c:v>35.93</c:v>
                      </c:pt>
                      <c:pt idx="528">
                        <c:v>39.1</c:v>
                      </c:pt>
                      <c:pt idx="529">
                        <c:v>38.28</c:v>
                      </c:pt>
                      <c:pt idx="530">
                        <c:v>39.43</c:v>
                      </c:pt>
                      <c:pt idx="531">
                        <c:v>37.29</c:v>
                      </c:pt>
                      <c:pt idx="532">
                        <c:v>36.65</c:v>
                      </c:pt>
                      <c:pt idx="533">
                        <c:v>44.84</c:v>
                      </c:pt>
                      <c:pt idx="534">
                        <c:v>69.97</c:v>
                      </c:pt>
                      <c:pt idx="535">
                        <c:v>98.45</c:v>
                      </c:pt>
                      <c:pt idx="536">
                        <c:v>95.83</c:v>
                      </c:pt>
                      <c:pt idx="537">
                        <c:v>99.99</c:v>
                      </c:pt>
                      <c:pt idx="538">
                        <c:v>99.36</c:v>
                      </c:pt>
                      <c:pt idx="539">
                        <c:v>87.42</c:v>
                      </c:pt>
                      <c:pt idx="540">
                        <c:v>83.43</c:v>
                      </c:pt>
                      <c:pt idx="541">
                        <c:v>81.81</c:v>
                      </c:pt>
                      <c:pt idx="542">
                        <c:v>85.1</c:v>
                      </c:pt>
                      <c:pt idx="543">
                        <c:v>82.84</c:v>
                      </c:pt>
                      <c:pt idx="544">
                        <c:v>91.14</c:v>
                      </c:pt>
                      <c:pt idx="545">
                        <c:v>109.98</c:v>
                      </c:pt>
                      <c:pt idx="546">
                        <c:v>128.4</c:v>
                      </c:pt>
                      <c:pt idx="547">
                        <c:v>103.87</c:v>
                      </c:pt>
                      <c:pt idx="548">
                        <c:v>84.55</c:v>
                      </c:pt>
                      <c:pt idx="549">
                        <c:v>69.400000000000006</c:v>
                      </c:pt>
                      <c:pt idx="550">
                        <c:v>65.06</c:v>
                      </c:pt>
                      <c:pt idx="551">
                        <c:v>43.08</c:v>
                      </c:pt>
                      <c:pt idx="552">
                        <c:v>57.01</c:v>
                      </c:pt>
                      <c:pt idx="553">
                        <c:v>51.04</c:v>
                      </c:pt>
                      <c:pt idx="554">
                        <c:v>53.05</c:v>
                      </c:pt>
                      <c:pt idx="555">
                        <c:v>48.82</c:v>
                      </c:pt>
                      <c:pt idx="556">
                        <c:v>51.52</c:v>
                      </c:pt>
                      <c:pt idx="557">
                        <c:v>56.06</c:v>
                      </c:pt>
                      <c:pt idx="558">
                        <c:v>91.21</c:v>
                      </c:pt>
                      <c:pt idx="559">
                        <c:v>163.52000000000001</c:v>
                      </c:pt>
                      <c:pt idx="560">
                        <c:v>153.66999999999999</c:v>
                      </c:pt>
                      <c:pt idx="561">
                        <c:v>150.1</c:v>
                      </c:pt>
                      <c:pt idx="562">
                        <c:v>151.07</c:v>
                      </c:pt>
                      <c:pt idx="563">
                        <c:v>135</c:v>
                      </c:pt>
                      <c:pt idx="564">
                        <c:v>121.58</c:v>
                      </c:pt>
                      <c:pt idx="565">
                        <c:v>117.68</c:v>
                      </c:pt>
                      <c:pt idx="566">
                        <c:v>112.21</c:v>
                      </c:pt>
                      <c:pt idx="567">
                        <c:v>117.18</c:v>
                      </c:pt>
                      <c:pt idx="568">
                        <c:v>120</c:v>
                      </c:pt>
                      <c:pt idx="569">
                        <c:v>131.01</c:v>
                      </c:pt>
                      <c:pt idx="570">
                        <c:v>138.91</c:v>
                      </c:pt>
                      <c:pt idx="571">
                        <c:v>113.8</c:v>
                      </c:pt>
                      <c:pt idx="572">
                        <c:v>109.92</c:v>
                      </c:pt>
                      <c:pt idx="573">
                        <c:v>78.98</c:v>
                      </c:pt>
                      <c:pt idx="574">
                        <c:v>66.17</c:v>
                      </c:pt>
                      <c:pt idx="575">
                        <c:v>56.61</c:v>
                      </c:pt>
                      <c:pt idx="576">
                        <c:v>54.69</c:v>
                      </c:pt>
                      <c:pt idx="577">
                        <c:v>46.58</c:v>
                      </c:pt>
                      <c:pt idx="578">
                        <c:v>42.39</c:v>
                      </c:pt>
                      <c:pt idx="579">
                        <c:v>40.94</c:v>
                      </c:pt>
                      <c:pt idx="580">
                        <c:v>43.25</c:v>
                      </c:pt>
                      <c:pt idx="581">
                        <c:v>48.03</c:v>
                      </c:pt>
                      <c:pt idx="582">
                        <c:v>67.349999999999994</c:v>
                      </c:pt>
                      <c:pt idx="583">
                        <c:v>100.24</c:v>
                      </c:pt>
                      <c:pt idx="584">
                        <c:v>105.04</c:v>
                      </c:pt>
                      <c:pt idx="585">
                        <c:v>109.63</c:v>
                      </c:pt>
                      <c:pt idx="586">
                        <c:v>109.93</c:v>
                      </c:pt>
                      <c:pt idx="587">
                        <c:v>119.98</c:v>
                      </c:pt>
                      <c:pt idx="588">
                        <c:v>114.1</c:v>
                      </c:pt>
                      <c:pt idx="589">
                        <c:v>101.63</c:v>
                      </c:pt>
                      <c:pt idx="590">
                        <c:v>107.75</c:v>
                      </c:pt>
                      <c:pt idx="591">
                        <c:v>111.65</c:v>
                      </c:pt>
                      <c:pt idx="592">
                        <c:v>119.63</c:v>
                      </c:pt>
                      <c:pt idx="593">
                        <c:v>122.9</c:v>
                      </c:pt>
                      <c:pt idx="594">
                        <c:v>133.18</c:v>
                      </c:pt>
                      <c:pt idx="595">
                        <c:v>109.96</c:v>
                      </c:pt>
                      <c:pt idx="596">
                        <c:v>89.96</c:v>
                      </c:pt>
                      <c:pt idx="597">
                        <c:v>62.34</c:v>
                      </c:pt>
                      <c:pt idx="598">
                        <c:v>57.8</c:v>
                      </c:pt>
                      <c:pt idx="599">
                        <c:v>45.23</c:v>
                      </c:pt>
                      <c:pt idx="600">
                        <c:v>43.85</c:v>
                      </c:pt>
                      <c:pt idx="601">
                        <c:v>42.06</c:v>
                      </c:pt>
                      <c:pt idx="602">
                        <c:v>40.020000000000003</c:v>
                      </c:pt>
                      <c:pt idx="603">
                        <c:v>37.85</c:v>
                      </c:pt>
                      <c:pt idx="604">
                        <c:v>38.229999999999997</c:v>
                      </c:pt>
                      <c:pt idx="605">
                        <c:v>41.1</c:v>
                      </c:pt>
                      <c:pt idx="606">
                        <c:v>44.28</c:v>
                      </c:pt>
                      <c:pt idx="607">
                        <c:v>58.51</c:v>
                      </c:pt>
                      <c:pt idx="608">
                        <c:v>65.05</c:v>
                      </c:pt>
                      <c:pt idx="609">
                        <c:v>60.94</c:v>
                      </c:pt>
                      <c:pt idx="610">
                        <c:v>58.13</c:v>
                      </c:pt>
                      <c:pt idx="611">
                        <c:v>59.61</c:v>
                      </c:pt>
                      <c:pt idx="612">
                        <c:v>59.45</c:v>
                      </c:pt>
                      <c:pt idx="613">
                        <c:v>53.51</c:v>
                      </c:pt>
                      <c:pt idx="614">
                        <c:v>57.5</c:v>
                      </c:pt>
                      <c:pt idx="615">
                        <c:v>54.97</c:v>
                      </c:pt>
                      <c:pt idx="616">
                        <c:v>55.72</c:v>
                      </c:pt>
                      <c:pt idx="617">
                        <c:v>54.01</c:v>
                      </c:pt>
                      <c:pt idx="618">
                        <c:v>53.35</c:v>
                      </c:pt>
                      <c:pt idx="619">
                        <c:v>44.98</c:v>
                      </c:pt>
                      <c:pt idx="620">
                        <c:v>36.08</c:v>
                      </c:pt>
                      <c:pt idx="621">
                        <c:v>37.869999999999997</c:v>
                      </c:pt>
                      <c:pt idx="622">
                        <c:v>41.4</c:v>
                      </c:pt>
                      <c:pt idx="623">
                        <c:v>36.700000000000003</c:v>
                      </c:pt>
                      <c:pt idx="624">
                        <c:v>35.08</c:v>
                      </c:pt>
                      <c:pt idx="625">
                        <c:v>34.31</c:v>
                      </c:pt>
                      <c:pt idx="626">
                        <c:v>34.049999999999997</c:v>
                      </c:pt>
                      <c:pt idx="627">
                        <c:v>33.97</c:v>
                      </c:pt>
                      <c:pt idx="628">
                        <c:v>34.03</c:v>
                      </c:pt>
                      <c:pt idx="629">
                        <c:v>34.06</c:v>
                      </c:pt>
                      <c:pt idx="630">
                        <c:v>35.799999999999997</c:v>
                      </c:pt>
                      <c:pt idx="631">
                        <c:v>46.39</c:v>
                      </c:pt>
                      <c:pt idx="632">
                        <c:v>47.4</c:v>
                      </c:pt>
                      <c:pt idx="633">
                        <c:v>45.04</c:v>
                      </c:pt>
                      <c:pt idx="634">
                        <c:v>43.47</c:v>
                      </c:pt>
                      <c:pt idx="635">
                        <c:v>44.14</c:v>
                      </c:pt>
                      <c:pt idx="636">
                        <c:v>44.36</c:v>
                      </c:pt>
                      <c:pt idx="637">
                        <c:v>45.18</c:v>
                      </c:pt>
                      <c:pt idx="638">
                        <c:v>48.46</c:v>
                      </c:pt>
                      <c:pt idx="639">
                        <c:v>52.92</c:v>
                      </c:pt>
                      <c:pt idx="640">
                        <c:v>55.25</c:v>
                      </c:pt>
                      <c:pt idx="641">
                        <c:v>60.36</c:v>
                      </c:pt>
                      <c:pt idx="642">
                        <c:v>56.59</c:v>
                      </c:pt>
                      <c:pt idx="643">
                        <c:v>54.61</c:v>
                      </c:pt>
                      <c:pt idx="644">
                        <c:v>47.65</c:v>
                      </c:pt>
                      <c:pt idx="645">
                        <c:v>39.9</c:v>
                      </c:pt>
                      <c:pt idx="646">
                        <c:v>39.9</c:v>
                      </c:pt>
                      <c:pt idx="647">
                        <c:v>38.03</c:v>
                      </c:pt>
                      <c:pt idx="648">
                        <c:v>39.67</c:v>
                      </c:pt>
                      <c:pt idx="649">
                        <c:v>40</c:v>
                      </c:pt>
                      <c:pt idx="650">
                        <c:v>36</c:v>
                      </c:pt>
                      <c:pt idx="651">
                        <c:v>39</c:v>
                      </c:pt>
                      <c:pt idx="652">
                        <c:v>37.39</c:v>
                      </c:pt>
                      <c:pt idx="653">
                        <c:v>37.78</c:v>
                      </c:pt>
                      <c:pt idx="654">
                        <c:v>37.380000000000003</c:v>
                      </c:pt>
                      <c:pt idx="655">
                        <c:v>39.65</c:v>
                      </c:pt>
                      <c:pt idx="656">
                        <c:v>47.34</c:v>
                      </c:pt>
                      <c:pt idx="657">
                        <c:v>44.9</c:v>
                      </c:pt>
                      <c:pt idx="658">
                        <c:v>40.090000000000003</c:v>
                      </c:pt>
                      <c:pt idx="659">
                        <c:v>43.6</c:v>
                      </c:pt>
                      <c:pt idx="660">
                        <c:v>38.4</c:v>
                      </c:pt>
                      <c:pt idx="661">
                        <c:v>37.74</c:v>
                      </c:pt>
                      <c:pt idx="662">
                        <c:v>41.01</c:v>
                      </c:pt>
                      <c:pt idx="663">
                        <c:v>49.92</c:v>
                      </c:pt>
                      <c:pt idx="664">
                        <c:v>54.15</c:v>
                      </c:pt>
                      <c:pt idx="665">
                        <c:v>60.59</c:v>
                      </c:pt>
                      <c:pt idx="666">
                        <c:v>55.2</c:v>
                      </c:pt>
                      <c:pt idx="667">
                        <c:v>48.08</c:v>
                      </c:pt>
                      <c:pt idx="668">
                        <c:v>40.57</c:v>
                      </c:pt>
                      <c:pt idx="669">
                        <c:v>38</c:v>
                      </c:pt>
                      <c:pt idx="670">
                        <c:v>37.200000000000003</c:v>
                      </c:pt>
                      <c:pt idx="671">
                        <c:v>33.74</c:v>
                      </c:pt>
                      <c:pt idx="672">
                        <c:v>36.04</c:v>
                      </c:pt>
                      <c:pt idx="673">
                        <c:v>32.950000000000003</c:v>
                      </c:pt>
                      <c:pt idx="674">
                        <c:v>32.94</c:v>
                      </c:pt>
                      <c:pt idx="675">
                        <c:v>31.75</c:v>
                      </c:pt>
                      <c:pt idx="676">
                        <c:v>34.65</c:v>
                      </c:pt>
                      <c:pt idx="677">
                        <c:v>32.89</c:v>
                      </c:pt>
                      <c:pt idx="678">
                        <c:v>32.96</c:v>
                      </c:pt>
                      <c:pt idx="679">
                        <c:v>35.01</c:v>
                      </c:pt>
                      <c:pt idx="680">
                        <c:v>35</c:v>
                      </c:pt>
                      <c:pt idx="681">
                        <c:v>33.049999999999997</c:v>
                      </c:pt>
                      <c:pt idx="682">
                        <c:v>33.07</c:v>
                      </c:pt>
                      <c:pt idx="683">
                        <c:v>33.07</c:v>
                      </c:pt>
                      <c:pt idx="684">
                        <c:v>33.04</c:v>
                      </c:pt>
                      <c:pt idx="685">
                        <c:v>32.909999999999997</c:v>
                      </c:pt>
                      <c:pt idx="686">
                        <c:v>34.64</c:v>
                      </c:pt>
                      <c:pt idx="687">
                        <c:v>37.049999999999997</c:v>
                      </c:pt>
                      <c:pt idx="688">
                        <c:v>45.58</c:v>
                      </c:pt>
                      <c:pt idx="689">
                        <c:v>53.93</c:v>
                      </c:pt>
                      <c:pt idx="690">
                        <c:v>55.25</c:v>
                      </c:pt>
                      <c:pt idx="691">
                        <c:v>50.58</c:v>
                      </c:pt>
                      <c:pt idx="692">
                        <c:v>39.840000000000003</c:v>
                      </c:pt>
                      <c:pt idx="693">
                        <c:v>37.08</c:v>
                      </c:pt>
                      <c:pt idx="694">
                        <c:v>44.21</c:v>
                      </c:pt>
                      <c:pt idx="695">
                        <c:v>36.090000000000003</c:v>
                      </c:pt>
                      <c:pt idx="696">
                        <c:v>36.51</c:v>
                      </c:pt>
                      <c:pt idx="697">
                        <c:v>36.49</c:v>
                      </c:pt>
                      <c:pt idx="698">
                        <c:v>36.619999999999997</c:v>
                      </c:pt>
                      <c:pt idx="699">
                        <c:v>36.049999999999997</c:v>
                      </c:pt>
                      <c:pt idx="700">
                        <c:v>35.11</c:v>
                      </c:pt>
                      <c:pt idx="701">
                        <c:v>36.68</c:v>
                      </c:pt>
                      <c:pt idx="702">
                        <c:v>47.14</c:v>
                      </c:pt>
                      <c:pt idx="703">
                        <c:v>59.13</c:v>
                      </c:pt>
                      <c:pt idx="704">
                        <c:v>65.06</c:v>
                      </c:pt>
                      <c:pt idx="705">
                        <c:v>65.02</c:v>
                      </c:pt>
                      <c:pt idx="706">
                        <c:v>68.77</c:v>
                      </c:pt>
                      <c:pt idx="707">
                        <c:v>69.91</c:v>
                      </c:pt>
                      <c:pt idx="708">
                        <c:v>60.16</c:v>
                      </c:pt>
                      <c:pt idx="709">
                        <c:v>63.72</c:v>
                      </c:pt>
                      <c:pt idx="710">
                        <c:v>61.32</c:v>
                      </c:pt>
                      <c:pt idx="711">
                        <c:v>55.98</c:v>
                      </c:pt>
                      <c:pt idx="712">
                        <c:v>55.94</c:v>
                      </c:pt>
                      <c:pt idx="713">
                        <c:v>68.48</c:v>
                      </c:pt>
                      <c:pt idx="714">
                        <c:v>59.98</c:v>
                      </c:pt>
                      <c:pt idx="715">
                        <c:v>56</c:v>
                      </c:pt>
                      <c:pt idx="716">
                        <c:v>47.87</c:v>
                      </c:pt>
                      <c:pt idx="717">
                        <c:v>41.93</c:v>
                      </c:pt>
                      <c:pt idx="718">
                        <c:v>45.6</c:v>
                      </c:pt>
                      <c:pt idx="719">
                        <c:v>36.590000000000003</c:v>
                      </c:pt>
                      <c:pt idx="720">
                        <c:v>33.06</c:v>
                      </c:pt>
                      <c:pt idx="721">
                        <c:v>34.380000000000003</c:v>
                      </c:pt>
                      <c:pt idx="722">
                        <c:v>34.380000000000003</c:v>
                      </c:pt>
                      <c:pt idx="723">
                        <c:v>35.57</c:v>
                      </c:pt>
                      <c:pt idx="724">
                        <c:v>37.33</c:v>
                      </c:pt>
                      <c:pt idx="725">
                        <c:v>38.950000000000003</c:v>
                      </c:pt>
                      <c:pt idx="726">
                        <c:v>56.95</c:v>
                      </c:pt>
                      <c:pt idx="727">
                        <c:v>81.62</c:v>
                      </c:pt>
                      <c:pt idx="728">
                        <c:v>81.819999999999993</c:v>
                      </c:pt>
                      <c:pt idx="729">
                        <c:v>82.02</c:v>
                      </c:pt>
                      <c:pt idx="730">
                        <c:v>89.8</c:v>
                      </c:pt>
                      <c:pt idx="731">
                        <c:v>89.82</c:v>
                      </c:pt>
                      <c:pt idx="732">
                        <c:v>82.36</c:v>
                      </c:pt>
                      <c:pt idx="733">
                        <c:v>82.02</c:v>
                      </c:pt>
                      <c:pt idx="734">
                        <c:v>90.36</c:v>
                      </c:pt>
                      <c:pt idx="735">
                        <c:v>89.75</c:v>
                      </c:pt>
                      <c:pt idx="736">
                        <c:v>90.2</c:v>
                      </c:pt>
                      <c:pt idx="737">
                        <c:v>95</c:v>
                      </c:pt>
                      <c:pt idx="738">
                        <c:v>104.33</c:v>
                      </c:pt>
                      <c:pt idx="739">
                        <c:v>90</c:v>
                      </c:pt>
                      <c:pt idx="740">
                        <c:v>84.15</c:v>
                      </c:pt>
                      <c:pt idx="741">
                        <c:v>60.92</c:v>
                      </c:pt>
                      <c:pt idx="742">
                        <c:v>54.9</c:v>
                      </c:pt>
                      <c:pt idx="743">
                        <c:v>40.69</c:v>
                      </c:pt>
                      <c:pt idx="744">
                        <c:v>44.91</c:v>
                      </c:pt>
                      <c:pt idx="745">
                        <c:v>42.25</c:v>
                      </c:pt>
                      <c:pt idx="746">
                        <c:v>39.799999999999997</c:v>
                      </c:pt>
                      <c:pt idx="747">
                        <c:v>38.15</c:v>
                      </c:pt>
                      <c:pt idx="748">
                        <c:v>38.380000000000003</c:v>
                      </c:pt>
                      <c:pt idx="749">
                        <c:v>41.09</c:v>
                      </c:pt>
                      <c:pt idx="750">
                        <c:v>47.86</c:v>
                      </c:pt>
                      <c:pt idx="751">
                        <c:v>65.959999999999994</c:v>
                      </c:pt>
                      <c:pt idx="752">
                        <c:v>72.930000000000007</c:v>
                      </c:pt>
                      <c:pt idx="753">
                        <c:v>65.91</c:v>
                      </c:pt>
                      <c:pt idx="754">
                        <c:v>65.02</c:v>
                      </c:pt>
                      <c:pt idx="755">
                        <c:v>62.91</c:v>
                      </c:pt>
                      <c:pt idx="756">
                        <c:v>56.99</c:v>
                      </c:pt>
                      <c:pt idx="757">
                        <c:v>54.18</c:v>
                      </c:pt>
                      <c:pt idx="758">
                        <c:v>50.49</c:v>
                      </c:pt>
                      <c:pt idx="759">
                        <c:v>52.35</c:v>
                      </c:pt>
                      <c:pt idx="760">
                        <c:v>57</c:v>
                      </c:pt>
                      <c:pt idx="761">
                        <c:v>62.58</c:v>
                      </c:pt>
                      <c:pt idx="762">
                        <c:v>56.99</c:v>
                      </c:pt>
                      <c:pt idx="763">
                        <c:v>49.74</c:v>
                      </c:pt>
                      <c:pt idx="764">
                        <c:v>41.04</c:v>
                      </c:pt>
                      <c:pt idx="765">
                        <c:v>44.2</c:v>
                      </c:pt>
                      <c:pt idx="766">
                        <c:v>42.38</c:v>
                      </c:pt>
                      <c:pt idx="767">
                        <c:v>38.06</c:v>
                      </c:pt>
                      <c:pt idx="768">
                        <c:v>31.05</c:v>
                      </c:pt>
                      <c:pt idx="769">
                        <c:v>29.8</c:v>
                      </c:pt>
                      <c:pt idx="770">
                        <c:v>32.659999999999997</c:v>
                      </c:pt>
                      <c:pt idx="771">
                        <c:v>32.299999999999997</c:v>
                      </c:pt>
                      <c:pt idx="772">
                        <c:v>31.05</c:v>
                      </c:pt>
                      <c:pt idx="773">
                        <c:v>32.659999999999997</c:v>
                      </c:pt>
                      <c:pt idx="774">
                        <c:v>39.909999999999997</c:v>
                      </c:pt>
                      <c:pt idx="775">
                        <c:v>55.58</c:v>
                      </c:pt>
                      <c:pt idx="776">
                        <c:v>57.19</c:v>
                      </c:pt>
                      <c:pt idx="777">
                        <c:v>59.1</c:v>
                      </c:pt>
                      <c:pt idx="778">
                        <c:v>58.55</c:v>
                      </c:pt>
                      <c:pt idx="779">
                        <c:v>57.66</c:v>
                      </c:pt>
                      <c:pt idx="780">
                        <c:v>57.66</c:v>
                      </c:pt>
                      <c:pt idx="781">
                        <c:v>54.44</c:v>
                      </c:pt>
                      <c:pt idx="782">
                        <c:v>50.9</c:v>
                      </c:pt>
                      <c:pt idx="783">
                        <c:v>47.1</c:v>
                      </c:pt>
                      <c:pt idx="784">
                        <c:v>45.98</c:v>
                      </c:pt>
                      <c:pt idx="785">
                        <c:v>48.8</c:v>
                      </c:pt>
                      <c:pt idx="786">
                        <c:v>53.3</c:v>
                      </c:pt>
                      <c:pt idx="787">
                        <c:v>48.84</c:v>
                      </c:pt>
                      <c:pt idx="788">
                        <c:v>39.97</c:v>
                      </c:pt>
                      <c:pt idx="789">
                        <c:v>39.04</c:v>
                      </c:pt>
                      <c:pt idx="790">
                        <c:v>38.78</c:v>
                      </c:pt>
                      <c:pt idx="791">
                        <c:v>34.82</c:v>
                      </c:pt>
                      <c:pt idx="792">
                        <c:v>39.5</c:v>
                      </c:pt>
                      <c:pt idx="793">
                        <c:v>34.92</c:v>
                      </c:pt>
                      <c:pt idx="794">
                        <c:v>34.26</c:v>
                      </c:pt>
                      <c:pt idx="795">
                        <c:v>32.549999999999997</c:v>
                      </c:pt>
                      <c:pt idx="796">
                        <c:v>32.49</c:v>
                      </c:pt>
                      <c:pt idx="797">
                        <c:v>35.85</c:v>
                      </c:pt>
                      <c:pt idx="798">
                        <c:v>43.02</c:v>
                      </c:pt>
                      <c:pt idx="799">
                        <c:v>56.32</c:v>
                      </c:pt>
                      <c:pt idx="800">
                        <c:v>60</c:v>
                      </c:pt>
                      <c:pt idx="801">
                        <c:v>58</c:v>
                      </c:pt>
                      <c:pt idx="802">
                        <c:v>56.67</c:v>
                      </c:pt>
                      <c:pt idx="803">
                        <c:v>55.97</c:v>
                      </c:pt>
                      <c:pt idx="804">
                        <c:v>54.37</c:v>
                      </c:pt>
                      <c:pt idx="805">
                        <c:v>53.67</c:v>
                      </c:pt>
                      <c:pt idx="806">
                        <c:v>51.96</c:v>
                      </c:pt>
                      <c:pt idx="807">
                        <c:v>48.47</c:v>
                      </c:pt>
                      <c:pt idx="808">
                        <c:v>53.33</c:v>
                      </c:pt>
                      <c:pt idx="809">
                        <c:v>60.36</c:v>
                      </c:pt>
                      <c:pt idx="810">
                        <c:v>55.79</c:v>
                      </c:pt>
                      <c:pt idx="811">
                        <c:v>59.29</c:v>
                      </c:pt>
                      <c:pt idx="812">
                        <c:v>53.68</c:v>
                      </c:pt>
                      <c:pt idx="813">
                        <c:v>44.9</c:v>
                      </c:pt>
                      <c:pt idx="814">
                        <c:v>44.25</c:v>
                      </c:pt>
                      <c:pt idx="815">
                        <c:v>36.08</c:v>
                      </c:pt>
                      <c:pt idx="816">
                        <c:v>37.04</c:v>
                      </c:pt>
                      <c:pt idx="817">
                        <c:v>34.96</c:v>
                      </c:pt>
                      <c:pt idx="818">
                        <c:v>34.01</c:v>
                      </c:pt>
                      <c:pt idx="819">
                        <c:v>31.93</c:v>
                      </c:pt>
                      <c:pt idx="820">
                        <c:v>31.89</c:v>
                      </c:pt>
                      <c:pt idx="821">
                        <c:v>32.090000000000003</c:v>
                      </c:pt>
                      <c:pt idx="822">
                        <c:v>33.82</c:v>
                      </c:pt>
                      <c:pt idx="823">
                        <c:v>37.04</c:v>
                      </c:pt>
                      <c:pt idx="824">
                        <c:v>42.32</c:v>
                      </c:pt>
                      <c:pt idx="825">
                        <c:v>49.58</c:v>
                      </c:pt>
                      <c:pt idx="826">
                        <c:v>51.97</c:v>
                      </c:pt>
                      <c:pt idx="827">
                        <c:v>50</c:v>
                      </c:pt>
                      <c:pt idx="828">
                        <c:v>50</c:v>
                      </c:pt>
                      <c:pt idx="829">
                        <c:v>49.12</c:v>
                      </c:pt>
                      <c:pt idx="830">
                        <c:v>47.22</c:v>
                      </c:pt>
                      <c:pt idx="831">
                        <c:v>45.22</c:v>
                      </c:pt>
                      <c:pt idx="832">
                        <c:v>46.26</c:v>
                      </c:pt>
                      <c:pt idx="833">
                        <c:v>56.37</c:v>
                      </c:pt>
                      <c:pt idx="834">
                        <c:v>66.180000000000007</c:v>
                      </c:pt>
                      <c:pt idx="835">
                        <c:v>61.61</c:v>
                      </c:pt>
                      <c:pt idx="836">
                        <c:v>55.49</c:v>
                      </c:pt>
                      <c:pt idx="837">
                        <c:v>50</c:v>
                      </c:pt>
                      <c:pt idx="838">
                        <c:v>50</c:v>
                      </c:pt>
                      <c:pt idx="839">
                        <c:v>43.06</c:v>
                      </c:pt>
                      <c:pt idx="840">
                        <c:v>35.81</c:v>
                      </c:pt>
                      <c:pt idx="841">
                        <c:v>37.299999999999997</c:v>
                      </c:pt>
                      <c:pt idx="842">
                        <c:v>37.729999999999997</c:v>
                      </c:pt>
                      <c:pt idx="843">
                        <c:v>36.65</c:v>
                      </c:pt>
                      <c:pt idx="844">
                        <c:v>33.15</c:v>
                      </c:pt>
                      <c:pt idx="845">
                        <c:v>34.549999999999997</c:v>
                      </c:pt>
                      <c:pt idx="846">
                        <c:v>31.66</c:v>
                      </c:pt>
                      <c:pt idx="847">
                        <c:v>36.93</c:v>
                      </c:pt>
                      <c:pt idx="848">
                        <c:v>37.520000000000003</c:v>
                      </c:pt>
                      <c:pt idx="849">
                        <c:v>40.81</c:v>
                      </c:pt>
                      <c:pt idx="850">
                        <c:v>44.02</c:v>
                      </c:pt>
                      <c:pt idx="851">
                        <c:v>50.06</c:v>
                      </c:pt>
                      <c:pt idx="852">
                        <c:v>46.05</c:v>
                      </c:pt>
                      <c:pt idx="853">
                        <c:v>41.45</c:v>
                      </c:pt>
                      <c:pt idx="854">
                        <c:v>40.880000000000003</c:v>
                      </c:pt>
                      <c:pt idx="855">
                        <c:v>39.97</c:v>
                      </c:pt>
                      <c:pt idx="856">
                        <c:v>40.81</c:v>
                      </c:pt>
                      <c:pt idx="857">
                        <c:v>48.24</c:v>
                      </c:pt>
                      <c:pt idx="858">
                        <c:v>65.069999999999993</c:v>
                      </c:pt>
                      <c:pt idx="859">
                        <c:v>60.86</c:v>
                      </c:pt>
                      <c:pt idx="860">
                        <c:v>57.91</c:v>
                      </c:pt>
                      <c:pt idx="861">
                        <c:v>47.88</c:v>
                      </c:pt>
                      <c:pt idx="862">
                        <c:v>51</c:v>
                      </c:pt>
                      <c:pt idx="863">
                        <c:v>48</c:v>
                      </c:pt>
                      <c:pt idx="864">
                        <c:v>43.31</c:v>
                      </c:pt>
                      <c:pt idx="865">
                        <c:v>41.4</c:v>
                      </c:pt>
                      <c:pt idx="866">
                        <c:v>38.270000000000003</c:v>
                      </c:pt>
                      <c:pt idx="867">
                        <c:v>35.1</c:v>
                      </c:pt>
                      <c:pt idx="868">
                        <c:v>36.299999999999997</c:v>
                      </c:pt>
                      <c:pt idx="869">
                        <c:v>39.5</c:v>
                      </c:pt>
                      <c:pt idx="870">
                        <c:v>55.21</c:v>
                      </c:pt>
                      <c:pt idx="871">
                        <c:v>74.95</c:v>
                      </c:pt>
                      <c:pt idx="872">
                        <c:v>82.06</c:v>
                      </c:pt>
                      <c:pt idx="873">
                        <c:v>84.01</c:v>
                      </c:pt>
                      <c:pt idx="874">
                        <c:v>80.44</c:v>
                      </c:pt>
                      <c:pt idx="875">
                        <c:v>79.61</c:v>
                      </c:pt>
                      <c:pt idx="876">
                        <c:v>80.37</c:v>
                      </c:pt>
                      <c:pt idx="877">
                        <c:v>77.75</c:v>
                      </c:pt>
                      <c:pt idx="878">
                        <c:v>72.930000000000007</c:v>
                      </c:pt>
                      <c:pt idx="879">
                        <c:v>69.5</c:v>
                      </c:pt>
                      <c:pt idx="880">
                        <c:v>67.040000000000006</c:v>
                      </c:pt>
                      <c:pt idx="881">
                        <c:v>69.94</c:v>
                      </c:pt>
                      <c:pt idx="882">
                        <c:v>86.37</c:v>
                      </c:pt>
                      <c:pt idx="883">
                        <c:v>77.290000000000006</c:v>
                      </c:pt>
                      <c:pt idx="884">
                        <c:v>64.69</c:v>
                      </c:pt>
                      <c:pt idx="885">
                        <c:v>44.63</c:v>
                      </c:pt>
                      <c:pt idx="886">
                        <c:v>43.27</c:v>
                      </c:pt>
                      <c:pt idx="887">
                        <c:v>38.93</c:v>
                      </c:pt>
                      <c:pt idx="888">
                        <c:v>42.01</c:v>
                      </c:pt>
                      <c:pt idx="889">
                        <c:v>40.4</c:v>
                      </c:pt>
                      <c:pt idx="890">
                        <c:v>39.01</c:v>
                      </c:pt>
                      <c:pt idx="891">
                        <c:v>37.78</c:v>
                      </c:pt>
                      <c:pt idx="892">
                        <c:v>38.03</c:v>
                      </c:pt>
                      <c:pt idx="893">
                        <c:v>38.090000000000003</c:v>
                      </c:pt>
                      <c:pt idx="894">
                        <c:v>46.82</c:v>
                      </c:pt>
                      <c:pt idx="895">
                        <c:v>64.900000000000006</c:v>
                      </c:pt>
                      <c:pt idx="896">
                        <c:v>63</c:v>
                      </c:pt>
                      <c:pt idx="897">
                        <c:v>62.92</c:v>
                      </c:pt>
                      <c:pt idx="898">
                        <c:v>64.55</c:v>
                      </c:pt>
                      <c:pt idx="899">
                        <c:v>65.91</c:v>
                      </c:pt>
                      <c:pt idx="900">
                        <c:v>63.39</c:v>
                      </c:pt>
                      <c:pt idx="901">
                        <c:v>61.3</c:v>
                      </c:pt>
                      <c:pt idx="902">
                        <c:v>60.49</c:v>
                      </c:pt>
                      <c:pt idx="903">
                        <c:v>59.79</c:v>
                      </c:pt>
                      <c:pt idx="904">
                        <c:v>62.41</c:v>
                      </c:pt>
                      <c:pt idx="905">
                        <c:v>67.14</c:v>
                      </c:pt>
                      <c:pt idx="906">
                        <c:v>66.97</c:v>
                      </c:pt>
                      <c:pt idx="907">
                        <c:v>64.010000000000005</c:v>
                      </c:pt>
                      <c:pt idx="908">
                        <c:v>45.07</c:v>
                      </c:pt>
                      <c:pt idx="909">
                        <c:v>43.1</c:v>
                      </c:pt>
                      <c:pt idx="910">
                        <c:v>45.02</c:v>
                      </c:pt>
                      <c:pt idx="911">
                        <c:v>39.89</c:v>
                      </c:pt>
                      <c:pt idx="912">
                        <c:v>34.51</c:v>
                      </c:pt>
                      <c:pt idx="913">
                        <c:v>34.590000000000003</c:v>
                      </c:pt>
                      <c:pt idx="914">
                        <c:v>34.35</c:v>
                      </c:pt>
                      <c:pt idx="915">
                        <c:v>33.729999999999997</c:v>
                      </c:pt>
                      <c:pt idx="916">
                        <c:v>35.06</c:v>
                      </c:pt>
                      <c:pt idx="917">
                        <c:v>35.9</c:v>
                      </c:pt>
                      <c:pt idx="918">
                        <c:v>50.07</c:v>
                      </c:pt>
                      <c:pt idx="919">
                        <c:v>69.92</c:v>
                      </c:pt>
                      <c:pt idx="920">
                        <c:v>71.099999999999994</c:v>
                      </c:pt>
                      <c:pt idx="921">
                        <c:v>70.900000000000006</c:v>
                      </c:pt>
                      <c:pt idx="922">
                        <c:v>72.5</c:v>
                      </c:pt>
                      <c:pt idx="923">
                        <c:v>71.489999999999995</c:v>
                      </c:pt>
                      <c:pt idx="924">
                        <c:v>70.34</c:v>
                      </c:pt>
                      <c:pt idx="925">
                        <c:v>66.94</c:v>
                      </c:pt>
                      <c:pt idx="926">
                        <c:v>67.430000000000007</c:v>
                      </c:pt>
                      <c:pt idx="927">
                        <c:v>68.959999999999994</c:v>
                      </c:pt>
                      <c:pt idx="928">
                        <c:v>69.13</c:v>
                      </c:pt>
                      <c:pt idx="929">
                        <c:v>73.849999999999994</c:v>
                      </c:pt>
                      <c:pt idx="930">
                        <c:v>88.18</c:v>
                      </c:pt>
                      <c:pt idx="931">
                        <c:v>84.04</c:v>
                      </c:pt>
                      <c:pt idx="932">
                        <c:v>72.599999999999994</c:v>
                      </c:pt>
                      <c:pt idx="933">
                        <c:v>62.5</c:v>
                      </c:pt>
                      <c:pt idx="934">
                        <c:v>47.98</c:v>
                      </c:pt>
                      <c:pt idx="935">
                        <c:v>45.82</c:v>
                      </c:pt>
                      <c:pt idx="936">
                        <c:v>48.1</c:v>
                      </c:pt>
                      <c:pt idx="937">
                        <c:v>48.05</c:v>
                      </c:pt>
                      <c:pt idx="938">
                        <c:v>44.96</c:v>
                      </c:pt>
                      <c:pt idx="939">
                        <c:v>42.5</c:v>
                      </c:pt>
                      <c:pt idx="940">
                        <c:v>41.66</c:v>
                      </c:pt>
                      <c:pt idx="941">
                        <c:v>47.2</c:v>
                      </c:pt>
                      <c:pt idx="942">
                        <c:v>54.58</c:v>
                      </c:pt>
                      <c:pt idx="943">
                        <c:v>74.14</c:v>
                      </c:pt>
                      <c:pt idx="944">
                        <c:v>70</c:v>
                      </c:pt>
                      <c:pt idx="945">
                        <c:v>72.790000000000006</c:v>
                      </c:pt>
                      <c:pt idx="946">
                        <c:v>70.97</c:v>
                      </c:pt>
                      <c:pt idx="947">
                        <c:v>68.97</c:v>
                      </c:pt>
                      <c:pt idx="948">
                        <c:v>66.91</c:v>
                      </c:pt>
                      <c:pt idx="949">
                        <c:v>65.64</c:v>
                      </c:pt>
                      <c:pt idx="950">
                        <c:v>65</c:v>
                      </c:pt>
                      <c:pt idx="951">
                        <c:v>65</c:v>
                      </c:pt>
                      <c:pt idx="952">
                        <c:v>65.760000000000005</c:v>
                      </c:pt>
                      <c:pt idx="953">
                        <c:v>70.430000000000007</c:v>
                      </c:pt>
                      <c:pt idx="954">
                        <c:v>72.91</c:v>
                      </c:pt>
                      <c:pt idx="955">
                        <c:v>64.540000000000006</c:v>
                      </c:pt>
                      <c:pt idx="956">
                        <c:v>50.09</c:v>
                      </c:pt>
                      <c:pt idx="957">
                        <c:v>39.479999999999997</c:v>
                      </c:pt>
                      <c:pt idx="958">
                        <c:v>42.1</c:v>
                      </c:pt>
                      <c:pt idx="959">
                        <c:v>38.35</c:v>
                      </c:pt>
                      <c:pt idx="960">
                        <c:v>36.67</c:v>
                      </c:pt>
                      <c:pt idx="961">
                        <c:v>34.31</c:v>
                      </c:pt>
                      <c:pt idx="962">
                        <c:v>33.46</c:v>
                      </c:pt>
                      <c:pt idx="963">
                        <c:v>33.1</c:v>
                      </c:pt>
                      <c:pt idx="964">
                        <c:v>32.549999999999997</c:v>
                      </c:pt>
                      <c:pt idx="965">
                        <c:v>34.74</c:v>
                      </c:pt>
                      <c:pt idx="966">
                        <c:v>39.17</c:v>
                      </c:pt>
                      <c:pt idx="967">
                        <c:v>57</c:v>
                      </c:pt>
                      <c:pt idx="968">
                        <c:v>63.08</c:v>
                      </c:pt>
                      <c:pt idx="969">
                        <c:v>63.09</c:v>
                      </c:pt>
                      <c:pt idx="970">
                        <c:v>61.93</c:v>
                      </c:pt>
                      <c:pt idx="971">
                        <c:v>59.04</c:v>
                      </c:pt>
                      <c:pt idx="972">
                        <c:v>54.91</c:v>
                      </c:pt>
                      <c:pt idx="973">
                        <c:v>45.08</c:v>
                      </c:pt>
                      <c:pt idx="974">
                        <c:v>42.02</c:v>
                      </c:pt>
                      <c:pt idx="975">
                        <c:v>44.97</c:v>
                      </c:pt>
                      <c:pt idx="976">
                        <c:v>49.07</c:v>
                      </c:pt>
                      <c:pt idx="977">
                        <c:v>52.73</c:v>
                      </c:pt>
                      <c:pt idx="978">
                        <c:v>45.06</c:v>
                      </c:pt>
                      <c:pt idx="979">
                        <c:v>46.2</c:v>
                      </c:pt>
                      <c:pt idx="980">
                        <c:v>39.11</c:v>
                      </c:pt>
                      <c:pt idx="981">
                        <c:v>37.08</c:v>
                      </c:pt>
                      <c:pt idx="982">
                        <c:v>38.04</c:v>
                      </c:pt>
                      <c:pt idx="983">
                        <c:v>34.21</c:v>
                      </c:pt>
                      <c:pt idx="984">
                        <c:v>39</c:v>
                      </c:pt>
                      <c:pt idx="985">
                        <c:v>36.69</c:v>
                      </c:pt>
                      <c:pt idx="986">
                        <c:v>35.049999999999997</c:v>
                      </c:pt>
                      <c:pt idx="987">
                        <c:v>36.61</c:v>
                      </c:pt>
                      <c:pt idx="988">
                        <c:v>32.9</c:v>
                      </c:pt>
                      <c:pt idx="989">
                        <c:v>37.5</c:v>
                      </c:pt>
                      <c:pt idx="990">
                        <c:v>33</c:v>
                      </c:pt>
                      <c:pt idx="991">
                        <c:v>44.15</c:v>
                      </c:pt>
                      <c:pt idx="992">
                        <c:v>48.48</c:v>
                      </c:pt>
                      <c:pt idx="993">
                        <c:v>50.78</c:v>
                      </c:pt>
                      <c:pt idx="994">
                        <c:v>49.57</c:v>
                      </c:pt>
                      <c:pt idx="995">
                        <c:v>44</c:v>
                      </c:pt>
                      <c:pt idx="996">
                        <c:v>37.93</c:v>
                      </c:pt>
                      <c:pt idx="997">
                        <c:v>35.08</c:v>
                      </c:pt>
                      <c:pt idx="998">
                        <c:v>34</c:v>
                      </c:pt>
                      <c:pt idx="999">
                        <c:v>34.1</c:v>
                      </c:pt>
                      <c:pt idx="1000">
                        <c:v>35.090000000000003</c:v>
                      </c:pt>
                      <c:pt idx="1001">
                        <c:v>41.56</c:v>
                      </c:pt>
                      <c:pt idx="1002">
                        <c:v>43.01</c:v>
                      </c:pt>
                      <c:pt idx="1003">
                        <c:v>40.86</c:v>
                      </c:pt>
                      <c:pt idx="1004">
                        <c:v>36.090000000000003</c:v>
                      </c:pt>
                      <c:pt idx="1005">
                        <c:v>33.93</c:v>
                      </c:pt>
                      <c:pt idx="1006">
                        <c:v>33.92</c:v>
                      </c:pt>
                      <c:pt idx="1007">
                        <c:v>31.86</c:v>
                      </c:pt>
                      <c:pt idx="1008">
                        <c:v>31.43</c:v>
                      </c:pt>
                      <c:pt idx="1009">
                        <c:v>31.06</c:v>
                      </c:pt>
                      <c:pt idx="1010">
                        <c:v>31.15</c:v>
                      </c:pt>
                      <c:pt idx="1011">
                        <c:v>31.08</c:v>
                      </c:pt>
                      <c:pt idx="1012">
                        <c:v>29.78</c:v>
                      </c:pt>
                      <c:pt idx="1013">
                        <c:v>29.88</c:v>
                      </c:pt>
                      <c:pt idx="1014">
                        <c:v>30.36</c:v>
                      </c:pt>
                      <c:pt idx="1015">
                        <c:v>30.36</c:v>
                      </c:pt>
                      <c:pt idx="1016">
                        <c:v>32.33</c:v>
                      </c:pt>
                      <c:pt idx="1017">
                        <c:v>33.21</c:v>
                      </c:pt>
                      <c:pt idx="1018">
                        <c:v>34.26</c:v>
                      </c:pt>
                      <c:pt idx="1019">
                        <c:v>35.03</c:v>
                      </c:pt>
                      <c:pt idx="1020">
                        <c:v>31.4</c:v>
                      </c:pt>
                      <c:pt idx="1021">
                        <c:v>30.89</c:v>
                      </c:pt>
                      <c:pt idx="1022">
                        <c:v>30.02</c:v>
                      </c:pt>
                      <c:pt idx="1023">
                        <c:v>30.81</c:v>
                      </c:pt>
                      <c:pt idx="1024">
                        <c:v>32.19</c:v>
                      </c:pt>
                      <c:pt idx="1025">
                        <c:v>36</c:v>
                      </c:pt>
                      <c:pt idx="1026">
                        <c:v>42.59</c:v>
                      </c:pt>
                      <c:pt idx="1027">
                        <c:v>41.1</c:v>
                      </c:pt>
                      <c:pt idx="1028">
                        <c:v>40.44</c:v>
                      </c:pt>
                      <c:pt idx="1029">
                        <c:v>32.630000000000003</c:v>
                      </c:pt>
                      <c:pt idx="1030">
                        <c:v>34.9</c:v>
                      </c:pt>
                      <c:pt idx="1031">
                        <c:v>32.119999999999997</c:v>
                      </c:pt>
                      <c:pt idx="1032">
                        <c:v>28.83</c:v>
                      </c:pt>
                      <c:pt idx="1033">
                        <c:v>29.68</c:v>
                      </c:pt>
                      <c:pt idx="1034">
                        <c:v>31.12</c:v>
                      </c:pt>
                      <c:pt idx="1035">
                        <c:v>29.85</c:v>
                      </c:pt>
                      <c:pt idx="1036">
                        <c:v>30.76</c:v>
                      </c:pt>
                      <c:pt idx="1037">
                        <c:v>33.01</c:v>
                      </c:pt>
                      <c:pt idx="1038">
                        <c:v>39.770000000000003</c:v>
                      </c:pt>
                      <c:pt idx="1039">
                        <c:v>56.98</c:v>
                      </c:pt>
                      <c:pt idx="1040">
                        <c:v>59.13</c:v>
                      </c:pt>
                      <c:pt idx="1041">
                        <c:v>57.9</c:v>
                      </c:pt>
                      <c:pt idx="1042">
                        <c:v>53.97</c:v>
                      </c:pt>
                      <c:pt idx="1043">
                        <c:v>45.2</c:v>
                      </c:pt>
                      <c:pt idx="1044">
                        <c:v>37.24</c:v>
                      </c:pt>
                      <c:pt idx="1045">
                        <c:v>35.06</c:v>
                      </c:pt>
                      <c:pt idx="1046">
                        <c:v>38.229999999999997</c:v>
                      </c:pt>
                      <c:pt idx="1047">
                        <c:v>43.52</c:v>
                      </c:pt>
                      <c:pt idx="1048">
                        <c:v>49.17</c:v>
                      </c:pt>
                      <c:pt idx="1049">
                        <c:v>53.84</c:v>
                      </c:pt>
                      <c:pt idx="1050">
                        <c:v>56.25</c:v>
                      </c:pt>
                      <c:pt idx="1051">
                        <c:v>50.08</c:v>
                      </c:pt>
                      <c:pt idx="1052">
                        <c:v>44.94</c:v>
                      </c:pt>
                      <c:pt idx="1053">
                        <c:v>38.14</c:v>
                      </c:pt>
                      <c:pt idx="1054">
                        <c:v>39.770000000000003</c:v>
                      </c:pt>
                      <c:pt idx="1055">
                        <c:v>33.57</c:v>
                      </c:pt>
                      <c:pt idx="1056">
                        <c:v>32.35</c:v>
                      </c:pt>
                      <c:pt idx="1057">
                        <c:v>31.68</c:v>
                      </c:pt>
                      <c:pt idx="1058">
                        <c:v>32.11</c:v>
                      </c:pt>
                      <c:pt idx="1059">
                        <c:v>32.56</c:v>
                      </c:pt>
                      <c:pt idx="1060">
                        <c:v>33.340000000000003</c:v>
                      </c:pt>
                      <c:pt idx="1061">
                        <c:v>32.840000000000003</c:v>
                      </c:pt>
                      <c:pt idx="1062">
                        <c:v>42.09</c:v>
                      </c:pt>
                      <c:pt idx="1063">
                        <c:v>47.98</c:v>
                      </c:pt>
                      <c:pt idx="1064">
                        <c:v>50.63</c:v>
                      </c:pt>
                      <c:pt idx="1065">
                        <c:v>46.89</c:v>
                      </c:pt>
                      <c:pt idx="1066">
                        <c:v>38.39</c:v>
                      </c:pt>
                      <c:pt idx="1067">
                        <c:v>36.64</c:v>
                      </c:pt>
                      <c:pt idx="1068">
                        <c:v>35.86</c:v>
                      </c:pt>
                      <c:pt idx="1069">
                        <c:v>38.33</c:v>
                      </c:pt>
                      <c:pt idx="1070">
                        <c:v>37.31</c:v>
                      </c:pt>
                      <c:pt idx="1071">
                        <c:v>41.88</c:v>
                      </c:pt>
                      <c:pt idx="1072">
                        <c:v>54.4</c:v>
                      </c:pt>
                      <c:pt idx="1073">
                        <c:v>61.03</c:v>
                      </c:pt>
                      <c:pt idx="1074">
                        <c:v>66.22</c:v>
                      </c:pt>
                      <c:pt idx="1075">
                        <c:v>57.97</c:v>
                      </c:pt>
                      <c:pt idx="1076">
                        <c:v>54.68</c:v>
                      </c:pt>
                      <c:pt idx="1077">
                        <c:v>42.26</c:v>
                      </c:pt>
                      <c:pt idx="1078">
                        <c:v>43.47</c:v>
                      </c:pt>
                      <c:pt idx="1079">
                        <c:v>40.64</c:v>
                      </c:pt>
                      <c:pt idx="1080">
                        <c:v>37.39</c:v>
                      </c:pt>
                      <c:pt idx="1081">
                        <c:v>38.18</c:v>
                      </c:pt>
                      <c:pt idx="1082">
                        <c:v>37.130000000000003</c:v>
                      </c:pt>
                      <c:pt idx="1083">
                        <c:v>35.72</c:v>
                      </c:pt>
                      <c:pt idx="1084">
                        <c:v>36.51</c:v>
                      </c:pt>
                      <c:pt idx="1085">
                        <c:v>37.869999999999997</c:v>
                      </c:pt>
                      <c:pt idx="1086">
                        <c:v>48.2</c:v>
                      </c:pt>
                      <c:pt idx="1087">
                        <c:v>61.48</c:v>
                      </c:pt>
                      <c:pt idx="1088">
                        <c:v>63.32</c:v>
                      </c:pt>
                      <c:pt idx="1089">
                        <c:v>60.76</c:v>
                      </c:pt>
                      <c:pt idx="1090">
                        <c:v>55.69</c:v>
                      </c:pt>
                      <c:pt idx="1091">
                        <c:v>39.659999999999997</c:v>
                      </c:pt>
                      <c:pt idx="1092">
                        <c:v>37.35</c:v>
                      </c:pt>
                      <c:pt idx="1093">
                        <c:v>38.08</c:v>
                      </c:pt>
                      <c:pt idx="1094">
                        <c:v>45.22</c:v>
                      </c:pt>
                      <c:pt idx="1095">
                        <c:v>50.85</c:v>
                      </c:pt>
                      <c:pt idx="1096">
                        <c:v>54.43</c:v>
                      </c:pt>
                      <c:pt idx="1097">
                        <c:v>59.16</c:v>
                      </c:pt>
                      <c:pt idx="1098">
                        <c:v>64.48</c:v>
                      </c:pt>
                      <c:pt idx="1099">
                        <c:v>63.07</c:v>
                      </c:pt>
                      <c:pt idx="1100">
                        <c:v>54.77</c:v>
                      </c:pt>
                      <c:pt idx="1101">
                        <c:v>44.92</c:v>
                      </c:pt>
                      <c:pt idx="1102">
                        <c:v>37.979999999999997</c:v>
                      </c:pt>
                      <c:pt idx="1103">
                        <c:v>33.47</c:v>
                      </c:pt>
                      <c:pt idx="1104">
                        <c:v>33.270000000000003</c:v>
                      </c:pt>
                      <c:pt idx="1105">
                        <c:v>34.93</c:v>
                      </c:pt>
                      <c:pt idx="1106">
                        <c:v>32.090000000000003</c:v>
                      </c:pt>
                      <c:pt idx="1107">
                        <c:v>32</c:v>
                      </c:pt>
                      <c:pt idx="1108">
                        <c:v>32.06</c:v>
                      </c:pt>
                      <c:pt idx="1109">
                        <c:v>33.28</c:v>
                      </c:pt>
                      <c:pt idx="1110">
                        <c:v>38.01</c:v>
                      </c:pt>
                      <c:pt idx="1111">
                        <c:v>50.99</c:v>
                      </c:pt>
                      <c:pt idx="1112">
                        <c:v>50.31</c:v>
                      </c:pt>
                      <c:pt idx="1113">
                        <c:v>43.72</c:v>
                      </c:pt>
                      <c:pt idx="1114">
                        <c:v>38</c:v>
                      </c:pt>
                      <c:pt idx="1115">
                        <c:v>37.090000000000003</c:v>
                      </c:pt>
                      <c:pt idx="1116">
                        <c:v>37.909999999999997</c:v>
                      </c:pt>
                      <c:pt idx="1117">
                        <c:v>37.19</c:v>
                      </c:pt>
                      <c:pt idx="1118">
                        <c:v>38.049999999999997</c:v>
                      </c:pt>
                      <c:pt idx="1119">
                        <c:v>43.79</c:v>
                      </c:pt>
                      <c:pt idx="1120">
                        <c:v>50.82</c:v>
                      </c:pt>
                      <c:pt idx="1121">
                        <c:v>53.3</c:v>
                      </c:pt>
                      <c:pt idx="1122">
                        <c:v>54.98</c:v>
                      </c:pt>
                      <c:pt idx="1123">
                        <c:v>50.92</c:v>
                      </c:pt>
                      <c:pt idx="1124">
                        <c:v>42.06</c:v>
                      </c:pt>
                      <c:pt idx="1125">
                        <c:v>38.950000000000003</c:v>
                      </c:pt>
                      <c:pt idx="1126">
                        <c:v>37.979999999999997</c:v>
                      </c:pt>
                      <c:pt idx="1127">
                        <c:v>33.299999999999997</c:v>
                      </c:pt>
                      <c:pt idx="1128">
                        <c:v>32.520000000000003</c:v>
                      </c:pt>
                      <c:pt idx="1129">
                        <c:v>31.69</c:v>
                      </c:pt>
                      <c:pt idx="1130">
                        <c:v>31.13</c:v>
                      </c:pt>
                      <c:pt idx="1131">
                        <c:v>31.35</c:v>
                      </c:pt>
                      <c:pt idx="1132">
                        <c:v>31.69</c:v>
                      </c:pt>
                      <c:pt idx="1133">
                        <c:v>32.5</c:v>
                      </c:pt>
                      <c:pt idx="1134">
                        <c:v>36.96</c:v>
                      </c:pt>
                      <c:pt idx="1135">
                        <c:v>47.95</c:v>
                      </c:pt>
                      <c:pt idx="1136">
                        <c:v>45.01</c:v>
                      </c:pt>
                      <c:pt idx="1137">
                        <c:v>44.05</c:v>
                      </c:pt>
                      <c:pt idx="1138">
                        <c:v>48.98</c:v>
                      </c:pt>
                      <c:pt idx="1139">
                        <c:v>49.9</c:v>
                      </c:pt>
                      <c:pt idx="1140">
                        <c:v>48.98</c:v>
                      </c:pt>
                      <c:pt idx="1141">
                        <c:v>40</c:v>
                      </c:pt>
                      <c:pt idx="1142">
                        <c:v>42.92</c:v>
                      </c:pt>
                      <c:pt idx="1143">
                        <c:v>48.53</c:v>
                      </c:pt>
                      <c:pt idx="1144">
                        <c:v>48.81</c:v>
                      </c:pt>
                      <c:pt idx="1145">
                        <c:v>50.92</c:v>
                      </c:pt>
                      <c:pt idx="1146">
                        <c:v>53.04</c:v>
                      </c:pt>
                      <c:pt idx="1147">
                        <c:v>51.14</c:v>
                      </c:pt>
                      <c:pt idx="1148">
                        <c:v>49.77</c:v>
                      </c:pt>
                      <c:pt idx="1149">
                        <c:v>49.52</c:v>
                      </c:pt>
                      <c:pt idx="1150">
                        <c:v>46.34</c:v>
                      </c:pt>
                      <c:pt idx="1151">
                        <c:v>38.82</c:v>
                      </c:pt>
                      <c:pt idx="1152">
                        <c:v>35.1</c:v>
                      </c:pt>
                      <c:pt idx="1153">
                        <c:v>33.090000000000003</c:v>
                      </c:pt>
                      <c:pt idx="1154">
                        <c:v>35.08</c:v>
                      </c:pt>
                      <c:pt idx="1155">
                        <c:v>34.299999999999997</c:v>
                      </c:pt>
                      <c:pt idx="1156">
                        <c:v>34.299999999999997</c:v>
                      </c:pt>
                      <c:pt idx="1157">
                        <c:v>35.36</c:v>
                      </c:pt>
                      <c:pt idx="1158">
                        <c:v>38.81</c:v>
                      </c:pt>
                      <c:pt idx="1159">
                        <c:v>42.08</c:v>
                      </c:pt>
                      <c:pt idx="1160">
                        <c:v>46.81</c:v>
                      </c:pt>
                      <c:pt idx="1161">
                        <c:v>50</c:v>
                      </c:pt>
                      <c:pt idx="1162">
                        <c:v>49.85</c:v>
                      </c:pt>
                      <c:pt idx="1163">
                        <c:v>48.24</c:v>
                      </c:pt>
                      <c:pt idx="1164">
                        <c:v>42.25</c:v>
                      </c:pt>
                      <c:pt idx="1165">
                        <c:v>36.64</c:v>
                      </c:pt>
                      <c:pt idx="1166">
                        <c:v>35.64</c:v>
                      </c:pt>
                      <c:pt idx="1167">
                        <c:v>37.35</c:v>
                      </c:pt>
                      <c:pt idx="1168">
                        <c:v>42.04</c:v>
                      </c:pt>
                      <c:pt idx="1169">
                        <c:v>47.94</c:v>
                      </c:pt>
                      <c:pt idx="1170">
                        <c:v>53.94</c:v>
                      </c:pt>
                      <c:pt idx="1171">
                        <c:v>48.46</c:v>
                      </c:pt>
                      <c:pt idx="1172">
                        <c:v>39.01</c:v>
                      </c:pt>
                      <c:pt idx="1173">
                        <c:v>35</c:v>
                      </c:pt>
                      <c:pt idx="1174">
                        <c:v>33.03</c:v>
                      </c:pt>
                      <c:pt idx="1175">
                        <c:v>30.29</c:v>
                      </c:pt>
                      <c:pt idx="1176">
                        <c:v>30.81</c:v>
                      </c:pt>
                      <c:pt idx="1177">
                        <c:v>21.68</c:v>
                      </c:pt>
                      <c:pt idx="1178">
                        <c:v>12.44</c:v>
                      </c:pt>
                      <c:pt idx="1179">
                        <c:v>9.93</c:v>
                      </c:pt>
                      <c:pt idx="1180">
                        <c:v>9.5299999999999994</c:v>
                      </c:pt>
                      <c:pt idx="1181">
                        <c:v>10.130000000000001</c:v>
                      </c:pt>
                      <c:pt idx="1182">
                        <c:v>10.3</c:v>
                      </c:pt>
                      <c:pt idx="1183">
                        <c:v>18.12</c:v>
                      </c:pt>
                      <c:pt idx="1184">
                        <c:v>25.47</c:v>
                      </c:pt>
                      <c:pt idx="1185">
                        <c:v>29.59</c:v>
                      </c:pt>
                      <c:pt idx="1186">
                        <c:v>29.82</c:v>
                      </c:pt>
                      <c:pt idx="1187">
                        <c:v>32.090000000000003</c:v>
                      </c:pt>
                      <c:pt idx="1188">
                        <c:v>30.17</c:v>
                      </c:pt>
                      <c:pt idx="1189">
                        <c:v>31.07</c:v>
                      </c:pt>
                      <c:pt idx="1190">
                        <c:v>31.41</c:v>
                      </c:pt>
                      <c:pt idx="1191">
                        <c:v>30.34</c:v>
                      </c:pt>
                      <c:pt idx="1192">
                        <c:v>31.99</c:v>
                      </c:pt>
                      <c:pt idx="1193">
                        <c:v>41.37</c:v>
                      </c:pt>
                      <c:pt idx="1194">
                        <c:v>53.65</c:v>
                      </c:pt>
                      <c:pt idx="1195">
                        <c:v>52.8</c:v>
                      </c:pt>
                      <c:pt idx="1196">
                        <c:v>39.28</c:v>
                      </c:pt>
                      <c:pt idx="1197">
                        <c:v>33.950000000000003</c:v>
                      </c:pt>
                      <c:pt idx="1198">
                        <c:v>35.049999999999997</c:v>
                      </c:pt>
                      <c:pt idx="1199">
                        <c:v>31.01</c:v>
                      </c:pt>
                      <c:pt idx="1200">
                        <c:v>30.75</c:v>
                      </c:pt>
                      <c:pt idx="1201">
                        <c:v>27.22</c:v>
                      </c:pt>
                      <c:pt idx="1202">
                        <c:v>26.5</c:v>
                      </c:pt>
                      <c:pt idx="1203">
                        <c:v>25.04</c:v>
                      </c:pt>
                      <c:pt idx="1204">
                        <c:v>20.95</c:v>
                      </c:pt>
                      <c:pt idx="1205">
                        <c:v>21.93</c:v>
                      </c:pt>
                      <c:pt idx="1206">
                        <c:v>38.49</c:v>
                      </c:pt>
                      <c:pt idx="1207">
                        <c:v>48.35</c:v>
                      </c:pt>
                      <c:pt idx="1208">
                        <c:v>45.82</c:v>
                      </c:pt>
                      <c:pt idx="1209">
                        <c:v>38.92</c:v>
                      </c:pt>
                      <c:pt idx="1210">
                        <c:v>37.92</c:v>
                      </c:pt>
                      <c:pt idx="1211">
                        <c:v>39.380000000000003</c:v>
                      </c:pt>
                      <c:pt idx="1212">
                        <c:v>39.18</c:v>
                      </c:pt>
                      <c:pt idx="1213">
                        <c:v>36.08</c:v>
                      </c:pt>
                      <c:pt idx="1214">
                        <c:v>33.03</c:v>
                      </c:pt>
                      <c:pt idx="1215">
                        <c:v>31.87</c:v>
                      </c:pt>
                      <c:pt idx="1216">
                        <c:v>31.63</c:v>
                      </c:pt>
                      <c:pt idx="1217">
                        <c:v>34.92</c:v>
                      </c:pt>
                      <c:pt idx="1218">
                        <c:v>37.94</c:v>
                      </c:pt>
                      <c:pt idx="1219">
                        <c:v>34.270000000000003</c:v>
                      </c:pt>
                      <c:pt idx="1220">
                        <c:v>29.92</c:v>
                      </c:pt>
                      <c:pt idx="1221">
                        <c:v>19.22</c:v>
                      </c:pt>
                      <c:pt idx="1222">
                        <c:v>9.94</c:v>
                      </c:pt>
                      <c:pt idx="1223">
                        <c:v>9.48</c:v>
                      </c:pt>
                      <c:pt idx="1224">
                        <c:v>12.54</c:v>
                      </c:pt>
                      <c:pt idx="1225">
                        <c:v>10.19</c:v>
                      </c:pt>
                      <c:pt idx="1226">
                        <c:v>10.06</c:v>
                      </c:pt>
                      <c:pt idx="1227">
                        <c:v>11.12</c:v>
                      </c:pt>
                      <c:pt idx="1228">
                        <c:v>12.56</c:v>
                      </c:pt>
                      <c:pt idx="1229">
                        <c:v>25.16</c:v>
                      </c:pt>
                      <c:pt idx="1230">
                        <c:v>33</c:v>
                      </c:pt>
                      <c:pt idx="1231">
                        <c:v>38.96</c:v>
                      </c:pt>
                      <c:pt idx="1232">
                        <c:v>38.94</c:v>
                      </c:pt>
                      <c:pt idx="1233">
                        <c:v>38.94</c:v>
                      </c:pt>
                      <c:pt idx="1234">
                        <c:v>38.950000000000003</c:v>
                      </c:pt>
                      <c:pt idx="1235">
                        <c:v>38.950000000000003</c:v>
                      </c:pt>
                      <c:pt idx="1236">
                        <c:v>36.630000000000003</c:v>
                      </c:pt>
                      <c:pt idx="1237">
                        <c:v>36.65</c:v>
                      </c:pt>
                      <c:pt idx="1238">
                        <c:v>36.409999999999997</c:v>
                      </c:pt>
                      <c:pt idx="1239">
                        <c:v>36.68</c:v>
                      </c:pt>
                      <c:pt idx="1240">
                        <c:v>34.979999999999997</c:v>
                      </c:pt>
                      <c:pt idx="1241">
                        <c:v>39.9</c:v>
                      </c:pt>
                      <c:pt idx="1242">
                        <c:v>57.42</c:v>
                      </c:pt>
                      <c:pt idx="1243">
                        <c:v>45.8</c:v>
                      </c:pt>
                      <c:pt idx="1244">
                        <c:v>46.14</c:v>
                      </c:pt>
                      <c:pt idx="1245">
                        <c:v>40</c:v>
                      </c:pt>
                      <c:pt idx="1246">
                        <c:v>34.25</c:v>
                      </c:pt>
                      <c:pt idx="1247">
                        <c:v>30.03</c:v>
                      </c:pt>
                      <c:pt idx="1248">
                        <c:v>22.92</c:v>
                      </c:pt>
                      <c:pt idx="1249">
                        <c:v>10.26</c:v>
                      </c:pt>
                      <c:pt idx="1250">
                        <c:v>9.5</c:v>
                      </c:pt>
                      <c:pt idx="1251">
                        <c:v>7.66</c:v>
                      </c:pt>
                      <c:pt idx="1252">
                        <c:v>5.03</c:v>
                      </c:pt>
                      <c:pt idx="1253">
                        <c:v>7.68</c:v>
                      </c:pt>
                      <c:pt idx="1254">
                        <c:v>21.52</c:v>
                      </c:pt>
                      <c:pt idx="1255">
                        <c:v>31.86</c:v>
                      </c:pt>
                      <c:pt idx="1256">
                        <c:v>32.51</c:v>
                      </c:pt>
                      <c:pt idx="1257">
                        <c:v>32.51</c:v>
                      </c:pt>
                      <c:pt idx="1258">
                        <c:v>32.29</c:v>
                      </c:pt>
                      <c:pt idx="1259">
                        <c:v>32.96</c:v>
                      </c:pt>
                      <c:pt idx="1260">
                        <c:v>32.01</c:v>
                      </c:pt>
                      <c:pt idx="1261">
                        <c:v>30.94</c:v>
                      </c:pt>
                      <c:pt idx="1262">
                        <c:v>29.94</c:v>
                      </c:pt>
                      <c:pt idx="1263">
                        <c:v>31.28</c:v>
                      </c:pt>
                      <c:pt idx="1264">
                        <c:v>31.24</c:v>
                      </c:pt>
                      <c:pt idx="1265">
                        <c:v>32.479999999999997</c:v>
                      </c:pt>
                      <c:pt idx="1266">
                        <c:v>35.93</c:v>
                      </c:pt>
                      <c:pt idx="1267">
                        <c:v>34.049999999999997</c:v>
                      </c:pt>
                      <c:pt idx="1268">
                        <c:v>31.65</c:v>
                      </c:pt>
                      <c:pt idx="1269">
                        <c:v>23.45</c:v>
                      </c:pt>
                      <c:pt idx="1270">
                        <c:v>10.26</c:v>
                      </c:pt>
                      <c:pt idx="1271">
                        <c:v>9.4700000000000006</c:v>
                      </c:pt>
                      <c:pt idx="1272">
                        <c:v>-6.58</c:v>
                      </c:pt>
                      <c:pt idx="1273">
                        <c:v>-5.03</c:v>
                      </c:pt>
                      <c:pt idx="1274">
                        <c:v>0.01</c:v>
                      </c:pt>
                      <c:pt idx="1275">
                        <c:v>7.03</c:v>
                      </c:pt>
                      <c:pt idx="1276">
                        <c:v>9.44</c:v>
                      </c:pt>
                      <c:pt idx="1277">
                        <c:v>25.53</c:v>
                      </c:pt>
                      <c:pt idx="1278">
                        <c:v>35</c:v>
                      </c:pt>
                      <c:pt idx="1279">
                        <c:v>46.01</c:v>
                      </c:pt>
                      <c:pt idx="1280">
                        <c:v>48.5</c:v>
                      </c:pt>
                      <c:pt idx="1281">
                        <c:v>46.41</c:v>
                      </c:pt>
                      <c:pt idx="1282">
                        <c:v>43.36</c:v>
                      </c:pt>
                      <c:pt idx="1283">
                        <c:v>40.61</c:v>
                      </c:pt>
                      <c:pt idx="1284">
                        <c:v>32.909999999999997</c:v>
                      </c:pt>
                      <c:pt idx="1285">
                        <c:v>32.4</c:v>
                      </c:pt>
                      <c:pt idx="1286">
                        <c:v>31.24</c:v>
                      </c:pt>
                      <c:pt idx="1287">
                        <c:v>27.68</c:v>
                      </c:pt>
                      <c:pt idx="1288">
                        <c:v>27.64</c:v>
                      </c:pt>
                      <c:pt idx="1289">
                        <c:v>32.03</c:v>
                      </c:pt>
                      <c:pt idx="1290">
                        <c:v>32.93</c:v>
                      </c:pt>
                      <c:pt idx="1291">
                        <c:v>32.090000000000003</c:v>
                      </c:pt>
                      <c:pt idx="1292">
                        <c:v>29.79</c:v>
                      </c:pt>
                      <c:pt idx="1293">
                        <c:v>24.07</c:v>
                      </c:pt>
                      <c:pt idx="1294">
                        <c:v>12.03</c:v>
                      </c:pt>
                      <c:pt idx="1295">
                        <c:v>9.27</c:v>
                      </c:pt>
                      <c:pt idx="1296">
                        <c:v>6.93</c:v>
                      </c:pt>
                      <c:pt idx="1297">
                        <c:v>-4.99</c:v>
                      </c:pt>
                      <c:pt idx="1298">
                        <c:v>-27.08</c:v>
                      </c:pt>
                      <c:pt idx="1299">
                        <c:v>-0.9</c:v>
                      </c:pt>
                      <c:pt idx="1300">
                        <c:v>7</c:v>
                      </c:pt>
                      <c:pt idx="1301">
                        <c:v>9.49</c:v>
                      </c:pt>
                      <c:pt idx="1302">
                        <c:v>30.04</c:v>
                      </c:pt>
                      <c:pt idx="1303">
                        <c:v>33.44</c:v>
                      </c:pt>
                      <c:pt idx="1304">
                        <c:v>34.299999999999997</c:v>
                      </c:pt>
                      <c:pt idx="1305">
                        <c:v>33.909999999999997</c:v>
                      </c:pt>
                      <c:pt idx="1306">
                        <c:v>33.479999999999997</c:v>
                      </c:pt>
                      <c:pt idx="1307">
                        <c:v>33.18</c:v>
                      </c:pt>
                      <c:pt idx="1308">
                        <c:v>32.49</c:v>
                      </c:pt>
                      <c:pt idx="1309">
                        <c:v>32.409999999999997</c:v>
                      </c:pt>
                      <c:pt idx="1310">
                        <c:v>32.24</c:v>
                      </c:pt>
                      <c:pt idx="1311">
                        <c:v>34.9</c:v>
                      </c:pt>
                      <c:pt idx="1312">
                        <c:v>44.92</c:v>
                      </c:pt>
                      <c:pt idx="1313">
                        <c:v>50.1</c:v>
                      </c:pt>
                      <c:pt idx="1314">
                        <c:v>57.52</c:v>
                      </c:pt>
                      <c:pt idx="1315">
                        <c:v>58.19</c:v>
                      </c:pt>
                      <c:pt idx="1316">
                        <c:v>43.94</c:v>
                      </c:pt>
                      <c:pt idx="1317">
                        <c:v>38.06</c:v>
                      </c:pt>
                      <c:pt idx="1318">
                        <c:v>39.68</c:v>
                      </c:pt>
                      <c:pt idx="1319">
                        <c:v>36.659999999999997</c:v>
                      </c:pt>
                      <c:pt idx="1320">
                        <c:v>29.28</c:v>
                      </c:pt>
                      <c:pt idx="1321">
                        <c:v>29.09</c:v>
                      </c:pt>
                      <c:pt idx="1322">
                        <c:v>28.94</c:v>
                      </c:pt>
                      <c:pt idx="1323">
                        <c:v>29.45</c:v>
                      </c:pt>
                      <c:pt idx="1324">
                        <c:v>29.93</c:v>
                      </c:pt>
                      <c:pt idx="1325">
                        <c:v>29.53</c:v>
                      </c:pt>
                      <c:pt idx="1326">
                        <c:v>32.869999999999997</c:v>
                      </c:pt>
                      <c:pt idx="1327">
                        <c:v>41.48</c:v>
                      </c:pt>
                      <c:pt idx="1328">
                        <c:v>41.99</c:v>
                      </c:pt>
                      <c:pt idx="1329">
                        <c:v>40.44</c:v>
                      </c:pt>
                      <c:pt idx="1330">
                        <c:v>37.130000000000003</c:v>
                      </c:pt>
                      <c:pt idx="1331">
                        <c:v>32.04</c:v>
                      </c:pt>
                      <c:pt idx="1332">
                        <c:v>29.46</c:v>
                      </c:pt>
                      <c:pt idx="1333">
                        <c:v>28.01</c:v>
                      </c:pt>
                      <c:pt idx="1334">
                        <c:v>22.86</c:v>
                      </c:pt>
                      <c:pt idx="1335">
                        <c:v>28.88</c:v>
                      </c:pt>
                      <c:pt idx="1336">
                        <c:v>30.16</c:v>
                      </c:pt>
                      <c:pt idx="1337">
                        <c:v>38</c:v>
                      </c:pt>
                      <c:pt idx="1338">
                        <c:v>39.57</c:v>
                      </c:pt>
                      <c:pt idx="1339">
                        <c:v>34.65</c:v>
                      </c:pt>
                      <c:pt idx="1340">
                        <c:v>26.01</c:v>
                      </c:pt>
                      <c:pt idx="1341">
                        <c:v>12.94</c:v>
                      </c:pt>
                      <c:pt idx="1342">
                        <c:v>11.91</c:v>
                      </c:pt>
                      <c:pt idx="1343">
                        <c:v>8.8000000000000007</c:v>
                      </c:pt>
                      <c:pt idx="1344">
                        <c:v>7.83</c:v>
                      </c:pt>
                      <c:pt idx="1345">
                        <c:v>3</c:v>
                      </c:pt>
                      <c:pt idx="1346">
                        <c:v>4.6500000000000004</c:v>
                      </c:pt>
                      <c:pt idx="1347">
                        <c:v>7.74</c:v>
                      </c:pt>
                      <c:pt idx="1348">
                        <c:v>8.02</c:v>
                      </c:pt>
                      <c:pt idx="1349">
                        <c:v>8.9499999999999993</c:v>
                      </c:pt>
                      <c:pt idx="1350">
                        <c:v>7.83</c:v>
                      </c:pt>
                      <c:pt idx="1351">
                        <c:v>7.84</c:v>
                      </c:pt>
                      <c:pt idx="1352">
                        <c:v>9.6300000000000008</c:v>
                      </c:pt>
                      <c:pt idx="1353">
                        <c:v>10.36</c:v>
                      </c:pt>
                      <c:pt idx="1354">
                        <c:v>12.91</c:v>
                      </c:pt>
                      <c:pt idx="1355">
                        <c:v>12.98</c:v>
                      </c:pt>
                      <c:pt idx="1356">
                        <c:v>9.92</c:v>
                      </c:pt>
                      <c:pt idx="1357">
                        <c:v>9.75</c:v>
                      </c:pt>
                      <c:pt idx="1358">
                        <c:v>9.98</c:v>
                      </c:pt>
                      <c:pt idx="1359">
                        <c:v>10.4</c:v>
                      </c:pt>
                      <c:pt idx="1360">
                        <c:v>12.78</c:v>
                      </c:pt>
                      <c:pt idx="1361">
                        <c:v>28</c:v>
                      </c:pt>
                      <c:pt idx="1362">
                        <c:v>31.76</c:v>
                      </c:pt>
                      <c:pt idx="1363">
                        <c:v>30.96</c:v>
                      </c:pt>
                      <c:pt idx="1364">
                        <c:v>25.34</c:v>
                      </c:pt>
                      <c:pt idx="1365">
                        <c:v>23.86</c:v>
                      </c:pt>
                      <c:pt idx="1366">
                        <c:v>20.86</c:v>
                      </c:pt>
                      <c:pt idx="1367">
                        <c:v>10.35</c:v>
                      </c:pt>
                      <c:pt idx="1368">
                        <c:v>22.01</c:v>
                      </c:pt>
                      <c:pt idx="1369">
                        <c:v>15.48</c:v>
                      </c:pt>
                      <c:pt idx="1370">
                        <c:v>12.54</c:v>
                      </c:pt>
                      <c:pt idx="1371">
                        <c:v>15.59</c:v>
                      </c:pt>
                      <c:pt idx="1372">
                        <c:v>18.84</c:v>
                      </c:pt>
                      <c:pt idx="1373">
                        <c:v>30.11</c:v>
                      </c:pt>
                      <c:pt idx="1374">
                        <c:v>38.659999999999997</c:v>
                      </c:pt>
                      <c:pt idx="1375">
                        <c:v>47.29</c:v>
                      </c:pt>
                      <c:pt idx="1376">
                        <c:v>47.52</c:v>
                      </c:pt>
                      <c:pt idx="1377">
                        <c:v>39.94</c:v>
                      </c:pt>
                      <c:pt idx="1378">
                        <c:v>36.869999999999997</c:v>
                      </c:pt>
                      <c:pt idx="1379">
                        <c:v>36.6</c:v>
                      </c:pt>
                      <c:pt idx="1380">
                        <c:v>30.91</c:v>
                      </c:pt>
                      <c:pt idx="1381">
                        <c:v>30.58</c:v>
                      </c:pt>
                      <c:pt idx="1382">
                        <c:v>30.59</c:v>
                      </c:pt>
                      <c:pt idx="1383">
                        <c:v>30.83</c:v>
                      </c:pt>
                      <c:pt idx="1384">
                        <c:v>32.15</c:v>
                      </c:pt>
                      <c:pt idx="1385">
                        <c:v>32.89</c:v>
                      </c:pt>
                      <c:pt idx="1386">
                        <c:v>34.44</c:v>
                      </c:pt>
                      <c:pt idx="1387">
                        <c:v>32.46</c:v>
                      </c:pt>
                      <c:pt idx="1388">
                        <c:v>30.62</c:v>
                      </c:pt>
                      <c:pt idx="1389">
                        <c:v>27.05</c:v>
                      </c:pt>
                      <c:pt idx="1390">
                        <c:v>12.96</c:v>
                      </c:pt>
                      <c:pt idx="1391">
                        <c:v>7.95</c:v>
                      </c:pt>
                      <c:pt idx="1392">
                        <c:v>7.81</c:v>
                      </c:pt>
                      <c:pt idx="1393">
                        <c:v>7.89</c:v>
                      </c:pt>
                      <c:pt idx="1394">
                        <c:v>7.86</c:v>
                      </c:pt>
                      <c:pt idx="1395">
                        <c:v>8.56</c:v>
                      </c:pt>
                      <c:pt idx="1396">
                        <c:v>9.7899999999999991</c:v>
                      </c:pt>
                      <c:pt idx="1397">
                        <c:v>10.34</c:v>
                      </c:pt>
                      <c:pt idx="1398">
                        <c:v>28.99</c:v>
                      </c:pt>
                      <c:pt idx="1399">
                        <c:v>32.86</c:v>
                      </c:pt>
                      <c:pt idx="1400">
                        <c:v>33.200000000000003</c:v>
                      </c:pt>
                      <c:pt idx="1401">
                        <c:v>31.02</c:v>
                      </c:pt>
                      <c:pt idx="1402">
                        <c:v>30.76</c:v>
                      </c:pt>
                      <c:pt idx="1403">
                        <c:v>30.57</c:v>
                      </c:pt>
                      <c:pt idx="1404">
                        <c:v>32.42</c:v>
                      </c:pt>
                      <c:pt idx="1405">
                        <c:v>39.799999999999997</c:v>
                      </c:pt>
                      <c:pt idx="1406">
                        <c:v>39.86</c:v>
                      </c:pt>
                      <c:pt idx="1407">
                        <c:v>39.17</c:v>
                      </c:pt>
                      <c:pt idx="1408">
                        <c:v>39.520000000000003</c:v>
                      </c:pt>
                      <c:pt idx="1409">
                        <c:v>40.130000000000003</c:v>
                      </c:pt>
                      <c:pt idx="1410">
                        <c:v>49.2</c:v>
                      </c:pt>
                      <c:pt idx="1411">
                        <c:v>53.12</c:v>
                      </c:pt>
                      <c:pt idx="1412">
                        <c:v>39.11</c:v>
                      </c:pt>
                      <c:pt idx="1413">
                        <c:v>38.78</c:v>
                      </c:pt>
                      <c:pt idx="1414">
                        <c:v>31.4</c:v>
                      </c:pt>
                      <c:pt idx="1415">
                        <c:v>30.06</c:v>
                      </c:pt>
                      <c:pt idx="1416">
                        <c:v>31.05</c:v>
                      </c:pt>
                      <c:pt idx="1417">
                        <c:v>29.57</c:v>
                      </c:pt>
                      <c:pt idx="1418">
                        <c:v>28.61</c:v>
                      </c:pt>
                      <c:pt idx="1419">
                        <c:v>25.52</c:v>
                      </c:pt>
                      <c:pt idx="1420">
                        <c:v>28.65</c:v>
                      </c:pt>
                      <c:pt idx="1421">
                        <c:v>29.98</c:v>
                      </c:pt>
                      <c:pt idx="1422">
                        <c:v>32.4</c:v>
                      </c:pt>
                      <c:pt idx="1423">
                        <c:v>41.96</c:v>
                      </c:pt>
                      <c:pt idx="1424">
                        <c:v>42.08</c:v>
                      </c:pt>
                      <c:pt idx="1425">
                        <c:v>39.99</c:v>
                      </c:pt>
                      <c:pt idx="1426">
                        <c:v>39.9</c:v>
                      </c:pt>
                      <c:pt idx="1427">
                        <c:v>36.92</c:v>
                      </c:pt>
                      <c:pt idx="1428">
                        <c:v>31.22</c:v>
                      </c:pt>
                      <c:pt idx="1429">
                        <c:v>30.74</c:v>
                      </c:pt>
                      <c:pt idx="1430">
                        <c:v>30.83</c:v>
                      </c:pt>
                      <c:pt idx="1431">
                        <c:v>32.159999999999997</c:v>
                      </c:pt>
                      <c:pt idx="1432">
                        <c:v>38.630000000000003</c:v>
                      </c:pt>
                      <c:pt idx="1433">
                        <c:v>46.82</c:v>
                      </c:pt>
                      <c:pt idx="1434">
                        <c:v>51.99</c:v>
                      </c:pt>
                      <c:pt idx="1435">
                        <c:v>49.68</c:v>
                      </c:pt>
                      <c:pt idx="1436">
                        <c:v>39.93</c:v>
                      </c:pt>
                      <c:pt idx="1437">
                        <c:v>34.9</c:v>
                      </c:pt>
                      <c:pt idx="1438">
                        <c:v>31.93</c:v>
                      </c:pt>
                      <c:pt idx="1439">
                        <c:v>29.7</c:v>
                      </c:pt>
                      <c:pt idx="1440">
                        <c:v>29.73</c:v>
                      </c:pt>
                      <c:pt idx="1441">
                        <c:v>29.49</c:v>
                      </c:pt>
                      <c:pt idx="1442">
                        <c:v>25.99</c:v>
                      </c:pt>
                      <c:pt idx="1443">
                        <c:v>26</c:v>
                      </c:pt>
                      <c:pt idx="1444">
                        <c:v>26.17</c:v>
                      </c:pt>
                      <c:pt idx="1445">
                        <c:v>26.04</c:v>
                      </c:pt>
                      <c:pt idx="1446">
                        <c:v>31.04</c:v>
                      </c:pt>
                      <c:pt idx="1447">
                        <c:v>33.57</c:v>
                      </c:pt>
                      <c:pt idx="1448">
                        <c:v>34.19</c:v>
                      </c:pt>
                      <c:pt idx="1449">
                        <c:v>30.85</c:v>
                      </c:pt>
                      <c:pt idx="1450">
                        <c:v>26</c:v>
                      </c:pt>
                      <c:pt idx="1451">
                        <c:v>25.08</c:v>
                      </c:pt>
                      <c:pt idx="1452">
                        <c:v>12.63</c:v>
                      </c:pt>
                      <c:pt idx="1453">
                        <c:v>10.45</c:v>
                      </c:pt>
                      <c:pt idx="1454">
                        <c:v>10.48</c:v>
                      </c:pt>
                      <c:pt idx="1455">
                        <c:v>25.01</c:v>
                      </c:pt>
                      <c:pt idx="1456">
                        <c:v>25.92</c:v>
                      </c:pt>
                      <c:pt idx="1457">
                        <c:v>32.17</c:v>
                      </c:pt>
                      <c:pt idx="1458">
                        <c:v>39.9</c:v>
                      </c:pt>
                      <c:pt idx="1459">
                        <c:v>38.909999999999997</c:v>
                      </c:pt>
                      <c:pt idx="1460">
                        <c:v>31.95</c:v>
                      </c:pt>
                      <c:pt idx="1461">
                        <c:v>30.47</c:v>
                      </c:pt>
                      <c:pt idx="1462">
                        <c:v>29.25</c:v>
                      </c:pt>
                      <c:pt idx="1463">
                        <c:v>25.07</c:v>
                      </c:pt>
                      <c:pt idx="1464">
                        <c:v>27.02</c:v>
                      </c:pt>
                      <c:pt idx="1465">
                        <c:v>26.47</c:v>
                      </c:pt>
                      <c:pt idx="1466">
                        <c:v>26.03</c:v>
                      </c:pt>
                      <c:pt idx="1467">
                        <c:v>28.99</c:v>
                      </c:pt>
                      <c:pt idx="1468">
                        <c:v>30.91</c:v>
                      </c:pt>
                      <c:pt idx="1469">
                        <c:v>32.36</c:v>
                      </c:pt>
                      <c:pt idx="1470">
                        <c:v>41.91</c:v>
                      </c:pt>
                      <c:pt idx="1471">
                        <c:v>48</c:v>
                      </c:pt>
                      <c:pt idx="1472">
                        <c:v>47.57</c:v>
                      </c:pt>
                      <c:pt idx="1473">
                        <c:v>46.5</c:v>
                      </c:pt>
                      <c:pt idx="1474">
                        <c:v>43.49</c:v>
                      </c:pt>
                      <c:pt idx="1475">
                        <c:v>43.47</c:v>
                      </c:pt>
                      <c:pt idx="1476">
                        <c:v>41.02</c:v>
                      </c:pt>
                      <c:pt idx="1477">
                        <c:v>39.83</c:v>
                      </c:pt>
                      <c:pt idx="1478">
                        <c:v>39.1</c:v>
                      </c:pt>
                      <c:pt idx="1479">
                        <c:v>38.6</c:v>
                      </c:pt>
                      <c:pt idx="1480">
                        <c:v>40.97</c:v>
                      </c:pt>
                      <c:pt idx="1481">
                        <c:v>41.91</c:v>
                      </c:pt>
                      <c:pt idx="1482">
                        <c:v>42.18</c:v>
                      </c:pt>
                      <c:pt idx="1483">
                        <c:v>44.95</c:v>
                      </c:pt>
                      <c:pt idx="1484">
                        <c:v>41.01</c:v>
                      </c:pt>
                      <c:pt idx="1485">
                        <c:v>35.29</c:v>
                      </c:pt>
                      <c:pt idx="1486">
                        <c:v>36.25</c:v>
                      </c:pt>
                      <c:pt idx="1487">
                        <c:v>34.56</c:v>
                      </c:pt>
                      <c:pt idx="1488">
                        <c:v>31.6</c:v>
                      </c:pt>
                      <c:pt idx="1489">
                        <c:v>30.25</c:v>
                      </c:pt>
                      <c:pt idx="1490">
                        <c:v>30.04</c:v>
                      </c:pt>
                      <c:pt idx="1491">
                        <c:v>28.44</c:v>
                      </c:pt>
                      <c:pt idx="1492">
                        <c:v>28.26</c:v>
                      </c:pt>
                      <c:pt idx="1493">
                        <c:v>29.22</c:v>
                      </c:pt>
                      <c:pt idx="1494">
                        <c:v>28.16</c:v>
                      </c:pt>
                      <c:pt idx="1495">
                        <c:v>30</c:v>
                      </c:pt>
                      <c:pt idx="1496">
                        <c:v>33.96</c:v>
                      </c:pt>
                      <c:pt idx="1497">
                        <c:v>39.340000000000003</c:v>
                      </c:pt>
                      <c:pt idx="1498">
                        <c:v>36.729999999999997</c:v>
                      </c:pt>
                      <c:pt idx="1499">
                        <c:v>36.69</c:v>
                      </c:pt>
                      <c:pt idx="1500">
                        <c:v>33.76</c:v>
                      </c:pt>
                      <c:pt idx="1501">
                        <c:v>31.44</c:v>
                      </c:pt>
                      <c:pt idx="1502">
                        <c:v>31.81</c:v>
                      </c:pt>
                      <c:pt idx="1503">
                        <c:v>33.67</c:v>
                      </c:pt>
                      <c:pt idx="1504">
                        <c:v>34.9</c:v>
                      </c:pt>
                      <c:pt idx="1505">
                        <c:v>40.44</c:v>
                      </c:pt>
                      <c:pt idx="1506">
                        <c:v>44.69</c:v>
                      </c:pt>
                      <c:pt idx="1507">
                        <c:v>47.25</c:v>
                      </c:pt>
                      <c:pt idx="1508">
                        <c:v>42.01</c:v>
                      </c:pt>
                      <c:pt idx="1509">
                        <c:v>35.07</c:v>
                      </c:pt>
                      <c:pt idx="1510">
                        <c:v>31.87</c:v>
                      </c:pt>
                      <c:pt idx="1511">
                        <c:v>22.68</c:v>
                      </c:pt>
                      <c:pt idx="1512">
                        <c:v>21.11</c:v>
                      </c:pt>
                      <c:pt idx="1513">
                        <c:v>15.44</c:v>
                      </c:pt>
                      <c:pt idx="1514">
                        <c:v>11.56</c:v>
                      </c:pt>
                      <c:pt idx="1515">
                        <c:v>10.6</c:v>
                      </c:pt>
                      <c:pt idx="1516">
                        <c:v>9.84</c:v>
                      </c:pt>
                      <c:pt idx="1517">
                        <c:v>8.06</c:v>
                      </c:pt>
                      <c:pt idx="1518">
                        <c:v>9.83</c:v>
                      </c:pt>
                      <c:pt idx="1519">
                        <c:v>9.1300000000000008</c:v>
                      </c:pt>
                      <c:pt idx="1520">
                        <c:v>9.8800000000000008</c:v>
                      </c:pt>
                      <c:pt idx="1521">
                        <c:v>11.32</c:v>
                      </c:pt>
                      <c:pt idx="1522">
                        <c:v>9.9700000000000006</c:v>
                      </c:pt>
                      <c:pt idx="1523">
                        <c:v>10</c:v>
                      </c:pt>
                      <c:pt idx="1524">
                        <c:v>10.8</c:v>
                      </c:pt>
                      <c:pt idx="1525">
                        <c:v>9.9600000000000009</c:v>
                      </c:pt>
                      <c:pt idx="1526">
                        <c:v>9.4</c:v>
                      </c:pt>
                      <c:pt idx="1527">
                        <c:v>9.9600000000000009</c:v>
                      </c:pt>
                      <c:pt idx="1528">
                        <c:v>17.22</c:v>
                      </c:pt>
                      <c:pt idx="1529">
                        <c:v>30.03</c:v>
                      </c:pt>
                      <c:pt idx="1530">
                        <c:v>33.69</c:v>
                      </c:pt>
                      <c:pt idx="1531">
                        <c:v>37.950000000000003</c:v>
                      </c:pt>
                      <c:pt idx="1532">
                        <c:v>35.020000000000003</c:v>
                      </c:pt>
                      <c:pt idx="1533">
                        <c:v>32.85</c:v>
                      </c:pt>
                      <c:pt idx="1534">
                        <c:v>32.92</c:v>
                      </c:pt>
                      <c:pt idx="1535">
                        <c:v>31.67</c:v>
                      </c:pt>
                      <c:pt idx="1536">
                        <c:v>31.24</c:v>
                      </c:pt>
                      <c:pt idx="1537">
                        <c:v>29.04</c:v>
                      </c:pt>
                      <c:pt idx="1538">
                        <c:v>27.99</c:v>
                      </c:pt>
                      <c:pt idx="1539">
                        <c:v>25.35</c:v>
                      </c:pt>
                      <c:pt idx="1540">
                        <c:v>27.3</c:v>
                      </c:pt>
                      <c:pt idx="1541">
                        <c:v>29.07</c:v>
                      </c:pt>
                      <c:pt idx="1542">
                        <c:v>34.979999999999997</c:v>
                      </c:pt>
                      <c:pt idx="1543">
                        <c:v>42.4</c:v>
                      </c:pt>
                      <c:pt idx="1544">
                        <c:v>44.28</c:v>
                      </c:pt>
                      <c:pt idx="1545">
                        <c:v>47.03</c:v>
                      </c:pt>
                      <c:pt idx="1546">
                        <c:v>46.58</c:v>
                      </c:pt>
                      <c:pt idx="1547">
                        <c:v>46.36</c:v>
                      </c:pt>
                      <c:pt idx="1548">
                        <c:v>43.92</c:v>
                      </c:pt>
                      <c:pt idx="1549">
                        <c:v>39.9</c:v>
                      </c:pt>
                      <c:pt idx="1550">
                        <c:v>36.07</c:v>
                      </c:pt>
                      <c:pt idx="1551">
                        <c:v>39.9</c:v>
                      </c:pt>
                      <c:pt idx="1552">
                        <c:v>42.91</c:v>
                      </c:pt>
                      <c:pt idx="1553">
                        <c:v>46.15</c:v>
                      </c:pt>
                      <c:pt idx="1554">
                        <c:v>49.59</c:v>
                      </c:pt>
                      <c:pt idx="1555">
                        <c:v>51.66</c:v>
                      </c:pt>
                      <c:pt idx="1556">
                        <c:v>46.05</c:v>
                      </c:pt>
                      <c:pt idx="1557">
                        <c:v>37.4</c:v>
                      </c:pt>
                      <c:pt idx="1558">
                        <c:v>35</c:v>
                      </c:pt>
                      <c:pt idx="1559">
                        <c:v>31.93</c:v>
                      </c:pt>
                      <c:pt idx="1560">
                        <c:v>31.07</c:v>
                      </c:pt>
                      <c:pt idx="1561">
                        <c:v>30.01</c:v>
                      </c:pt>
                      <c:pt idx="1562">
                        <c:v>29.99</c:v>
                      </c:pt>
                      <c:pt idx="1563">
                        <c:v>29.64</c:v>
                      </c:pt>
                      <c:pt idx="1564">
                        <c:v>30.6</c:v>
                      </c:pt>
                      <c:pt idx="1565">
                        <c:v>32.979999999999997</c:v>
                      </c:pt>
                      <c:pt idx="1566">
                        <c:v>36</c:v>
                      </c:pt>
                      <c:pt idx="1567">
                        <c:v>50.19</c:v>
                      </c:pt>
                      <c:pt idx="1568">
                        <c:v>54.25</c:v>
                      </c:pt>
                      <c:pt idx="1569">
                        <c:v>54.1</c:v>
                      </c:pt>
                      <c:pt idx="1570">
                        <c:v>53.93</c:v>
                      </c:pt>
                      <c:pt idx="1571">
                        <c:v>51.54</c:v>
                      </c:pt>
                      <c:pt idx="1572">
                        <c:v>49.9</c:v>
                      </c:pt>
                      <c:pt idx="1573">
                        <c:v>49.07</c:v>
                      </c:pt>
                      <c:pt idx="1574">
                        <c:v>48.69</c:v>
                      </c:pt>
                      <c:pt idx="1575">
                        <c:v>47.75</c:v>
                      </c:pt>
                      <c:pt idx="1576">
                        <c:v>48</c:v>
                      </c:pt>
                      <c:pt idx="1577">
                        <c:v>50.31</c:v>
                      </c:pt>
                      <c:pt idx="1578">
                        <c:v>57.52</c:v>
                      </c:pt>
                      <c:pt idx="1579">
                        <c:v>61.05</c:v>
                      </c:pt>
                      <c:pt idx="1580">
                        <c:v>51.93</c:v>
                      </c:pt>
                      <c:pt idx="1581">
                        <c:v>43.93</c:v>
                      </c:pt>
                      <c:pt idx="1582">
                        <c:v>41.94</c:v>
                      </c:pt>
                      <c:pt idx="1583">
                        <c:v>33.729999999999997</c:v>
                      </c:pt>
                      <c:pt idx="1584">
                        <c:v>33.979999999999997</c:v>
                      </c:pt>
                      <c:pt idx="1585">
                        <c:v>32.76</c:v>
                      </c:pt>
                      <c:pt idx="1586">
                        <c:v>32</c:v>
                      </c:pt>
                      <c:pt idx="1587">
                        <c:v>31.38</c:v>
                      </c:pt>
                      <c:pt idx="1588">
                        <c:v>31.2</c:v>
                      </c:pt>
                      <c:pt idx="1589">
                        <c:v>32.06</c:v>
                      </c:pt>
                      <c:pt idx="1590">
                        <c:v>41.04</c:v>
                      </c:pt>
                      <c:pt idx="1591">
                        <c:v>49.61</c:v>
                      </c:pt>
                      <c:pt idx="1592">
                        <c:v>49.93</c:v>
                      </c:pt>
                      <c:pt idx="1593">
                        <c:v>43.44</c:v>
                      </c:pt>
                      <c:pt idx="1594">
                        <c:v>41</c:v>
                      </c:pt>
                      <c:pt idx="1595">
                        <c:v>38.1</c:v>
                      </c:pt>
                      <c:pt idx="1596">
                        <c:v>34.159999999999997</c:v>
                      </c:pt>
                      <c:pt idx="1597">
                        <c:v>33.65</c:v>
                      </c:pt>
                      <c:pt idx="1598">
                        <c:v>35.01</c:v>
                      </c:pt>
                      <c:pt idx="1599">
                        <c:v>33.700000000000003</c:v>
                      </c:pt>
                      <c:pt idx="1600">
                        <c:v>34.03</c:v>
                      </c:pt>
                      <c:pt idx="1601">
                        <c:v>35.74</c:v>
                      </c:pt>
                      <c:pt idx="1602">
                        <c:v>42.05</c:v>
                      </c:pt>
                      <c:pt idx="1603">
                        <c:v>42</c:v>
                      </c:pt>
                      <c:pt idx="1604">
                        <c:v>34.15</c:v>
                      </c:pt>
                      <c:pt idx="1605">
                        <c:v>31.85</c:v>
                      </c:pt>
                      <c:pt idx="1606">
                        <c:v>32.14</c:v>
                      </c:pt>
                      <c:pt idx="1607">
                        <c:v>28.97</c:v>
                      </c:pt>
                      <c:pt idx="1608">
                        <c:v>30.66</c:v>
                      </c:pt>
                      <c:pt idx="1609">
                        <c:v>30.56</c:v>
                      </c:pt>
                      <c:pt idx="1610">
                        <c:v>29.78</c:v>
                      </c:pt>
                      <c:pt idx="1611">
                        <c:v>29.3</c:v>
                      </c:pt>
                      <c:pt idx="1612">
                        <c:v>29.28</c:v>
                      </c:pt>
                      <c:pt idx="1613">
                        <c:v>31.12</c:v>
                      </c:pt>
                      <c:pt idx="1614">
                        <c:v>41.59</c:v>
                      </c:pt>
                      <c:pt idx="1615">
                        <c:v>48.67</c:v>
                      </c:pt>
                      <c:pt idx="1616">
                        <c:v>50.02</c:v>
                      </c:pt>
                      <c:pt idx="1617">
                        <c:v>49.02</c:v>
                      </c:pt>
                      <c:pt idx="1618">
                        <c:v>48.62</c:v>
                      </c:pt>
                      <c:pt idx="1619">
                        <c:v>47.16</c:v>
                      </c:pt>
                      <c:pt idx="1620">
                        <c:v>43.82</c:v>
                      </c:pt>
                      <c:pt idx="1621">
                        <c:v>41.85</c:v>
                      </c:pt>
                      <c:pt idx="1622">
                        <c:v>38.090000000000003</c:v>
                      </c:pt>
                      <c:pt idx="1623">
                        <c:v>36.69</c:v>
                      </c:pt>
                      <c:pt idx="1624">
                        <c:v>35.299999999999997</c:v>
                      </c:pt>
                      <c:pt idx="1625">
                        <c:v>41.47</c:v>
                      </c:pt>
                      <c:pt idx="1626">
                        <c:v>44.82</c:v>
                      </c:pt>
                      <c:pt idx="1627">
                        <c:v>42.84</c:v>
                      </c:pt>
                      <c:pt idx="1628">
                        <c:v>33.340000000000003</c:v>
                      </c:pt>
                      <c:pt idx="1629">
                        <c:v>33.020000000000003</c:v>
                      </c:pt>
                      <c:pt idx="1630">
                        <c:v>31.51</c:v>
                      </c:pt>
                      <c:pt idx="1631">
                        <c:v>28.82</c:v>
                      </c:pt>
                      <c:pt idx="1632">
                        <c:v>20.82</c:v>
                      </c:pt>
                      <c:pt idx="1633">
                        <c:v>18.18</c:v>
                      </c:pt>
                      <c:pt idx="1634">
                        <c:v>12.01</c:v>
                      </c:pt>
                      <c:pt idx="1635">
                        <c:v>18.09</c:v>
                      </c:pt>
                      <c:pt idx="1636">
                        <c:v>26.96</c:v>
                      </c:pt>
                      <c:pt idx="1637">
                        <c:v>28.59</c:v>
                      </c:pt>
                      <c:pt idx="1638">
                        <c:v>31.9</c:v>
                      </c:pt>
                      <c:pt idx="1639">
                        <c:v>41.98</c:v>
                      </c:pt>
                      <c:pt idx="1640">
                        <c:v>41.93</c:v>
                      </c:pt>
                      <c:pt idx="1641">
                        <c:v>36.96</c:v>
                      </c:pt>
                      <c:pt idx="1642">
                        <c:v>33.020000000000003</c:v>
                      </c:pt>
                      <c:pt idx="1643">
                        <c:v>32.090000000000003</c:v>
                      </c:pt>
                      <c:pt idx="1644">
                        <c:v>31.51</c:v>
                      </c:pt>
                      <c:pt idx="1645">
                        <c:v>31.31</c:v>
                      </c:pt>
                      <c:pt idx="1646">
                        <c:v>31.26</c:v>
                      </c:pt>
                      <c:pt idx="1647">
                        <c:v>32.11</c:v>
                      </c:pt>
                      <c:pt idx="1648">
                        <c:v>36.07</c:v>
                      </c:pt>
                      <c:pt idx="1649">
                        <c:v>40.369999999999997</c:v>
                      </c:pt>
                      <c:pt idx="1650">
                        <c:v>49.17</c:v>
                      </c:pt>
                      <c:pt idx="1651">
                        <c:v>53.56</c:v>
                      </c:pt>
                      <c:pt idx="1652">
                        <c:v>45.88</c:v>
                      </c:pt>
                      <c:pt idx="1653">
                        <c:v>39.67</c:v>
                      </c:pt>
                      <c:pt idx="1654">
                        <c:v>37.71</c:v>
                      </c:pt>
                      <c:pt idx="1655">
                        <c:v>34.25</c:v>
                      </c:pt>
                      <c:pt idx="1656">
                        <c:v>33.020000000000003</c:v>
                      </c:pt>
                      <c:pt idx="1657">
                        <c:v>31.24</c:v>
                      </c:pt>
                      <c:pt idx="1658">
                        <c:v>30.13</c:v>
                      </c:pt>
                      <c:pt idx="1659">
                        <c:v>29.64</c:v>
                      </c:pt>
                      <c:pt idx="1660">
                        <c:v>29.07</c:v>
                      </c:pt>
                      <c:pt idx="1661">
                        <c:v>30</c:v>
                      </c:pt>
                      <c:pt idx="1662">
                        <c:v>31.77</c:v>
                      </c:pt>
                      <c:pt idx="1663">
                        <c:v>32.4</c:v>
                      </c:pt>
                      <c:pt idx="1664">
                        <c:v>35</c:v>
                      </c:pt>
                      <c:pt idx="1665">
                        <c:v>35.049999999999997</c:v>
                      </c:pt>
                      <c:pt idx="1666">
                        <c:v>33</c:v>
                      </c:pt>
                      <c:pt idx="1667">
                        <c:v>31.41</c:v>
                      </c:pt>
                      <c:pt idx="1668">
                        <c:v>31.07</c:v>
                      </c:pt>
                      <c:pt idx="1669">
                        <c:v>30.19</c:v>
                      </c:pt>
                      <c:pt idx="1670">
                        <c:v>29.85</c:v>
                      </c:pt>
                      <c:pt idx="1671">
                        <c:v>29.98</c:v>
                      </c:pt>
                      <c:pt idx="1672">
                        <c:v>30.81</c:v>
                      </c:pt>
                      <c:pt idx="1673">
                        <c:v>34.659999999999997</c:v>
                      </c:pt>
                      <c:pt idx="1674">
                        <c:v>43.97</c:v>
                      </c:pt>
                      <c:pt idx="1675">
                        <c:v>45.91</c:v>
                      </c:pt>
                      <c:pt idx="1676">
                        <c:v>38.1</c:v>
                      </c:pt>
                      <c:pt idx="1677">
                        <c:v>32.26</c:v>
                      </c:pt>
                      <c:pt idx="1678">
                        <c:v>32.11</c:v>
                      </c:pt>
                      <c:pt idx="1679">
                        <c:v>30.05</c:v>
                      </c:pt>
                      <c:pt idx="1680">
                        <c:v>27.9</c:v>
                      </c:pt>
                      <c:pt idx="1681">
                        <c:v>25.4</c:v>
                      </c:pt>
                      <c:pt idx="1682">
                        <c:v>20.36</c:v>
                      </c:pt>
                      <c:pt idx="1683">
                        <c:v>13.92</c:v>
                      </c:pt>
                      <c:pt idx="1684">
                        <c:v>10.88</c:v>
                      </c:pt>
                      <c:pt idx="1685">
                        <c:v>11.95</c:v>
                      </c:pt>
                      <c:pt idx="1686">
                        <c:v>13.92</c:v>
                      </c:pt>
                      <c:pt idx="1687">
                        <c:v>11.21</c:v>
                      </c:pt>
                      <c:pt idx="1688">
                        <c:v>10.97</c:v>
                      </c:pt>
                      <c:pt idx="1689">
                        <c:v>13.28</c:v>
                      </c:pt>
                      <c:pt idx="1690">
                        <c:v>10.18</c:v>
                      </c:pt>
                      <c:pt idx="1691">
                        <c:v>15.63</c:v>
                      </c:pt>
                      <c:pt idx="1692">
                        <c:v>9.6</c:v>
                      </c:pt>
                      <c:pt idx="1693">
                        <c:v>12.21</c:v>
                      </c:pt>
                      <c:pt idx="1694">
                        <c:v>9.5500000000000007</c:v>
                      </c:pt>
                      <c:pt idx="1695">
                        <c:v>11.93</c:v>
                      </c:pt>
                      <c:pt idx="1696">
                        <c:v>11</c:v>
                      </c:pt>
                      <c:pt idx="1697">
                        <c:v>26.9</c:v>
                      </c:pt>
                      <c:pt idx="1698">
                        <c:v>31.15</c:v>
                      </c:pt>
                      <c:pt idx="1699">
                        <c:v>31.35</c:v>
                      </c:pt>
                      <c:pt idx="1700">
                        <c:v>30.69</c:v>
                      </c:pt>
                      <c:pt idx="1701">
                        <c:v>30.62</c:v>
                      </c:pt>
                      <c:pt idx="1702">
                        <c:v>30.4</c:v>
                      </c:pt>
                      <c:pt idx="1703">
                        <c:v>29.34</c:v>
                      </c:pt>
                      <c:pt idx="1704">
                        <c:v>27.04</c:v>
                      </c:pt>
                      <c:pt idx="1705">
                        <c:v>26.82</c:v>
                      </c:pt>
                      <c:pt idx="1706">
                        <c:v>26.9</c:v>
                      </c:pt>
                      <c:pt idx="1707">
                        <c:v>27.02</c:v>
                      </c:pt>
                      <c:pt idx="1708">
                        <c:v>27.77</c:v>
                      </c:pt>
                      <c:pt idx="1709">
                        <c:v>29.64</c:v>
                      </c:pt>
                      <c:pt idx="1710">
                        <c:v>33.83</c:v>
                      </c:pt>
                      <c:pt idx="1711">
                        <c:v>41</c:v>
                      </c:pt>
                      <c:pt idx="1712">
                        <c:v>42.86</c:v>
                      </c:pt>
                      <c:pt idx="1713">
                        <c:v>40</c:v>
                      </c:pt>
                      <c:pt idx="1714">
                        <c:v>34.57</c:v>
                      </c:pt>
                      <c:pt idx="1715">
                        <c:v>32.89</c:v>
                      </c:pt>
                      <c:pt idx="1716">
                        <c:v>31.97</c:v>
                      </c:pt>
                      <c:pt idx="1717">
                        <c:v>32.200000000000003</c:v>
                      </c:pt>
                      <c:pt idx="1718">
                        <c:v>31.7</c:v>
                      </c:pt>
                      <c:pt idx="1719">
                        <c:v>32</c:v>
                      </c:pt>
                      <c:pt idx="1720">
                        <c:v>36.61</c:v>
                      </c:pt>
                      <c:pt idx="1721">
                        <c:v>41.82</c:v>
                      </c:pt>
                      <c:pt idx="1722">
                        <c:v>49.9</c:v>
                      </c:pt>
                      <c:pt idx="1723">
                        <c:v>56.99</c:v>
                      </c:pt>
                      <c:pt idx="1724">
                        <c:v>49.51</c:v>
                      </c:pt>
                      <c:pt idx="1725">
                        <c:v>44.94</c:v>
                      </c:pt>
                      <c:pt idx="1726">
                        <c:v>39.96</c:v>
                      </c:pt>
                      <c:pt idx="1727">
                        <c:v>33.549999999999997</c:v>
                      </c:pt>
                      <c:pt idx="1728">
                        <c:v>29.58</c:v>
                      </c:pt>
                      <c:pt idx="1729">
                        <c:v>28.61</c:v>
                      </c:pt>
                      <c:pt idx="1730">
                        <c:v>27.73</c:v>
                      </c:pt>
                      <c:pt idx="1731">
                        <c:v>27.75</c:v>
                      </c:pt>
                      <c:pt idx="1732">
                        <c:v>28.43</c:v>
                      </c:pt>
                      <c:pt idx="1733">
                        <c:v>29.49</c:v>
                      </c:pt>
                      <c:pt idx="1734">
                        <c:v>37.72</c:v>
                      </c:pt>
                      <c:pt idx="1735">
                        <c:v>44.92</c:v>
                      </c:pt>
                      <c:pt idx="1736">
                        <c:v>47.1</c:v>
                      </c:pt>
                      <c:pt idx="1737">
                        <c:v>43.97</c:v>
                      </c:pt>
                      <c:pt idx="1738">
                        <c:v>41.93</c:v>
                      </c:pt>
                      <c:pt idx="1739">
                        <c:v>37.19</c:v>
                      </c:pt>
                      <c:pt idx="1740">
                        <c:v>31.08</c:v>
                      </c:pt>
                      <c:pt idx="1741">
                        <c:v>30.08</c:v>
                      </c:pt>
                      <c:pt idx="1742">
                        <c:v>30.08</c:v>
                      </c:pt>
                      <c:pt idx="1743">
                        <c:v>30.16</c:v>
                      </c:pt>
                      <c:pt idx="1744">
                        <c:v>35</c:v>
                      </c:pt>
                      <c:pt idx="1745">
                        <c:v>41.15</c:v>
                      </c:pt>
                      <c:pt idx="1746">
                        <c:v>45.58</c:v>
                      </c:pt>
                      <c:pt idx="1747">
                        <c:v>45.46</c:v>
                      </c:pt>
                      <c:pt idx="1748">
                        <c:v>35.85</c:v>
                      </c:pt>
                      <c:pt idx="1749">
                        <c:v>28.99</c:v>
                      </c:pt>
                      <c:pt idx="1750">
                        <c:v>28.08</c:v>
                      </c:pt>
                      <c:pt idx="1751">
                        <c:v>23.44</c:v>
                      </c:pt>
                      <c:pt idx="1752">
                        <c:v>22.21</c:v>
                      </c:pt>
                      <c:pt idx="1753">
                        <c:v>21.14</c:v>
                      </c:pt>
                      <c:pt idx="1754">
                        <c:v>18.649999999999999</c:v>
                      </c:pt>
                      <c:pt idx="1755">
                        <c:v>20.16</c:v>
                      </c:pt>
                      <c:pt idx="1756">
                        <c:v>24.03</c:v>
                      </c:pt>
                      <c:pt idx="1757">
                        <c:v>28.05</c:v>
                      </c:pt>
                      <c:pt idx="1758">
                        <c:v>34.96</c:v>
                      </c:pt>
                      <c:pt idx="1759">
                        <c:v>40.98</c:v>
                      </c:pt>
                      <c:pt idx="1760">
                        <c:v>40.97</c:v>
                      </c:pt>
                      <c:pt idx="1761">
                        <c:v>38.99</c:v>
                      </c:pt>
                      <c:pt idx="1762">
                        <c:v>34.94</c:v>
                      </c:pt>
                      <c:pt idx="1763">
                        <c:v>33.07</c:v>
                      </c:pt>
                      <c:pt idx="1764">
                        <c:v>32.14</c:v>
                      </c:pt>
                      <c:pt idx="1765">
                        <c:v>31.5</c:v>
                      </c:pt>
                      <c:pt idx="1766">
                        <c:v>31.42</c:v>
                      </c:pt>
                      <c:pt idx="1767">
                        <c:v>32.4</c:v>
                      </c:pt>
                      <c:pt idx="1768">
                        <c:v>33.06</c:v>
                      </c:pt>
                      <c:pt idx="1769">
                        <c:v>41</c:v>
                      </c:pt>
                      <c:pt idx="1770">
                        <c:v>47.97</c:v>
                      </c:pt>
                      <c:pt idx="1771">
                        <c:v>52.09</c:v>
                      </c:pt>
                      <c:pt idx="1772">
                        <c:v>43.9</c:v>
                      </c:pt>
                      <c:pt idx="1773">
                        <c:v>38.1</c:v>
                      </c:pt>
                      <c:pt idx="1774">
                        <c:v>34.82</c:v>
                      </c:pt>
                      <c:pt idx="1775">
                        <c:v>31.59</c:v>
                      </c:pt>
                      <c:pt idx="1776">
                        <c:v>29.99</c:v>
                      </c:pt>
                      <c:pt idx="1777">
                        <c:v>29.84</c:v>
                      </c:pt>
                      <c:pt idx="1778">
                        <c:v>28.14</c:v>
                      </c:pt>
                      <c:pt idx="1779">
                        <c:v>28.29</c:v>
                      </c:pt>
                      <c:pt idx="1780">
                        <c:v>29.37</c:v>
                      </c:pt>
                      <c:pt idx="1781">
                        <c:v>30</c:v>
                      </c:pt>
                      <c:pt idx="1782">
                        <c:v>38.479999999999997</c:v>
                      </c:pt>
                      <c:pt idx="1783">
                        <c:v>45.18</c:v>
                      </c:pt>
                      <c:pt idx="1784">
                        <c:v>40.950000000000003</c:v>
                      </c:pt>
                      <c:pt idx="1785">
                        <c:v>36.15</c:v>
                      </c:pt>
                      <c:pt idx="1786">
                        <c:v>32.94</c:v>
                      </c:pt>
                      <c:pt idx="1787">
                        <c:v>31.87</c:v>
                      </c:pt>
                      <c:pt idx="1788">
                        <c:v>30.49</c:v>
                      </c:pt>
                      <c:pt idx="1789">
                        <c:v>30.45</c:v>
                      </c:pt>
                      <c:pt idx="1790">
                        <c:v>30.19</c:v>
                      </c:pt>
                      <c:pt idx="1791">
                        <c:v>30.28</c:v>
                      </c:pt>
                      <c:pt idx="1792">
                        <c:v>33.5</c:v>
                      </c:pt>
                      <c:pt idx="1793">
                        <c:v>39.9</c:v>
                      </c:pt>
                      <c:pt idx="1794">
                        <c:v>45.59</c:v>
                      </c:pt>
                      <c:pt idx="1795">
                        <c:v>50.1</c:v>
                      </c:pt>
                      <c:pt idx="1796">
                        <c:v>42.92</c:v>
                      </c:pt>
                      <c:pt idx="1797">
                        <c:v>34.81</c:v>
                      </c:pt>
                      <c:pt idx="1798">
                        <c:v>30.19</c:v>
                      </c:pt>
                      <c:pt idx="1799">
                        <c:v>26.36</c:v>
                      </c:pt>
                      <c:pt idx="1800">
                        <c:v>21.63</c:v>
                      </c:pt>
                      <c:pt idx="1801">
                        <c:v>18.760000000000002</c:v>
                      </c:pt>
                      <c:pt idx="1802">
                        <c:v>18.53</c:v>
                      </c:pt>
                      <c:pt idx="1803">
                        <c:v>20.93</c:v>
                      </c:pt>
                      <c:pt idx="1804">
                        <c:v>24.11</c:v>
                      </c:pt>
                      <c:pt idx="1805">
                        <c:v>28</c:v>
                      </c:pt>
                      <c:pt idx="1806">
                        <c:v>39.97</c:v>
                      </c:pt>
                      <c:pt idx="1807">
                        <c:v>40.909999999999997</c:v>
                      </c:pt>
                      <c:pt idx="1808">
                        <c:v>40.450000000000003</c:v>
                      </c:pt>
                      <c:pt idx="1809">
                        <c:v>33.97</c:v>
                      </c:pt>
                      <c:pt idx="1810">
                        <c:v>32.17</c:v>
                      </c:pt>
                      <c:pt idx="1811">
                        <c:v>29.71</c:v>
                      </c:pt>
                      <c:pt idx="1812">
                        <c:v>27.83</c:v>
                      </c:pt>
                      <c:pt idx="1813">
                        <c:v>25.44</c:v>
                      </c:pt>
                      <c:pt idx="1814">
                        <c:v>22.1</c:v>
                      </c:pt>
                      <c:pt idx="1815">
                        <c:v>22.78</c:v>
                      </c:pt>
                      <c:pt idx="1816">
                        <c:v>26.48</c:v>
                      </c:pt>
                      <c:pt idx="1817">
                        <c:v>30.96</c:v>
                      </c:pt>
                      <c:pt idx="1818">
                        <c:v>38.1</c:v>
                      </c:pt>
                      <c:pt idx="1819">
                        <c:v>40.450000000000003</c:v>
                      </c:pt>
                      <c:pt idx="1820">
                        <c:v>32.99</c:v>
                      </c:pt>
                      <c:pt idx="1821">
                        <c:v>27.91</c:v>
                      </c:pt>
                      <c:pt idx="1822">
                        <c:v>24.5</c:v>
                      </c:pt>
                      <c:pt idx="1823">
                        <c:v>14.96</c:v>
                      </c:pt>
                      <c:pt idx="1824">
                        <c:v>11.73</c:v>
                      </c:pt>
                      <c:pt idx="1825">
                        <c:v>9.42</c:v>
                      </c:pt>
                      <c:pt idx="1826">
                        <c:v>9.39</c:v>
                      </c:pt>
                      <c:pt idx="1827">
                        <c:v>8.4600000000000009</c:v>
                      </c:pt>
                      <c:pt idx="1828">
                        <c:v>8.3000000000000007</c:v>
                      </c:pt>
                      <c:pt idx="1829">
                        <c:v>9.3699999999999992</c:v>
                      </c:pt>
                      <c:pt idx="1830">
                        <c:v>10.35</c:v>
                      </c:pt>
                      <c:pt idx="1831">
                        <c:v>11.25</c:v>
                      </c:pt>
                      <c:pt idx="1832">
                        <c:v>16.93</c:v>
                      </c:pt>
                      <c:pt idx="1833">
                        <c:v>28.18</c:v>
                      </c:pt>
                      <c:pt idx="1834">
                        <c:v>25.6</c:v>
                      </c:pt>
                      <c:pt idx="1835">
                        <c:v>26.83</c:v>
                      </c:pt>
                      <c:pt idx="1836">
                        <c:v>25.69</c:v>
                      </c:pt>
                      <c:pt idx="1837">
                        <c:v>17.010000000000002</c:v>
                      </c:pt>
                      <c:pt idx="1838">
                        <c:v>9.75</c:v>
                      </c:pt>
                      <c:pt idx="1839">
                        <c:v>14.36</c:v>
                      </c:pt>
                      <c:pt idx="1840">
                        <c:v>9.99</c:v>
                      </c:pt>
                      <c:pt idx="1841">
                        <c:v>27.44</c:v>
                      </c:pt>
                      <c:pt idx="1842">
                        <c:v>32.31</c:v>
                      </c:pt>
                      <c:pt idx="1843">
                        <c:v>37.94</c:v>
                      </c:pt>
                      <c:pt idx="1844">
                        <c:v>31.27</c:v>
                      </c:pt>
                      <c:pt idx="1845">
                        <c:v>30.74</c:v>
                      </c:pt>
                      <c:pt idx="1846">
                        <c:v>30.75</c:v>
                      </c:pt>
                      <c:pt idx="1847">
                        <c:v>29.06</c:v>
                      </c:pt>
                      <c:pt idx="1848">
                        <c:v>16.62</c:v>
                      </c:pt>
                      <c:pt idx="1849">
                        <c:v>15.79</c:v>
                      </c:pt>
                      <c:pt idx="1850">
                        <c:v>16.12</c:v>
                      </c:pt>
                      <c:pt idx="1851">
                        <c:v>12.67</c:v>
                      </c:pt>
                      <c:pt idx="1852">
                        <c:v>13.43</c:v>
                      </c:pt>
                      <c:pt idx="1853">
                        <c:v>12.47</c:v>
                      </c:pt>
                      <c:pt idx="1854">
                        <c:v>11.62</c:v>
                      </c:pt>
                      <c:pt idx="1855">
                        <c:v>9.64</c:v>
                      </c:pt>
                      <c:pt idx="1856">
                        <c:v>13.73</c:v>
                      </c:pt>
                      <c:pt idx="1857">
                        <c:v>18.440000000000001</c:v>
                      </c:pt>
                      <c:pt idx="1858">
                        <c:v>21.06</c:v>
                      </c:pt>
                      <c:pt idx="1859">
                        <c:v>17.63</c:v>
                      </c:pt>
                      <c:pt idx="1860">
                        <c:v>18.05</c:v>
                      </c:pt>
                      <c:pt idx="1861">
                        <c:v>11.35</c:v>
                      </c:pt>
                      <c:pt idx="1862">
                        <c:v>10.119999999999999</c:v>
                      </c:pt>
                      <c:pt idx="1863">
                        <c:v>9.44</c:v>
                      </c:pt>
                      <c:pt idx="1864">
                        <c:v>9.42</c:v>
                      </c:pt>
                      <c:pt idx="1865">
                        <c:v>10.15</c:v>
                      </c:pt>
                      <c:pt idx="1866">
                        <c:v>17.09</c:v>
                      </c:pt>
                      <c:pt idx="1867">
                        <c:v>16.72</c:v>
                      </c:pt>
                      <c:pt idx="1868">
                        <c:v>11.96</c:v>
                      </c:pt>
                      <c:pt idx="1869">
                        <c:v>9.4700000000000006</c:v>
                      </c:pt>
                      <c:pt idx="1870">
                        <c:v>12.51</c:v>
                      </c:pt>
                      <c:pt idx="1871">
                        <c:v>10.119999999999999</c:v>
                      </c:pt>
                      <c:pt idx="1872">
                        <c:v>10.59</c:v>
                      </c:pt>
                      <c:pt idx="1873">
                        <c:v>13.87</c:v>
                      </c:pt>
                      <c:pt idx="1874">
                        <c:v>10.07</c:v>
                      </c:pt>
                      <c:pt idx="1875">
                        <c:v>16.36</c:v>
                      </c:pt>
                      <c:pt idx="1876">
                        <c:v>22.06</c:v>
                      </c:pt>
                      <c:pt idx="1877">
                        <c:v>26.08</c:v>
                      </c:pt>
                      <c:pt idx="1878">
                        <c:v>36.299999999999997</c:v>
                      </c:pt>
                      <c:pt idx="1879">
                        <c:v>40.98</c:v>
                      </c:pt>
                      <c:pt idx="1880">
                        <c:v>42.31</c:v>
                      </c:pt>
                      <c:pt idx="1881">
                        <c:v>39.340000000000003</c:v>
                      </c:pt>
                      <c:pt idx="1882">
                        <c:v>38.96</c:v>
                      </c:pt>
                      <c:pt idx="1883">
                        <c:v>36.94</c:v>
                      </c:pt>
                      <c:pt idx="1884">
                        <c:v>35</c:v>
                      </c:pt>
                      <c:pt idx="1885">
                        <c:v>32.74</c:v>
                      </c:pt>
                      <c:pt idx="1886">
                        <c:v>31.16</c:v>
                      </c:pt>
                      <c:pt idx="1887">
                        <c:v>30.82</c:v>
                      </c:pt>
                      <c:pt idx="1888">
                        <c:v>30.56</c:v>
                      </c:pt>
                      <c:pt idx="1889">
                        <c:v>32</c:v>
                      </c:pt>
                      <c:pt idx="1890">
                        <c:v>38.380000000000003</c:v>
                      </c:pt>
                      <c:pt idx="1891">
                        <c:v>36.94</c:v>
                      </c:pt>
                      <c:pt idx="1892">
                        <c:v>32.42</c:v>
                      </c:pt>
                      <c:pt idx="1893">
                        <c:v>27.6</c:v>
                      </c:pt>
                      <c:pt idx="1894">
                        <c:v>25.2</c:v>
                      </c:pt>
                      <c:pt idx="1895">
                        <c:v>10.75</c:v>
                      </c:pt>
                      <c:pt idx="1896">
                        <c:v>18.760000000000002</c:v>
                      </c:pt>
                      <c:pt idx="1897">
                        <c:v>17.48</c:v>
                      </c:pt>
                      <c:pt idx="1898">
                        <c:v>15.92</c:v>
                      </c:pt>
                      <c:pt idx="1899">
                        <c:v>18.02</c:v>
                      </c:pt>
                      <c:pt idx="1900">
                        <c:v>22.6</c:v>
                      </c:pt>
                      <c:pt idx="1901">
                        <c:v>23.99</c:v>
                      </c:pt>
                      <c:pt idx="1902">
                        <c:v>31.01</c:v>
                      </c:pt>
                      <c:pt idx="1903">
                        <c:v>35.96</c:v>
                      </c:pt>
                      <c:pt idx="1904">
                        <c:v>35.31</c:v>
                      </c:pt>
                      <c:pt idx="1905">
                        <c:v>30.84</c:v>
                      </c:pt>
                      <c:pt idx="1906">
                        <c:v>29.97</c:v>
                      </c:pt>
                      <c:pt idx="1907">
                        <c:v>29.69</c:v>
                      </c:pt>
                      <c:pt idx="1908">
                        <c:v>29.08</c:v>
                      </c:pt>
                      <c:pt idx="1909">
                        <c:v>28.86</c:v>
                      </c:pt>
                      <c:pt idx="1910">
                        <c:v>28.94</c:v>
                      </c:pt>
                      <c:pt idx="1911">
                        <c:v>29.37</c:v>
                      </c:pt>
                      <c:pt idx="1912">
                        <c:v>30.1</c:v>
                      </c:pt>
                      <c:pt idx="1913">
                        <c:v>36.65</c:v>
                      </c:pt>
                      <c:pt idx="1914">
                        <c:v>42.98</c:v>
                      </c:pt>
                      <c:pt idx="1915">
                        <c:v>47.25</c:v>
                      </c:pt>
                      <c:pt idx="1916">
                        <c:v>41.77</c:v>
                      </c:pt>
                      <c:pt idx="1917">
                        <c:v>37.75</c:v>
                      </c:pt>
                      <c:pt idx="1918">
                        <c:v>34.99</c:v>
                      </c:pt>
                      <c:pt idx="1919">
                        <c:v>33.96</c:v>
                      </c:pt>
                      <c:pt idx="1920">
                        <c:v>30.45</c:v>
                      </c:pt>
                      <c:pt idx="1921">
                        <c:v>29.98</c:v>
                      </c:pt>
                      <c:pt idx="1922">
                        <c:v>29.2</c:v>
                      </c:pt>
                      <c:pt idx="1923">
                        <c:v>29.05</c:v>
                      </c:pt>
                      <c:pt idx="1924">
                        <c:v>29.05</c:v>
                      </c:pt>
                      <c:pt idx="1925">
                        <c:v>30.41</c:v>
                      </c:pt>
                      <c:pt idx="1926">
                        <c:v>35.19</c:v>
                      </c:pt>
                      <c:pt idx="1927">
                        <c:v>40.19</c:v>
                      </c:pt>
                      <c:pt idx="1928">
                        <c:v>43.02</c:v>
                      </c:pt>
                      <c:pt idx="1929">
                        <c:v>41.74</c:v>
                      </c:pt>
                      <c:pt idx="1930">
                        <c:v>37.54</c:v>
                      </c:pt>
                      <c:pt idx="1931">
                        <c:v>36.69</c:v>
                      </c:pt>
                      <c:pt idx="1932">
                        <c:v>36.25</c:v>
                      </c:pt>
                      <c:pt idx="1933">
                        <c:v>35.950000000000003</c:v>
                      </c:pt>
                      <c:pt idx="1934">
                        <c:v>35.020000000000003</c:v>
                      </c:pt>
                      <c:pt idx="1935">
                        <c:v>36.35</c:v>
                      </c:pt>
                      <c:pt idx="1936">
                        <c:v>36.9</c:v>
                      </c:pt>
                      <c:pt idx="1937">
                        <c:v>39.6</c:v>
                      </c:pt>
                      <c:pt idx="1938">
                        <c:v>42.4</c:v>
                      </c:pt>
                      <c:pt idx="1939">
                        <c:v>45</c:v>
                      </c:pt>
                      <c:pt idx="1940">
                        <c:v>38.979999999999997</c:v>
                      </c:pt>
                      <c:pt idx="1941">
                        <c:v>32.18</c:v>
                      </c:pt>
                      <c:pt idx="1942">
                        <c:v>31.65</c:v>
                      </c:pt>
                      <c:pt idx="1943">
                        <c:v>29.17</c:v>
                      </c:pt>
                      <c:pt idx="1944">
                        <c:v>29.45</c:v>
                      </c:pt>
                      <c:pt idx="1945">
                        <c:v>29.1</c:v>
                      </c:pt>
                      <c:pt idx="1946">
                        <c:v>28.91</c:v>
                      </c:pt>
                      <c:pt idx="1947">
                        <c:v>28.65</c:v>
                      </c:pt>
                      <c:pt idx="1948">
                        <c:v>28.53</c:v>
                      </c:pt>
                      <c:pt idx="1949">
                        <c:v>30.72</c:v>
                      </c:pt>
                      <c:pt idx="1950">
                        <c:v>32.380000000000003</c:v>
                      </c:pt>
                      <c:pt idx="1951">
                        <c:v>39.61</c:v>
                      </c:pt>
                      <c:pt idx="1952">
                        <c:v>40.5</c:v>
                      </c:pt>
                      <c:pt idx="1953">
                        <c:v>38.909999999999997</c:v>
                      </c:pt>
                      <c:pt idx="1954">
                        <c:v>37.1</c:v>
                      </c:pt>
                      <c:pt idx="1955">
                        <c:v>36.44</c:v>
                      </c:pt>
                      <c:pt idx="1956">
                        <c:v>31.54</c:v>
                      </c:pt>
                      <c:pt idx="1957">
                        <c:v>32.03</c:v>
                      </c:pt>
                      <c:pt idx="1958">
                        <c:v>32.049999999999997</c:v>
                      </c:pt>
                      <c:pt idx="1959">
                        <c:v>32.72</c:v>
                      </c:pt>
                      <c:pt idx="1960">
                        <c:v>33.24</c:v>
                      </c:pt>
                      <c:pt idx="1961">
                        <c:v>37.92</c:v>
                      </c:pt>
                      <c:pt idx="1962">
                        <c:v>40</c:v>
                      </c:pt>
                      <c:pt idx="1963">
                        <c:v>42.77</c:v>
                      </c:pt>
                      <c:pt idx="1964">
                        <c:v>38.9</c:v>
                      </c:pt>
                      <c:pt idx="1965">
                        <c:v>34.97</c:v>
                      </c:pt>
                      <c:pt idx="1966">
                        <c:v>32.89</c:v>
                      </c:pt>
                      <c:pt idx="1967">
                        <c:v>30.63</c:v>
                      </c:pt>
                      <c:pt idx="1968">
                        <c:v>29.04</c:v>
                      </c:pt>
                      <c:pt idx="1969">
                        <c:v>28.99</c:v>
                      </c:pt>
                      <c:pt idx="1970">
                        <c:v>29.21</c:v>
                      </c:pt>
                      <c:pt idx="1971">
                        <c:v>28.87</c:v>
                      </c:pt>
                      <c:pt idx="1972">
                        <c:v>29</c:v>
                      </c:pt>
                      <c:pt idx="1973">
                        <c:v>30.14</c:v>
                      </c:pt>
                      <c:pt idx="1974">
                        <c:v>37.909999999999997</c:v>
                      </c:pt>
                      <c:pt idx="1975">
                        <c:v>41.69</c:v>
                      </c:pt>
                      <c:pt idx="1976">
                        <c:v>43.79</c:v>
                      </c:pt>
                      <c:pt idx="1977">
                        <c:v>41.09</c:v>
                      </c:pt>
                      <c:pt idx="1978">
                        <c:v>35.71</c:v>
                      </c:pt>
                      <c:pt idx="1979">
                        <c:v>33.07</c:v>
                      </c:pt>
                      <c:pt idx="1980">
                        <c:v>32.090000000000003</c:v>
                      </c:pt>
                      <c:pt idx="1981">
                        <c:v>30.29</c:v>
                      </c:pt>
                      <c:pt idx="1982">
                        <c:v>29.9</c:v>
                      </c:pt>
                      <c:pt idx="1983">
                        <c:v>30.07</c:v>
                      </c:pt>
                      <c:pt idx="1984">
                        <c:v>31.2</c:v>
                      </c:pt>
                      <c:pt idx="1985">
                        <c:v>36.630000000000003</c:v>
                      </c:pt>
                      <c:pt idx="1986">
                        <c:v>40.590000000000003</c:v>
                      </c:pt>
                      <c:pt idx="1987">
                        <c:v>42.96</c:v>
                      </c:pt>
                      <c:pt idx="1988">
                        <c:v>38.92</c:v>
                      </c:pt>
                      <c:pt idx="1989">
                        <c:v>34.85</c:v>
                      </c:pt>
                      <c:pt idx="1990">
                        <c:v>34.369999999999997</c:v>
                      </c:pt>
                      <c:pt idx="1991">
                        <c:v>32.479999999999997</c:v>
                      </c:pt>
                      <c:pt idx="1992">
                        <c:v>32.64</c:v>
                      </c:pt>
                      <c:pt idx="1993">
                        <c:v>29.14</c:v>
                      </c:pt>
                      <c:pt idx="1994">
                        <c:v>28.32</c:v>
                      </c:pt>
                      <c:pt idx="1995">
                        <c:v>27.13</c:v>
                      </c:pt>
                      <c:pt idx="1996">
                        <c:v>27.02</c:v>
                      </c:pt>
                      <c:pt idx="1997">
                        <c:v>27.56</c:v>
                      </c:pt>
                      <c:pt idx="1998">
                        <c:v>28.55</c:v>
                      </c:pt>
                      <c:pt idx="1999">
                        <c:v>29.92</c:v>
                      </c:pt>
                      <c:pt idx="2000">
                        <c:v>30.21</c:v>
                      </c:pt>
                      <c:pt idx="2001">
                        <c:v>29</c:v>
                      </c:pt>
                      <c:pt idx="2002">
                        <c:v>28.19</c:v>
                      </c:pt>
                      <c:pt idx="2003">
                        <c:v>25.39</c:v>
                      </c:pt>
                      <c:pt idx="2004">
                        <c:v>22.91</c:v>
                      </c:pt>
                      <c:pt idx="2005">
                        <c:v>21.09</c:v>
                      </c:pt>
                      <c:pt idx="2006">
                        <c:v>15.97</c:v>
                      </c:pt>
                      <c:pt idx="2007">
                        <c:v>20.07</c:v>
                      </c:pt>
                      <c:pt idx="2008">
                        <c:v>23.47</c:v>
                      </c:pt>
                      <c:pt idx="2009">
                        <c:v>28.04</c:v>
                      </c:pt>
                      <c:pt idx="2010">
                        <c:v>33.85</c:v>
                      </c:pt>
                      <c:pt idx="2011">
                        <c:v>39.17</c:v>
                      </c:pt>
                      <c:pt idx="2012">
                        <c:v>37.6</c:v>
                      </c:pt>
                      <c:pt idx="2013">
                        <c:v>33.31</c:v>
                      </c:pt>
                      <c:pt idx="2014">
                        <c:v>32.94</c:v>
                      </c:pt>
                      <c:pt idx="2015">
                        <c:v>29</c:v>
                      </c:pt>
                      <c:pt idx="2016">
                        <c:v>28.74</c:v>
                      </c:pt>
                      <c:pt idx="2017">
                        <c:v>27.94</c:v>
                      </c:pt>
                      <c:pt idx="2018">
                        <c:v>26.97</c:v>
                      </c:pt>
                      <c:pt idx="2019">
                        <c:v>26.62</c:v>
                      </c:pt>
                      <c:pt idx="2020">
                        <c:v>24.65</c:v>
                      </c:pt>
                      <c:pt idx="2021">
                        <c:v>26.87</c:v>
                      </c:pt>
                      <c:pt idx="2022">
                        <c:v>27.67</c:v>
                      </c:pt>
                      <c:pt idx="2023">
                        <c:v>28.24</c:v>
                      </c:pt>
                      <c:pt idx="2024">
                        <c:v>28.58</c:v>
                      </c:pt>
                      <c:pt idx="2025">
                        <c:v>26.06</c:v>
                      </c:pt>
                      <c:pt idx="2026">
                        <c:v>24.93</c:v>
                      </c:pt>
                      <c:pt idx="2027">
                        <c:v>25.82</c:v>
                      </c:pt>
                      <c:pt idx="2028">
                        <c:v>22.06</c:v>
                      </c:pt>
                      <c:pt idx="2029">
                        <c:v>18.46</c:v>
                      </c:pt>
                      <c:pt idx="2030">
                        <c:v>16.97</c:v>
                      </c:pt>
                      <c:pt idx="2031">
                        <c:v>17.649999999999999</c:v>
                      </c:pt>
                      <c:pt idx="2032">
                        <c:v>22.22</c:v>
                      </c:pt>
                      <c:pt idx="2033">
                        <c:v>30.31</c:v>
                      </c:pt>
                      <c:pt idx="2034">
                        <c:v>35.82</c:v>
                      </c:pt>
                      <c:pt idx="2035">
                        <c:v>40.07</c:v>
                      </c:pt>
                      <c:pt idx="2036">
                        <c:v>39.64</c:v>
                      </c:pt>
                      <c:pt idx="2037">
                        <c:v>38.79</c:v>
                      </c:pt>
                      <c:pt idx="2038">
                        <c:v>38.06</c:v>
                      </c:pt>
                      <c:pt idx="2039">
                        <c:v>28.25</c:v>
                      </c:pt>
                      <c:pt idx="2040">
                        <c:v>28.27</c:v>
                      </c:pt>
                      <c:pt idx="2041">
                        <c:v>28.3</c:v>
                      </c:pt>
                      <c:pt idx="2042">
                        <c:v>26.88</c:v>
                      </c:pt>
                      <c:pt idx="2043">
                        <c:v>27.06</c:v>
                      </c:pt>
                      <c:pt idx="2044">
                        <c:v>30.1</c:v>
                      </c:pt>
                      <c:pt idx="2045">
                        <c:v>39.31</c:v>
                      </c:pt>
                      <c:pt idx="2046">
                        <c:v>48</c:v>
                      </c:pt>
                      <c:pt idx="2047">
                        <c:v>48.16</c:v>
                      </c:pt>
                      <c:pt idx="2048">
                        <c:v>40.909999999999997</c:v>
                      </c:pt>
                      <c:pt idx="2049">
                        <c:v>36.56</c:v>
                      </c:pt>
                      <c:pt idx="2050">
                        <c:v>33.24</c:v>
                      </c:pt>
                      <c:pt idx="2051">
                        <c:v>30.48</c:v>
                      </c:pt>
                      <c:pt idx="2052">
                        <c:v>29.67</c:v>
                      </c:pt>
                      <c:pt idx="2053">
                        <c:v>29.11</c:v>
                      </c:pt>
                      <c:pt idx="2054">
                        <c:v>28.92</c:v>
                      </c:pt>
                      <c:pt idx="2055">
                        <c:v>29.9</c:v>
                      </c:pt>
                      <c:pt idx="2056">
                        <c:v>32.35</c:v>
                      </c:pt>
                      <c:pt idx="2057">
                        <c:v>40</c:v>
                      </c:pt>
                      <c:pt idx="2058">
                        <c:v>46.99</c:v>
                      </c:pt>
                      <c:pt idx="2059">
                        <c:v>46.27</c:v>
                      </c:pt>
                      <c:pt idx="2060">
                        <c:v>39.979999999999997</c:v>
                      </c:pt>
                      <c:pt idx="2061">
                        <c:v>37.94</c:v>
                      </c:pt>
                      <c:pt idx="2062">
                        <c:v>32.4</c:v>
                      </c:pt>
                      <c:pt idx="2063">
                        <c:v>28.71</c:v>
                      </c:pt>
                      <c:pt idx="2064">
                        <c:v>28.07</c:v>
                      </c:pt>
                      <c:pt idx="2065">
                        <c:v>27.43</c:v>
                      </c:pt>
                      <c:pt idx="2066">
                        <c:v>27.24</c:v>
                      </c:pt>
                      <c:pt idx="2067">
                        <c:v>27.72</c:v>
                      </c:pt>
                      <c:pt idx="2068">
                        <c:v>29.06</c:v>
                      </c:pt>
                      <c:pt idx="2069">
                        <c:v>38.909999999999997</c:v>
                      </c:pt>
                      <c:pt idx="2070">
                        <c:v>46.13</c:v>
                      </c:pt>
                      <c:pt idx="2071">
                        <c:v>50</c:v>
                      </c:pt>
                      <c:pt idx="2072">
                        <c:v>43.03</c:v>
                      </c:pt>
                      <c:pt idx="2073">
                        <c:v>39.94</c:v>
                      </c:pt>
                      <c:pt idx="2074">
                        <c:v>37.4</c:v>
                      </c:pt>
                      <c:pt idx="2075">
                        <c:v>32.29</c:v>
                      </c:pt>
                      <c:pt idx="2076">
                        <c:v>30.71</c:v>
                      </c:pt>
                      <c:pt idx="2077">
                        <c:v>29.98</c:v>
                      </c:pt>
                      <c:pt idx="2078">
                        <c:v>30</c:v>
                      </c:pt>
                      <c:pt idx="2079">
                        <c:v>30.05</c:v>
                      </c:pt>
                      <c:pt idx="2080">
                        <c:v>32.159999999999997</c:v>
                      </c:pt>
                      <c:pt idx="2081">
                        <c:v>37.46</c:v>
                      </c:pt>
                      <c:pt idx="2082">
                        <c:v>41.41</c:v>
                      </c:pt>
                      <c:pt idx="2083">
                        <c:v>41.01</c:v>
                      </c:pt>
                      <c:pt idx="2084">
                        <c:v>36.4</c:v>
                      </c:pt>
                      <c:pt idx="2085">
                        <c:v>33.56</c:v>
                      </c:pt>
                      <c:pt idx="2086">
                        <c:v>28.9</c:v>
                      </c:pt>
                      <c:pt idx="2087">
                        <c:v>28.06</c:v>
                      </c:pt>
                      <c:pt idx="2088">
                        <c:v>26.71</c:v>
                      </c:pt>
                      <c:pt idx="2089">
                        <c:v>26.68</c:v>
                      </c:pt>
                      <c:pt idx="2090">
                        <c:v>26.07</c:v>
                      </c:pt>
                      <c:pt idx="2091">
                        <c:v>26.09</c:v>
                      </c:pt>
                      <c:pt idx="2092">
                        <c:v>26.95</c:v>
                      </c:pt>
                      <c:pt idx="2093">
                        <c:v>34.159999999999997</c:v>
                      </c:pt>
                      <c:pt idx="2094">
                        <c:v>39.56</c:v>
                      </c:pt>
                      <c:pt idx="2095">
                        <c:v>39.78</c:v>
                      </c:pt>
                      <c:pt idx="2096">
                        <c:v>30.88</c:v>
                      </c:pt>
                      <c:pt idx="2097">
                        <c:v>27.66</c:v>
                      </c:pt>
                      <c:pt idx="2098">
                        <c:v>26.55</c:v>
                      </c:pt>
                      <c:pt idx="2099">
                        <c:v>27.25</c:v>
                      </c:pt>
                      <c:pt idx="2100">
                        <c:v>26.05</c:v>
                      </c:pt>
                      <c:pt idx="2101">
                        <c:v>26.09</c:v>
                      </c:pt>
                      <c:pt idx="2102">
                        <c:v>28.05</c:v>
                      </c:pt>
                      <c:pt idx="2103">
                        <c:v>30.65</c:v>
                      </c:pt>
                      <c:pt idx="2104">
                        <c:v>31.23</c:v>
                      </c:pt>
                      <c:pt idx="2105">
                        <c:v>35.19</c:v>
                      </c:pt>
                      <c:pt idx="2106">
                        <c:v>40.47</c:v>
                      </c:pt>
                      <c:pt idx="2107">
                        <c:v>41.81</c:v>
                      </c:pt>
                      <c:pt idx="2108">
                        <c:v>37.659999999999997</c:v>
                      </c:pt>
                      <c:pt idx="2109">
                        <c:v>35.07</c:v>
                      </c:pt>
                      <c:pt idx="2110">
                        <c:v>30.72</c:v>
                      </c:pt>
                      <c:pt idx="2111">
                        <c:v>28.73</c:v>
                      </c:pt>
                      <c:pt idx="2112">
                        <c:v>28.02</c:v>
                      </c:pt>
                      <c:pt idx="2113">
                        <c:v>27.3</c:v>
                      </c:pt>
                      <c:pt idx="2114">
                        <c:v>26.38</c:v>
                      </c:pt>
                      <c:pt idx="2115">
                        <c:v>26.78</c:v>
                      </c:pt>
                      <c:pt idx="2116">
                        <c:v>28.53</c:v>
                      </c:pt>
                      <c:pt idx="2117">
                        <c:v>36</c:v>
                      </c:pt>
                      <c:pt idx="2118">
                        <c:v>43.06</c:v>
                      </c:pt>
                      <c:pt idx="2119">
                        <c:v>46.01</c:v>
                      </c:pt>
                      <c:pt idx="2120">
                        <c:v>42.86</c:v>
                      </c:pt>
                      <c:pt idx="2121">
                        <c:v>39.93</c:v>
                      </c:pt>
                      <c:pt idx="2122">
                        <c:v>38.42</c:v>
                      </c:pt>
                      <c:pt idx="2123">
                        <c:v>33.01</c:v>
                      </c:pt>
                      <c:pt idx="2124">
                        <c:v>30.98</c:v>
                      </c:pt>
                      <c:pt idx="2125">
                        <c:v>29.58</c:v>
                      </c:pt>
                      <c:pt idx="2126">
                        <c:v>29.07</c:v>
                      </c:pt>
                      <c:pt idx="2127">
                        <c:v>28.93</c:v>
                      </c:pt>
                      <c:pt idx="2128">
                        <c:v>30.43</c:v>
                      </c:pt>
                      <c:pt idx="2129">
                        <c:v>35.93</c:v>
                      </c:pt>
                      <c:pt idx="2130">
                        <c:v>40.46</c:v>
                      </c:pt>
                      <c:pt idx="2131">
                        <c:v>40.07</c:v>
                      </c:pt>
                      <c:pt idx="2132">
                        <c:v>35</c:v>
                      </c:pt>
                      <c:pt idx="2133">
                        <c:v>32.47</c:v>
                      </c:pt>
                      <c:pt idx="2134">
                        <c:v>28.94</c:v>
                      </c:pt>
                      <c:pt idx="2135">
                        <c:v>26.91</c:v>
                      </c:pt>
                      <c:pt idx="2136">
                        <c:v>24.77</c:v>
                      </c:pt>
                      <c:pt idx="2137">
                        <c:v>24.45</c:v>
                      </c:pt>
                      <c:pt idx="2138">
                        <c:v>23.05</c:v>
                      </c:pt>
                      <c:pt idx="2139">
                        <c:v>23.45</c:v>
                      </c:pt>
                      <c:pt idx="2140">
                        <c:v>27.24</c:v>
                      </c:pt>
                      <c:pt idx="2141">
                        <c:v>33.090000000000003</c:v>
                      </c:pt>
                      <c:pt idx="2142">
                        <c:v>37.950000000000003</c:v>
                      </c:pt>
                      <c:pt idx="2143">
                        <c:v>38.99</c:v>
                      </c:pt>
                      <c:pt idx="2144">
                        <c:v>37.97</c:v>
                      </c:pt>
                      <c:pt idx="2145">
                        <c:v>35.93</c:v>
                      </c:pt>
                      <c:pt idx="2146">
                        <c:v>33.32</c:v>
                      </c:pt>
                      <c:pt idx="2147">
                        <c:v>30.02</c:v>
                      </c:pt>
                      <c:pt idx="2148">
                        <c:v>28.09</c:v>
                      </c:pt>
                      <c:pt idx="2149">
                        <c:v>27.63</c:v>
                      </c:pt>
                      <c:pt idx="2150">
                        <c:v>28.29</c:v>
                      </c:pt>
                      <c:pt idx="2151">
                        <c:v>28.36</c:v>
                      </c:pt>
                      <c:pt idx="2152">
                        <c:v>30.43</c:v>
                      </c:pt>
                      <c:pt idx="2153">
                        <c:v>34.67</c:v>
                      </c:pt>
                      <c:pt idx="2154">
                        <c:v>38.979999999999997</c:v>
                      </c:pt>
                      <c:pt idx="2155">
                        <c:v>39.96</c:v>
                      </c:pt>
                      <c:pt idx="2156">
                        <c:v>37.909999999999997</c:v>
                      </c:pt>
                      <c:pt idx="2157">
                        <c:v>35.950000000000003</c:v>
                      </c:pt>
                      <c:pt idx="2158">
                        <c:v>32.020000000000003</c:v>
                      </c:pt>
                      <c:pt idx="2159">
                        <c:v>27.08</c:v>
                      </c:pt>
                      <c:pt idx="2160">
                        <c:v>28.07</c:v>
                      </c:pt>
                      <c:pt idx="2161">
                        <c:v>28.08</c:v>
                      </c:pt>
                      <c:pt idx="2162">
                        <c:v>26.9</c:v>
                      </c:pt>
                      <c:pt idx="2163">
                        <c:v>27</c:v>
                      </c:pt>
                      <c:pt idx="2164">
                        <c:v>27.98</c:v>
                      </c:pt>
                      <c:pt idx="2165">
                        <c:v>29.87</c:v>
                      </c:pt>
                      <c:pt idx="2166">
                        <c:v>32.090000000000003</c:v>
                      </c:pt>
                      <c:pt idx="2167">
                        <c:v>34.42</c:v>
                      </c:pt>
                      <c:pt idx="2168">
                        <c:v>35.1</c:v>
                      </c:pt>
                      <c:pt idx="2169">
                        <c:v>28.9</c:v>
                      </c:pt>
                      <c:pt idx="2170">
                        <c:v>27.09</c:v>
                      </c:pt>
                      <c:pt idx="2171">
                        <c:v>25.99</c:v>
                      </c:pt>
                      <c:pt idx="2172">
                        <c:v>26.07</c:v>
                      </c:pt>
                      <c:pt idx="2173">
                        <c:v>25.29</c:v>
                      </c:pt>
                      <c:pt idx="2174">
                        <c:v>24.81</c:v>
                      </c:pt>
                      <c:pt idx="2175">
                        <c:v>25.65</c:v>
                      </c:pt>
                      <c:pt idx="2176">
                        <c:v>27.99</c:v>
                      </c:pt>
                      <c:pt idx="2177">
                        <c:v>33.659999999999997</c:v>
                      </c:pt>
                      <c:pt idx="2178">
                        <c:v>38.700000000000003</c:v>
                      </c:pt>
                      <c:pt idx="2179">
                        <c:v>39.6</c:v>
                      </c:pt>
                      <c:pt idx="2180">
                        <c:v>38.979999999999997</c:v>
                      </c:pt>
                      <c:pt idx="2181">
                        <c:v>37.96</c:v>
                      </c:pt>
                      <c:pt idx="2182">
                        <c:v>31.86</c:v>
                      </c:pt>
                      <c:pt idx="2183">
                        <c:v>32.92</c:v>
                      </c:pt>
                      <c:pt idx="2184">
                        <c:v>27.5</c:v>
                      </c:pt>
                      <c:pt idx="2185">
                        <c:v>26.77</c:v>
                      </c:pt>
                      <c:pt idx="2186">
                        <c:v>26.67</c:v>
                      </c:pt>
                      <c:pt idx="2187">
                        <c:v>26.49</c:v>
                      </c:pt>
                      <c:pt idx="2188">
                        <c:v>26.42</c:v>
                      </c:pt>
                      <c:pt idx="2189">
                        <c:v>26.65</c:v>
                      </c:pt>
                      <c:pt idx="2190">
                        <c:v>27.14</c:v>
                      </c:pt>
                      <c:pt idx="2191">
                        <c:v>29.06</c:v>
                      </c:pt>
                      <c:pt idx="2192">
                        <c:v>29.56</c:v>
                      </c:pt>
                      <c:pt idx="2193">
                        <c:v>28.54</c:v>
                      </c:pt>
                      <c:pt idx="2194">
                        <c:v>28.2</c:v>
                      </c:pt>
                      <c:pt idx="2195">
                        <c:v>27.22</c:v>
                      </c:pt>
                      <c:pt idx="2196">
                        <c:v>26.02</c:v>
                      </c:pt>
                      <c:pt idx="2197">
                        <c:v>21.05</c:v>
                      </c:pt>
                      <c:pt idx="2198">
                        <c:v>20.57</c:v>
                      </c:pt>
                      <c:pt idx="2199">
                        <c:v>23.31</c:v>
                      </c:pt>
                      <c:pt idx="2200">
                        <c:v>26</c:v>
                      </c:pt>
                      <c:pt idx="2201">
                        <c:v>29.6</c:v>
                      </c:pt>
                      <c:pt idx="2202">
                        <c:v>39.1</c:v>
                      </c:pt>
                      <c:pt idx="2203">
                        <c:v>42.22</c:v>
                      </c:pt>
                      <c:pt idx="2204">
                        <c:v>39.92</c:v>
                      </c:pt>
                      <c:pt idx="2205">
                        <c:v>40.51</c:v>
                      </c:pt>
                      <c:pt idx="2206">
                        <c:v>37.78</c:v>
                      </c:pt>
                      <c:pt idx="2207">
                        <c:v>34.380000000000003</c:v>
                      </c:pt>
                      <c:pt idx="2208">
                        <c:v>31.95</c:v>
                      </c:pt>
                      <c:pt idx="2209">
                        <c:v>29.88</c:v>
                      </c:pt>
                      <c:pt idx="2210">
                        <c:v>28.75</c:v>
                      </c:pt>
                      <c:pt idx="2211">
                        <c:v>28.44</c:v>
                      </c:pt>
                      <c:pt idx="2212">
                        <c:v>31.64</c:v>
                      </c:pt>
                      <c:pt idx="2213">
                        <c:v>41.77</c:v>
                      </c:pt>
                      <c:pt idx="2214">
                        <c:v>49.28</c:v>
                      </c:pt>
                      <c:pt idx="2215">
                        <c:v>54.02</c:v>
                      </c:pt>
                      <c:pt idx="2216">
                        <c:v>50</c:v>
                      </c:pt>
                      <c:pt idx="2217">
                        <c:v>48.43</c:v>
                      </c:pt>
                      <c:pt idx="2218">
                        <c:v>44.95</c:v>
                      </c:pt>
                      <c:pt idx="2219">
                        <c:v>38.93</c:v>
                      </c:pt>
                      <c:pt idx="2220">
                        <c:v>36.68</c:v>
                      </c:pt>
                      <c:pt idx="2221">
                        <c:v>32.94</c:v>
                      </c:pt>
                      <c:pt idx="2222">
                        <c:v>30.91</c:v>
                      </c:pt>
                      <c:pt idx="2223">
                        <c:v>31.72</c:v>
                      </c:pt>
                      <c:pt idx="2224">
                        <c:v>32.19</c:v>
                      </c:pt>
                      <c:pt idx="2225">
                        <c:v>37.46</c:v>
                      </c:pt>
                      <c:pt idx="2226">
                        <c:v>41.78</c:v>
                      </c:pt>
                      <c:pt idx="2227">
                        <c:v>43.59</c:v>
                      </c:pt>
                      <c:pt idx="2228">
                        <c:v>38.97</c:v>
                      </c:pt>
                      <c:pt idx="2229">
                        <c:v>35.18</c:v>
                      </c:pt>
                      <c:pt idx="2230">
                        <c:v>31.08</c:v>
                      </c:pt>
                      <c:pt idx="2231">
                        <c:v>31.57</c:v>
                      </c:pt>
                      <c:pt idx="2232">
                        <c:v>30.13</c:v>
                      </c:pt>
                      <c:pt idx="2233">
                        <c:v>29.29</c:v>
                      </c:pt>
                      <c:pt idx="2234">
                        <c:v>29.47</c:v>
                      </c:pt>
                      <c:pt idx="2235">
                        <c:v>29.8</c:v>
                      </c:pt>
                      <c:pt idx="2236">
                        <c:v>31.83</c:v>
                      </c:pt>
                      <c:pt idx="2237">
                        <c:v>41.17</c:v>
                      </c:pt>
                      <c:pt idx="2238">
                        <c:v>51.01</c:v>
                      </c:pt>
                      <c:pt idx="2239">
                        <c:v>52.39</c:v>
                      </c:pt>
                      <c:pt idx="2240">
                        <c:v>50.94</c:v>
                      </c:pt>
                      <c:pt idx="2241">
                        <c:v>43.3</c:v>
                      </c:pt>
                      <c:pt idx="2242">
                        <c:v>42.33</c:v>
                      </c:pt>
                      <c:pt idx="2243">
                        <c:v>39.159999999999997</c:v>
                      </c:pt>
                      <c:pt idx="2244">
                        <c:v>37.72</c:v>
                      </c:pt>
                      <c:pt idx="2245">
                        <c:v>34.6</c:v>
                      </c:pt>
                      <c:pt idx="2246">
                        <c:v>34.450000000000003</c:v>
                      </c:pt>
                      <c:pt idx="2247">
                        <c:v>34.450000000000003</c:v>
                      </c:pt>
                      <c:pt idx="2248">
                        <c:v>37.49</c:v>
                      </c:pt>
                      <c:pt idx="2249">
                        <c:v>41.59</c:v>
                      </c:pt>
                      <c:pt idx="2250">
                        <c:v>45.26</c:v>
                      </c:pt>
                      <c:pt idx="2251">
                        <c:v>47.57</c:v>
                      </c:pt>
                      <c:pt idx="2252">
                        <c:v>40.07</c:v>
                      </c:pt>
                      <c:pt idx="2253">
                        <c:v>38.909999999999997</c:v>
                      </c:pt>
                      <c:pt idx="2254">
                        <c:v>33.04</c:v>
                      </c:pt>
                      <c:pt idx="2255">
                        <c:v>30</c:v>
                      </c:pt>
                      <c:pt idx="2256">
                        <c:v>29.64</c:v>
                      </c:pt>
                      <c:pt idx="2257">
                        <c:v>28.39</c:v>
                      </c:pt>
                      <c:pt idx="2258">
                        <c:v>27.94</c:v>
                      </c:pt>
                      <c:pt idx="2259">
                        <c:v>27.49</c:v>
                      </c:pt>
                      <c:pt idx="2260">
                        <c:v>29.65</c:v>
                      </c:pt>
                      <c:pt idx="2261">
                        <c:v>37.1</c:v>
                      </c:pt>
                      <c:pt idx="2262">
                        <c:v>44.2</c:v>
                      </c:pt>
                      <c:pt idx="2263">
                        <c:v>48.1</c:v>
                      </c:pt>
                      <c:pt idx="2264">
                        <c:v>44.03</c:v>
                      </c:pt>
                      <c:pt idx="2265">
                        <c:v>39.020000000000003</c:v>
                      </c:pt>
                      <c:pt idx="2266">
                        <c:v>36.979999999999997</c:v>
                      </c:pt>
                      <c:pt idx="2267">
                        <c:v>34.03</c:v>
                      </c:pt>
                      <c:pt idx="2268">
                        <c:v>32.89</c:v>
                      </c:pt>
                      <c:pt idx="2269">
                        <c:v>30.06</c:v>
                      </c:pt>
                      <c:pt idx="2270">
                        <c:v>29.53</c:v>
                      </c:pt>
                      <c:pt idx="2271">
                        <c:v>30.01</c:v>
                      </c:pt>
                      <c:pt idx="2272">
                        <c:v>30.06</c:v>
                      </c:pt>
                      <c:pt idx="2273">
                        <c:v>29.9</c:v>
                      </c:pt>
                      <c:pt idx="2274">
                        <c:v>32.69</c:v>
                      </c:pt>
                      <c:pt idx="2275">
                        <c:v>35</c:v>
                      </c:pt>
                      <c:pt idx="2276">
                        <c:v>29.93</c:v>
                      </c:pt>
                      <c:pt idx="2277">
                        <c:v>27.87</c:v>
                      </c:pt>
                      <c:pt idx="2278">
                        <c:v>20</c:v>
                      </c:pt>
                      <c:pt idx="2279">
                        <c:v>12.48</c:v>
                      </c:pt>
                      <c:pt idx="2280">
                        <c:v>9.8699999999999992</c:v>
                      </c:pt>
                      <c:pt idx="2281">
                        <c:v>9.0399999999999991</c:v>
                      </c:pt>
                      <c:pt idx="2282">
                        <c:v>14.9</c:v>
                      </c:pt>
                      <c:pt idx="2283">
                        <c:v>22</c:v>
                      </c:pt>
                      <c:pt idx="2284">
                        <c:v>24.55</c:v>
                      </c:pt>
                      <c:pt idx="2285">
                        <c:v>35.96</c:v>
                      </c:pt>
                      <c:pt idx="2286">
                        <c:v>40.97</c:v>
                      </c:pt>
                      <c:pt idx="2287">
                        <c:v>40.81</c:v>
                      </c:pt>
                      <c:pt idx="2288">
                        <c:v>38.26</c:v>
                      </c:pt>
                      <c:pt idx="2289">
                        <c:v>37.590000000000003</c:v>
                      </c:pt>
                      <c:pt idx="2290">
                        <c:v>35.46</c:v>
                      </c:pt>
                      <c:pt idx="2291">
                        <c:v>31.07</c:v>
                      </c:pt>
                      <c:pt idx="2292">
                        <c:v>30.08</c:v>
                      </c:pt>
                      <c:pt idx="2293">
                        <c:v>28.33</c:v>
                      </c:pt>
                      <c:pt idx="2294">
                        <c:v>28.19</c:v>
                      </c:pt>
                      <c:pt idx="2295">
                        <c:v>28.08</c:v>
                      </c:pt>
                      <c:pt idx="2296">
                        <c:v>32.119999999999997</c:v>
                      </c:pt>
                      <c:pt idx="2297">
                        <c:v>38.049999999999997</c:v>
                      </c:pt>
                      <c:pt idx="2298">
                        <c:v>40.98</c:v>
                      </c:pt>
                      <c:pt idx="2299">
                        <c:v>40.869999999999997</c:v>
                      </c:pt>
                      <c:pt idx="2300">
                        <c:v>38.04</c:v>
                      </c:pt>
                      <c:pt idx="2301">
                        <c:v>34.270000000000003</c:v>
                      </c:pt>
                      <c:pt idx="2302">
                        <c:v>27.79</c:v>
                      </c:pt>
                      <c:pt idx="2303">
                        <c:v>24.99</c:v>
                      </c:pt>
                      <c:pt idx="2304">
                        <c:v>23.02</c:v>
                      </c:pt>
                      <c:pt idx="2305">
                        <c:v>18.309999999999999</c:v>
                      </c:pt>
                      <c:pt idx="2306">
                        <c:v>19.170000000000002</c:v>
                      </c:pt>
                      <c:pt idx="2307">
                        <c:v>20.87</c:v>
                      </c:pt>
                      <c:pt idx="2308">
                        <c:v>27.07</c:v>
                      </c:pt>
                      <c:pt idx="2309">
                        <c:v>32.049999999999997</c:v>
                      </c:pt>
                      <c:pt idx="2310">
                        <c:v>39.97</c:v>
                      </c:pt>
                      <c:pt idx="2311">
                        <c:v>41.57</c:v>
                      </c:pt>
                      <c:pt idx="2312">
                        <c:v>40.94</c:v>
                      </c:pt>
                      <c:pt idx="2313">
                        <c:v>39.979999999999997</c:v>
                      </c:pt>
                      <c:pt idx="2314">
                        <c:v>40.020000000000003</c:v>
                      </c:pt>
                      <c:pt idx="2315">
                        <c:v>38.14</c:v>
                      </c:pt>
                      <c:pt idx="2316">
                        <c:v>35.29</c:v>
                      </c:pt>
                      <c:pt idx="2317">
                        <c:v>32.67</c:v>
                      </c:pt>
                      <c:pt idx="2318">
                        <c:v>32.97</c:v>
                      </c:pt>
                      <c:pt idx="2319">
                        <c:v>32.979999999999997</c:v>
                      </c:pt>
                      <c:pt idx="2320">
                        <c:v>36.090000000000003</c:v>
                      </c:pt>
                      <c:pt idx="2321">
                        <c:v>39.119999999999997</c:v>
                      </c:pt>
                      <c:pt idx="2322">
                        <c:v>39.909999999999997</c:v>
                      </c:pt>
                      <c:pt idx="2323">
                        <c:v>39.96</c:v>
                      </c:pt>
                      <c:pt idx="2324">
                        <c:v>39.31</c:v>
                      </c:pt>
                      <c:pt idx="2325">
                        <c:v>39.61</c:v>
                      </c:pt>
                      <c:pt idx="2326">
                        <c:v>37.93</c:v>
                      </c:pt>
                      <c:pt idx="2327">
                        <c:v>32.71</c:v>
                      </c:pt>
                      <c:pt idx="2328">
                        <c:v>32.28</c:v>
                      </c:pt>
                      <c:pt idx="2329">
                        <c:v>32.81</c:v>
                      </c:pt>
                      <c:pt idx="2330">
                        <c:v>31.5</c:v>
                      </c:pt>
                      <c:pt idx="2331">
                        <c:v>30.44</c:v>
                      </c:pt>
                      <c:pt idx="2332">
                        <c:v>31.7</c:v>
                      </c:pt>
                      <c:pt idx="2333">
                        <c:v>34.72</c:v>
                      </c:pt>
                      <c:pt idx="2334">
                        <c:v>37.909999999999997</c:v>
                      </c:pt>
                      <c:pt idx="2335">
                        <c:v>39.43</c:v>
                      </c:pt>
                      <c:pt idx="2336">
                        <c:v>38.99</c:v>
                      </c:pt>
                      <c:pt idx="2337">
                        <c:v>36.5</c:v>
                      </c:pt>
                      <c:pt idx="2338">
                        <c:v>34.94</c:v>
                      </c:pt>
                      <c:pt idx="2339">
                        <c:v>30.66</c:v>
                      </c:pt>
                      <c:pt idx="2340">
                        <c:v>29.5</c:v>
                      </c:pt>
                      <c:pt idx="2341">
                        <c:v>27.81</c:v>
                      </c:pt>
                      <c:pt idx="2342">
                        <c:v>27.53</c:v>
                      </c:pt>
                      <c:pt idx="2343">
                        <c:v>28.28</c:v>
                      </c:pt>
                      <c:pt idx="2344">
                        <c:v>30.02</c:v>
                      </c:pt>
                      <c:pt idx="2345">
                        <c:v>35.85</c:v>
                      </c:pt>
                      <c:pt idx="2346">
                        <c:v>39.299999999999997</c:v>
                      </c:pt>
                      <c:pt idx="2347">
                        <c:v>41.88</c:v>
                      </c:pt>
                      <c:pt idx="2348">
                        <c:v>41.58</c:v>
                      </c:pt>
                      <c:pt idx="2349">
                        <c:v>42.07</c:v>
                      </c:pt>
                      <c:pt idx="2350">
                        <c:v>39.020000000000003</c:v>
                      </c:pt>
                      <c:pt idx="2351">
                        <c:v>33.979999999999997</c:v>
                      </c:pt>
                      <c:pt idx="2352">
                        <c:v>31.06</c:v>
                      </c:pt>
                      <c:pt idx="2353">
                        <c:v>31.04</c:v>
                      </c:pt>
                      <c:pt idx="2354">
                        <c:v>27.54</c:v>
                      </c:pt>
                      <c:pt idx="2355">
                        <c:v>28.46</c:v>
                      </c:pt>
                      <c:pt idx="2356">
                        <c:v>27.79</c:v>
                      </c:pt>
                      <c:pt idx="2357">
                        <c:v>28.48</c:v>
                      </c:pt>
                      <c:pt idx="2358">
                        <c:v>30.52</c:v>
                      </c:pt>
                      <c:pt idx="2359">
                        <c:v>30.63</c:v>
                      </c:pt>
                      <c:pt idx="2360">
                        <c:v>29.44</c:v>
                      </c:pt>
                      <c:pt idx="2361">
                        <c:v>27.78</c:v>
                      </c:pt>
                      <c:pt idx="2362">
                        <c:v>26.4</c:v>
                      </c:pt>
                      <c:pt idx="2363">
                        <c:v>24.04</c:v>
                      </c:pt>
                      <c:pt idx="2364">
                        <c:v>20.79</c:v>
                      </c:pt>
                      <c:pt idx="2365">
                        <c:v>12.98</c:v>
                      </c:pt>
                      <c:pt idx="2366">
                        <c:v>15</c:v>
                      </c:pt>
                      <c:pt idx="2367">
                        <c:v>20.07</c:v>
                      </c:pt>
                      <c:pt idx="2368">
                        <c:v>24.44</c:v>
                      </c:pt>
                      <c:pt idx="2369">
                        <c:v>32.4</c:v>
                      </c:pt>
                      <c:pt idx="2370">
                        <c:v>38.24</c:v>
                      </c:pt>
                      <c:pt idx="2371">
                        <c:v>39.53</c:v>
                      </c:pt>
                      <c:pt idx="2372">
                        <c:v>37.57</c:v>
                      </c:pt>
                      <c:pt idx="2373">
                        <c:v>35.200000000000003</c:v>
                      </c:pt>
                      <c:pt idx="2374">
                        <c:v>24.08</c:v>
                      </c:pt>
                      <c:pt idx="2375">
                        <c:v>26.03</c:v>
                      </c:pt>
                      <c:pt idx="2376">
                        <c:v>23.02</c:v>
                      </c:pt>
                      <c:pt idx="2377">
                        <c:v>20.36</c:v>
                      </c:pt>
                      <c:pt idx="2378">
                        <c:v>12.26</c:v>
                      </c:pt>
                      <c:pt idx="2379">
                        <c:v>19.95</c:v>
                      </c:pt>
                      <c:pt idx="2380">
                        <c:v>26.08</c:v>
                      </c:pt>
                      <c:pt idx="2381">
                        <c:v>38.93</c:v>
                      </c:pt>
                      <c:pt idx="2382">
                        <c:v>38.93</c:v>
                      </c:pt>
                      <c:pt idx="2383">
                        <c:v>38.090000000000003</c:v>
                      </c:pt>
                      <c:pt idx="2384">
                        <c:v>35.25</c:v>
                      </c:pt>
                      <c:pt idx="2385">
                        <c:v>30.89</c:v>
                      </c:pt>
                      <c:pt idx="2386">
                        <c:v>27.57</c:v>
                      </c:pt>
                      <c:pt idx="2387">
                        <c:v>24.01</c:v>
                      </c:pt>
                      <c:pt idx="2388">
                        <c:v>17.91</c:v>
                      </c:pt>
                      <c:pt idx="2389">
                        <c:v>9.3699999999999992</c:v>
                      </c:pt>
                      <c:pt idx="2390">
                        <c:v>17.920000000000002</c:v>
                      </c:pt>
                      <c:pt idx="2391">
                        <c:v>21.63</c:v>
                      </c:pt>
                      <c:pt idx="2392">
                        <c:v>26.2</c:v>
                      </c:pt>
                      <c:pt idx="2393">
                        <c:v>32.26</c:v>
                      </c:pt>
                      <c:pt idx="2394">
                        <c:v>38.32</c:v>
                      </c:pt>
                      <c:pt idx="2395">
                        <c:v>38.74</c:v>
                      </c:pt>
                      <c:pt idx="2396">
                        <c:v>37.950000000000003</c:v>
                      </c:pt>
                      <c:pt idx="2397">
                        <c:v>31.29</c:v>
                      </c:pt>
                      <c:pt idx="2398">
                        <c:v>24.02</c:v>
                      </c:pt>
                      <c:pt idx="2399">
                        <c:v>24.83</c:v>
                      </c:pt>
                      <c:pt idx="2400">
                        <c:v>23.52</c:v>
                      </c:pt>
                      <c:pt idx="2401">
                        <c:v>23.55</c:v>
                      </c:pt>
                      <c:pt idx="2402">
                        <c:v>23.53</c:v>
                      </c:pt>
                      <c:pt idx="2403">
                        <c:v>25.63</c:v>
                      </c:pt>
                      <c:pt idx="2404">
                        <c:v>28.12</c:v>
                      </c:pt>
                      <c:pt idx="2405">
                        <c:v>37.909999999999997</c:v>
                      </c:pt>
                      <c:pt idx="2406">
                        <c:v>41.52</c:v>
                      </c:pt>
                      <c:pt idx="2407">
                        <c:v>43.5</c:v>
                      </c:pt>
                      <c:pt idx="2408">
                        <c:v>40.93</c:v>
                      </c:pt>
                      <c:pt idx="2409">
                        <c:v>37.450000000000003</c:v>
                      </c:pt>
                      <c:pt idx="2410">
                        <c:v>34.159999999999997</c:v>
                      </c:pt>
                      <c:pt idx="2411">
                        <c:v>31</c:v>
                      </c:pt>
                      <c:pt idx="2412">
                        <c:v>29.66</c:v>
                      </c:pt>
                      <c:pt idx="2413">
                        <c:v>29.98</c:v>
                      </c:pt>
                      <c:pt idx="2414">
                        <c:v>31.9</c:v>
                      </c:pt>
                      <c:pt idx="2415">
                        <c:v>31.83</c:v>
                      </c:pt>
                      <c:pt idx="2416">
                        <c:v>35.299999999999997</c:v>
                      </c:pt>
                      <c:pt idx="2417">
                        <c:v>37.950000000000003</c:v>
                      </c:pt>
                      <c:pt idx="2418">
                        <c:v>43.1</c:v>
                      </c:pt>
                      <c:pt idx="2419">
                        <c:v>43.27</c:v>
                      </c:pt>
                      <c:pt idx="2420">
                        <c:v>38.380000000000003</c:v>
                      </c:pt>
                      <c:pt idx="2421">
                        <c:v>37.08</c:v>
                      </c:pt>
                      <c:pt idx="2422">
                        <c:v>30.17</c:v>
                      </c:pt>
                      <c:pt idx="2423">
                        <c:v>25.99</c:v>
                      </c:pt>
                      <c:pt idx="2424">
                        <c:v>24.42</c:v>
                      </c:pt>
                      <c:pt idx="2425">
                        <c:v>23.02</c:v>
                      </c:pt>
                      <c:pt idx="2426">
                        <c:v>20.5</c:v>
                      </c:pt>
                      <c:pt idx="2427">
                        <c:v>23.01</c:v>
                      </c:pt>
                      <c:pt idx="2428">
                        <c:v>23.09</c:v>
                      </c:pt>
                      <c:pt idx="2429">
                        <c:v>31.02</c:v>
                      </c:pt>
                      <c:pt idx="2430">
                        <c:v>36.44</c:v>
                      </c:pt>
                      <c:pt idx="2431">
                        <c:v>37.950000000000003</c:v>
                      </c:pt>
                      <c:pt idx="2432">
                        <c:v>34.020000000000003</c:v>
                      </c:pt>
                      <c:pt idx="2433">
                        <c:v>29.29</c:v>
                      </c:pt>
                      <c:pt idx="2434">
                        <c:v>27.35</c:v>
                      </c:pt>
                      <c:pt idx="2435">
                        <c:v>23.65</c:v>
                      </c:pt>
                      <c:pt idx="2436">
                        <c:v>23.06</c:v>
                      </c:pt>
                      <c:pt idx="2437">
                        <c:v>23.4</c:v>
                      </c:pt>
                      <c:pt idx="2438">
                        <c:v>23.05</c:v>
                      </c:pt>
                      <c:pt idx="2439">
                        <c:v>26.06</c:v>
                      </c:pt>
                      <c:pt idx="2440">
                        <c:v>27.56</c:v>
                      </c:pt>
                      <c:pt idx="2441">
                        <c:v>31.34</c:v>
                      </c:pt>
                      <c:pt idx="2442">
                        <c:v>33.78</c:v>
                      </c:pt>
                      <c:pt idx="2443">
                        <c:v>34.11</c:v>
                      </c:pt>
                      <c:pt idx="2444">
                        <c:v>31.95</c:v>
                      </c:pt>
                      <c:pt idx="2445">
                        <c:v>27.32</c:v>
                      </c:pt>
                      <c:pt idx="2446">
                        <c:v>23.05</c:v>
                      </c:pt>
                      <c:pt idx="2447">
                        <c:v>18.010000000000002</c:v>
                      </c:pt>
                      <c:pt idx="2448">
                        <c:v>16.010000000000002</c:v>
                      </c:pt>
                      <c:pt idx="2449">
                        <c:v>17.95</c:v>
                      </c:pt>
                      <c:pt idx="2450">
                        <c:v>19.8</c:v>
                      </c:pt>
                      <c:pt idx="2451">
                        <c:v>20.02</c:v>
                      </c:pt>
                      <c:pt idx="2452">
                        <c:v>26.76</c:v>
                      </c:pt>
                      <c:pt idx="2453">
                        <c:v>31.95</c:v>
                      </c:pt>
                      <c:pt idx="2454">
                        <c:v>35.950000000000003</c:v>
                      </c:pt>
                      <c:pt idx="2455">
                        <c:v>35.99</c:v>
                      </c:pt>
                      <c:pt idx="2456">
                        <c:v>33.479999999999997</c:v>
                      </c:pt>
                      <c:pt idx="2457">
                        <c:v>31.06</c:v>
                      </c:pt>
                      <c:pt idx="2458">
                        <c:v>28.96</c:v>
                      </c:pt>
                      <c:pt idx="2459">
                        <c:v>27.01</c:v>
                      </c:pt>
                      <c:pt idx="2460">
                        <c:v>24.45</c:v>
                      </c:pt>
                      <c:pt idx="2461">
                        <c:v>24.02</c:v>
                      </c:pt>
                      <c:pt idx="2462">
                        <c:v>26.57</c:v>
                      </c:pt>
                      <c:pt idx="2463">
                        <c:v>27.59</c:v>
                      </c:pt>
                      <c:pt idx="2464">
                        <c:v>30.03</c:v>
                      </c:pt>
                      <c:pt idx="2465">
                        <c:v>35.93</c:v>
                      </c:pt>
                      <c:pt idx="2466">
                        <c:v>40</c:v>
                      </c:pt>
                      <c:pt idx="2467">
                        <c:v>42.24</c:v>
                      </c:pt>
                      <c:pt idx="2468">
                        <c:v>38.909999999999997</c:v>
                      </c:pt>
                      <c:pt idx="2469">
                        <c:v>36.82</c:v>
                      </c:pt>
                      <c:pt idx="2470">
                        <c:v>32.97</c:v>
                      </c:pt>
                      <c:pt idx="2471">
                        <c:v>30.66</c:v>
                      </c:pt>
                      <c:pt idx="2472">
                        <c:v>26.78</c:v>
                      </c:pt>
                      <c:pt idx="2473">
                        <c:v>26.96</c:v>
                      </c:pt>
                      <c:pt idx="2474">
                        <c:v>26.87</c:v>
                      </c:pt>
                      <c:pt idx="2475">
                        <c:v>26.69</c:v>
                      </c:pt>
                      <c:pt idx="2476">
                        <c:v>26.76</c:v>
                      </c:pt>
                      <c:pt idx="2477">
                        <c:v>26.93</c:v>
                      </c:pt>
                      <c:pt idx="2478">
                        <c:v>27.7</c:v>
                      </c:pt>
                      <c:pt idx="2479">
                        <c:v>28.73</c:v>
                      </c:pt>
                      <c:pt idx="2480">
                        <c:v>28.23</c:v>
                      </c:pt>
                      <c:pt idx="2481">
                        <c:v>27.82</c:v>
                      </c:pt>
                      <c:pt idx="2482">
                        <c:v>27.88</c:v>
                      </c:pt>
                      <c:pt idx="2483">
                        <c:v>25.95</c:v>
                      </c:pt>
                      <c:pt idx="2484">
                        <c:v>27.69</c:v>
                      </c:pt>
                      <c:pt idx="2485">
                        <c:v>27.65</c:v>
                      </c:pt>
                      <c:pt idx="2486">
                        <c:v>27.79</c:v>
                      </c:pt>
                      <c:pt idx="2487">
                        <c:v>28.34</c:v>
                      </c:pt>
                      <c:pt idx="2488">
                        <c:v>30.66</c:v>
                      </c:pt>
                      <c:pt idx="2489">
                        <c:v>36.9</c:v>
                      </c:pt>
                      <c:pt idx="2490">
                        <c:v>38.74</c:v>
                      </c:pt>
                      <c:pt idx="2491">
                        <c:v>38.369999999999997</c:v>
                      </c:pt>
                      <c:pt idx="2492">
                        <c:v>38.549999999999997</c:v>
                      </c:pt>
                      <c:pt idx="2493">
                        <c:v>37.450000000000003</c:v>
                      </c:pt>
                      <c:pt idx="2494">
                        <c:v>36.950000000000003</c:v>
                      </c:pt>
                      <c:pt idx="2495">
                        <c:v>33.880000000000003</c:v>
                      </c:pt>
                      <c:pt idx="2496">
                        <c:v>30.51</c:v>
                      </c:pt>
                      <c:pt idx="2497">
                        <c:v>28.82</c:v>
                      </c:pt>
                      <c:pt idx="2498">
                        <c:v>25.98</c:v>
                      </c:pt>
                      <c:pt idx="2499">
                        <c:v>20.04</c:v>
                      </c:pt>
                      <c:pt idx="2500">
                        <c:v>19.100000000000001</c:v>
                      </c:pt>
                      <c:pt idx="2501">
                        <c:v>17.670000000000002</c:v>
                      </c:pt>
                      <c:pt idx="2502">
                        <c:v>17.97</c:v>
                      </c:pt>
                      <c:pt idx="2503">
                        <c:v>20.100000000000001</c:v>
                      </c:pt>
                      <c:pt idx="2504">
                        <c:v>19.079999999999998</c:v>
                      </c:pt>
                      <c:pt idx="2505">
                        <c:v>13.94</c:v>
                      </c:pt>
                      <c:pt idx="2506">
                        <c:v>9.43</c:v>
                      </c:pt>
                      <c:pt idx="2507">
                        <c:v>13.36</c:v>
                      </c:pt>
                      <c:pt idx="2508">
                        <c:v>7.56</c:v>
                      </c:pt>
                      <c:pt idx="2509">
                        <c:v>0.25</c:v>
                      </c:pt>
                      <c:pt idx="2510">
                        <c:v>-1.08</c:v>
                      </c:pt>
                      <c:pt idx="2511">
                        <c:v>-3.23</c:v>
                      </c:pt>
                      <c:pt idx="2512">
                        <c:v>7.68</c:v>
                      </c:pt>
                      <c:pt idx="2513">
                        <c:v>10.029999999999999</c:v>
                      </c:pt>
                      <c:pt idx="2514">
                        <c:v>14.03</c:v>
                      </c:pt>
                      <c:pt idx="2515">
                        <c:v>13.03</c:v>
                      </c:pt>
                      <c:pt idx="2516">
                        <c:v>12.04</c:v>
                      </c:pt>
                      <c:pt idx="2517">
                        <c:v>11.07</c:v>
                      </c:pt>
                      <c:pt idx="2518">
                        <c:v>9.23</c:v>
                      </c:pt>
                      <c:pt idx="2519">
                        <c:v>3.94</c:v>
                      </c:pt>
                      <c:pt idx="2520">
                        <c:v>7.55</c:v>
                      </c:pt>
                      <c:pt idx="2521">
                        <c:v>5.14</c:v>
                      </c:pt>
                      <c:pt idx="2522">
                        <c:v>1.91</c:v>
                      </c:pt>
                      <c:pt idx="2523">
                        <c:v>7.55</c:v>
                      </c:pt>
                      <c:pt idx="2524">
                        <c:v>14.03</c:v>
                      </c:pt>
                      <c:pt idx="2525">
                        <c:v>9.1999999999999993</c:v>
                      </c:pt>
                      <c:pt idx="2526">
                        <c:v>14.07</c:v>
                      </c:pt>
                      <c:pt idx="2527">
                        <c:v>15.96</c:v>
                      </c:pt>
                      <c:pt idx="2528">
                        <c:v>19.010000000000002</c:v>
                      </c:pt>
                      <c:pt idx="2529">
                        <c:v>19.010000000000002</c:v>
                      </c:pt>
                      <c:pt idx="2530">
                        <c:v>28.74</c:v>
                      </c:pt>
                      <c:pt idx="2531">
                        <c:v>24.03</c:v>
                      </c:pt>
                      <c:pt idx="2532">
                        <c:v>15.03</c:v>
                      </c:pt>
                      <c:pt idx="2533">
                        <c:v>16</c:v>
                      </c:pt>
                      <c:pt idx="2534">
                        <c:v>15.31</c:v>
                      </c:pt>
                      <c:pt idx="2535">
                        <c:v>15.06</c:v>
                      </c:pt>
                      <c:pt idx="2536">
                        <c:v>23.03</c:v>
                      </c:pt>
                      <c:pt idx="2537">
                        <c:v>31.07</c:v>
                      </c:pt>
                      <c:pt idx="2538">
                        <c:v>31.07</c:v>
                      </c:pt>
                      <c:pt idx="2539">
                        <c:v>33.950000000000003</c:v>
                      </c:pt>
                      <c:pt idx="2540">
                        <c:v>32.549999999999997</c:v>
                      </c:pt>
                      <c:pt idx="2541">
                        <c:v>31.91</c:v>
                      </c:pt>
                      <c:pt idx="2542">
                        <c:v>30.46</c:v>
                      </c:pt>
                      <c:pt idx="2543">
                        <c:v>28.5</c:v>
                      </c:pt>
                      <c:pt idx="2544">
                        <c:v>24.01</c:v>
                      </c:pt>
                      <c:pt idx="2545">
                        <c:v>22.07</c:v>
                      </c:pt>
                      <c:pt idx="2546">
                        <c:v>21.08</c:v>
                      </c:pt>
                      <c:pt idx="2547">
                        <c:v>22</c:v>
                      </c:pt>
                      <c:pt idx="2548">
                        <c:v>27.95</c:v>
                      </c:pt>
                      <c:pt idx="2549">
                        <c:v>28.21</c:v>
                      </c:pt>
                      <c:pt idx="2550">
                        <c:v>27.44</c:v>
                      </c:pt>
                      <c:pt idx="2551">
                        <c:v>29.9</c:v>
                      </c:pt>
                      <c:pt idx="2552">
                        <c:v>30.17</c:v>
                      </c:pt>
                      <c:pt idx="2553">
                        <c:v>29.6</c:v>
                      </c:pt>
                      <c:pt idx="2554">
                        <c:v>29</c:v>
                      </c:pt>
                      <c:pt idx="2555">
                        <c:v>25.01</c:v>
                      </c:pt>
                      <c:pt idx="2556">
                        <c:v>19.57</c:v>
                      </c:pt>
                      <c:pt idx="2557">
                        <c:v>15.93</c:v>
                      </c:pt>
                      <c:pt idx="2558">
                        <c:v>9.2799999999999994</c:v>
                      </c:pt>
                      <c:pt idx="2559">
                        <c:v>9.36</c:v>
                      </c:pt>
                      <c:pt idx="2560">
                        <c:v>17.8</c:v>
                      </c:pt>
                      <c:pt idx="2561">
                        <c:v>25.36</c:v>
                      </c:pt>
                      <c:pt idx="2562">
                        <c:v>32.15</c:v>
                      </c:pt>
                      <c:pt idx="2563">
                        <c:v>33.909999999999997</c:v>
                      </c:pt>
                      <c:pt idx="2564">
                        <c:v>33.950000000000003</c:v>
                      </c:pt>
                      <c:pt idx="2565">
                        <c:v>33.93</c:v>
                      </c:pt>
                      <c:pt idx="2566">
                        <c:v>30.95</c:v>
                      </c:pt>
                      <c:pt idx="2567">
                        <c:v>29.54</c:v>
                      </c:pt>
                      <c:pt idx="2568">
                        <c:v>28.36</c:v>
                      </c:pt>
                      <c:pt idx="2569">
                        <c:v>27.77</c:v>
                      </c:pt>
                      <c:pt idx="2570">
                        <c:v>27.26</c:v>
                      </c:pt>
                      <c:pt idx="2571">
                        <c:v>26.97</c:v>
                      </c:pt>
                      <c:pt idx="2572">
                        <c:v>30.91</c:v>
                      </c:pt>
                      <c:pt idx="2573">
                        <c:v>39.94</c:v>
                      </c:pt>
                      <c:pt idx="2574">
                        <c:v>43.35</c:v>
                      </c:pt>
                      <c:pt idx="2575">
                        <c:v>45.39</c:v>
                      </c:pt>
                      <c:pt idx="2576">
                        <c:v>41.05</c:v>
                      </c:pt>
                      <c:pt idx="2577">
                        <c:v>39.880000000000003</c:v>
                      </c:pt>
                      <c:pt idx="2578">
                        <c:v>37.97</c:v>
                      </c:pt>
                      <c:pt idx="2579">
                        <c:v>35.9</c:v>
                      </c:pt>
                      <c:pt idx="2580">
                        <c:v>33.83</c:v>
                      </c:pt>
                      <c:pt idx="2581">
                        <c:v>31.04</c:v>
                      </c:pt>
                      <c:pt idx="2582">
                        <c:v>30.43</c:v>
                      </c:pt>
                      <c:pt idx="2583">
                        <c:v>30.1</c:v>
                      </c:pt>
                      <c:pt idx="2584">
                        <c:v>30.85</c:v>
                      </c:pt>
                      <c:pt idx="2585">
                        <c:v>33.92</c:v>
                      </c:pt>
                      <c:pt idx="2586">
                        <c:v>37.950000000000003</c:v>
                      </c:pt>
                      <c:pt idx="2587">
                        <c:v>38</c:v>
                      </c:pt>
                      <c:pt idx="2588">
                        <c:v>37.71</c:v>
                      </c:pt>
                      <c:pt idx="2589">
                        <c:v>34.08</c:v>
                      </c:pt>
                      <c:pt idx="2590">
                        <c:v>31.07</c:v>
                      </c:pt>
                      <c:pt idx="2591">
                        <c:v>30.35</c:v>
                      </c:pt>
                      <c:pt idx="2592">
                        <c:v>30.02</c:v>
                      </c:pt>
                      <c:pt idx="2593">
                        <c:v>29.94</c:v>
                      </c:pt>
                      <c:pt idx="2594">
                        <c:v>30.25</c:v>
                      </c:pt>
                      <c:pt idx="2595">
                        <c:v>30.83</c:v>
                      </c:pt>
                      <c:pt idx="2596">
                        <c:v>31.81</c:v>
                      </c:pt>
                      <c:pt idx="2597">
                        <c:v>38.9</c:v>
                      </c:pt>
                      <c:pt idx="2598">
                        <c:v>46.88</c:v>
                      </c:pt>
                      <c:pt idx="2599">
                        <c:v>48.38</c:v>
                      </c:pt>
                      <c:pt idx="2600">
                        <c:v>43.67</c:v>
                      </c:pt>
                      <c:pt idx="2601">
                        <c:v>38.97</c:v>
                      </c:pt>
                      <c:pt idx="2602">
                        <c:v>37.4</c:v>
                      </c:pt>
                      <c:pt idx="2603">
                        <c:v>37.1</c:v>
                      </c:pt>
                      <c:pt idx="2604">
                        <c:v>36.61</c:v>
                      </c:pt>
                      <c:pt idx="2605">
                        <c:v>34.47</c:v>
                      </c:pt>
                      <c:pt idx="2606">
                        <c:v>33.07</c:v>
                      </c:pt>
                      <c:pt idx="2607">
                        <c:v>33.729999999999997</c:v>
                      </c:pt>
                      <c:pt idx="2608">
                        <c:v>36.89</c:v>
                      </c:pt>
                      <c:pt idx="2609">
                        <c:v>38.92</c:v>
                      </c:pt>
                      <c:pt idx="2610">
                        <c:v>41.19</c:v>
                      </c:pt>
                      <c:pt idx="2611">
                        <c:v>44.01</c:v>
                      </c:pt>
                      <c:pt idx="2612">
                        <c:v>43.06</c:v>
                      </c:pt>
                      <c:pt idx="2613">
                        <c:v>38.049999999999997</c:v>
                      </c:pt>
                      <c:pt idx="2614">
                        <c:v>34.159999999999997</c:v>
                      </c:pt>
                      <c:pt idx="2615">
                        <c:v>32.03</c:v>
                      </c:pt>
                      <c:pt idx="2616">
                        <c:v>32.950000000000003</c:v>
                      </c:pt>
                      <c:pt idx="2617">
                        <c:v>31.43</c:v>
                      </c:pt>
                      <c:pt idx="2618">
                        <c:v>31.62</c:v>
                      </c:pt>
                      <c:pt idx="2619">
                        <c:v>31.71</c:v>
                      </c:pt>
                      <c:pt idx="2620">
                        <c:v>33.200000000000003</c:v>
                      </c:pt>
                      <c:pt idx="2621">
                        <c:v>42.03</c:v>
                      </c:pt>
                      <c:pt idx="2622">
                        <c:v>48.41</c:v>
                      </c:pt>
                      <c:pt idx="2623">
                        <c:v>52</c:v>
                      </c:pt>
                      <c:pt idx="2624">
                        <c:v>43.87</c:v>
                      </c:pt>
                      <c:pt idx="2625">
                        <c:v>38.47</c:v>
                      </c:pt>
                      <c:pt idx="2626">
                        <c:v>36.32</c:v>
                      </c:pt>
                      <c:pt idx="2627">
                        <c:v>33.86</c:v>
                      </c:pt>
                      <c:pt idx="2628">
                        <c:v>32.4</c:v>
                      </c:pt>
                      <c:pt idx="2629">
                        <c:v>31.07</c:v>
                      </c:pt>
                      <c:pt idx="2630">
                        <c:v>31.09</c:v>
                      </c:pt>
                      <c:pt idx="2631">
                        <c:v>33.01</c:v>
                      </c:pt>
                      <c:pt idx="2632">
                        <c:v>36.89</c:v>
                      </c:pt>
                      <c:pt idx="2633">
                        <c:v>39.94</c:v>
                      </c:pt>
                      <c:pt idx="2634">
                        <c:v>45.01</c:v>
                      </c:pt>
                      <c:pt idx="2635">
                        <c:v>46.61</c:v>
                      </c:pt>
                      <c:pt idx="2636">
                        <c:v>44.06</c:v>
                      </c:pt>
                      <c:pt idx="2637">
                        <c:v>35.229999999999997</c:v>
                      </c:pt>
                      <c:pt idx="2638">
                        <c:v>29.22</c:v>
                      </c:pt>
                      <c:pt idx="2639">
                        <c:v>29.3</c:v>
                      </c:pt>
                      <c:pt idx="2640">
                        <c:v>25.05</c:v>
                      </c:pt>
                      <c:pt idx="2641">
                        <c:v>26.52</c:v>
                      </c:pt>
                      <c:pt idx="2642">
                        <c:v>25.25</c:v>
                      </c:pt>
                      <c:pt idx="2643">
                        <c:v>24.05</c:v>
                      </c:pt>
                      <c:pt idx="2644">
                        <c:v>28.25</c:v>
                      </c:pt>
                      <c:pt idx="2645">
                        <c:v>40.020000000000003</c:v>
                      </c:pt>
                      <c:pt idx="2646">
                        <c:v>42.5</c:v>
                      </c:pt>
                      <c:pt idx="2647">
                        <c:v>42.61</c:v>
                      </c:pt>
                      <c:pt idx="2648">
                        <c:v>38.950000000000003</c:v>
                      </c:pt>
                      <c:pt idx="2649">
                        <c:v>34.47</c:v>
                      </c:pt>
                      <c:pt idx="2650">
                        <c:v>31.97</c:v>
                      </c:pt>
                      <c:pt idx="2651">
                        <c:v>28.08</c:v>
                      </c:pt>
                      <c:pt idx="2652">
                        <c:v>21.15</c:v>
                      </c:pt>
                      <c:pt idx="2653">
                        <c:v>20.79</c:v>
                      </c:pt>
                      <c:pt idx="2654">
                        <c:v>19.84</c:v>
                      </c:pt>
                      <c:pt idx="2655">
                        <c:v>24.04</c:v>
                      </c:pt>
                      <c:pt idx="2656">
                        <c:v>27.08</c:v>
                      </c:pt>
                      <c:pt idx="2657">
                        <c:v>29.14</c:v>
                      </c:pt>
                      <c:pt idx="2658">
                        <c:v>31.02</c:v>
                      </c:pt>
                      <c:pt idx="2659">
                        <c:v>30.64</c:v>
                      </c:pt>
                      <c:pt idx="2660">
                        <c:v>24.01</c:v>
                      </c:pt>
                      <c:pt idx="2661">
                        <c:v>16.260000000000002</c:v>
                      </c:pt>
                      <c:pt idx="2662">
                        <c:v>3.55</c:v>
                      </c:pt>
                      <c:pt idx="2663">
                        <c:v>0.88</c:v>
                      </c:pt>
                      <c:pt idx="2664">
                        <c:v>8</c:v>
                      </c:pt>
                      <c:pt idx="2665">
                        <c:v>8.2200000000000006</c:v>
                      </c:pt>
                      <c:pt idx="2666">
                        <c:v>8.0299999999999994</c:v>
                      </c:pt>
                      <c:pt idx="2667">
                        <c:v>9.08</c:v>
                      </c:pt>
                      <c:pt idx="2668">
                        <c:v>9.18</c:v>
                      </c:pt>
                      <c:pt idx="2669">
                        <c:v>9.19</c:v>
                      </c:pt>
                      <c:pt idx="2670">
                        <c:v>10.72</c:v>
                      </c:pt>
                      <c:pt idx="2671">
                        <c:v>13.09</c:v>
                      </c:pt>
                      <c:pt idx="2672">
                        <c:v>13.47</c:v>
                      </c:pt>
                      <c:pt idx="2673">
                        <c:v>9.5399999999999991</c:v>
                      </c:pt>
                      <c:pt idx="2674">
                        <c:v>9.1199999999999992</c:v>
                      </c:pt>
                      <c:pt idx="2675">
                        <c:v>9.0399999999999991</c:v>
                      </c:pt>
                      <c:pt idx="2676">
                        <c:v>8.1</c:v>
                      </c:pt>
                      <c:pt idx="2677">
                        <c:v>5.0199999999999996</c:v>
                      </c:pt>
                      <c:pt idx="2678">
                        <c:v>7.11</c:v>
                      </c:pt>
                      <c:pt idx="2679">
                        <c:v>9.0500000000000007</c:v>
                      </c:pt>
                      <c:pt idx="2680">
                        <c:v>10.72</c:v>
                      </c:pt>
                      <c:pt idx="2681">
                        <c:v>20.79</c:v>
                      </c:pt>
                      <c:pt idx="2682">
                        <c:v>23.01</c:v>
                      </c:pt>
                      <c:pt idx="2683">
                        <c:v>24.5</c:v>
                      </c:pt>
                      <c:pt idx="2684">
                        <c:v>24.2</c:v>
                      </c:pt>
                      <c:pt idx="2685">
                        <c:v>24.15</c:v>
                      </c:pt>
                      <c:pt idx="2686">
                        <c:v>20.2</c:v>
                      </c:pt>
                      <c:pt idx="2687">
                        <c:v>9.0399999999999991</c:v>
                      </c:pt>
                      <c:pt idx="2688">
                        <c:v>8.9700000000000006</c:v>
                      </c:pt>
                      <c:pt idx="2689">
                        <c:v>8.31</c:v>
                      </c:pt>
                      <c:pt idx="2690">
                        <c:v>8.94</c:v>
                      </c:pt>
                      <c:pt idx="2691">
                        <c:v>10.050000000000001</c:v>
                      </c:pt>
                      <c:pt idx="2692">
                        <c:v>9.0399999999999991</c:v>
                      </c:pt>
                      <c:pt idx="2693">
                        <c:v>9.02</c:v>
                      </c:pt>
                      <c:pt idx="2694">
                        <c:v>8.0399999999999991</c:v>
                      </c:pt>
                      <c:pt idx="2695">
                        <c:v>8.89</c:v>
                      </c:pt>
                      <c:pt idx="2696">
                        <c:v>8.86</c:v>
                      </c:pt>
                      <c:pt idx="2697">
                        <c:v>2.96</c:v>
                      </c:pt>
                      <c:pt idx="2698">
                        <c:v>6.54</c:v>
                      </c:pt>
                      <c:pt idx="2699">
                        <c:v>3.72</c:v>
                      </c:pt>
                      <c:pt idx="2700">
                        <c:v>-7.65</c:v>
                      </c:pt>
                      <c:pt idx="2701">
                        <c:v>-15.03</c:v>
                      </c:pt>
                      <c:pt idx="2702">
                        <c:v>-9.18</c:v>
                      </c:pt>
                      <c:pt idx="2703">
                        <c:v>-0.15</c:v>
                      </c:pt>
                      <c:pt idx="2704">
                        <c:v>7.6</c:v>
                      </c:pt>
                      <c:pt idx="2705">
                        <c:v>21.08</c:v>
                      </c:pt>
                      <c:pt idx="2706">
                        <c:v>30.63</c:v>
                      </c:pt>
                      <c:pt idx="2707">
                        <c:v>34.54</c:v>
                      </c:pt>
                      <c:pt idx="2708">
                        <c:v>36.65</c:v>
                      </c:pt>
                      <c:pt idx="2709">
                        <c:v>37.1</c:v>
                      </c:pt>
                      <c:pt idx="2710">
                        <c:v>29.95</c:v>
                      </c:pt>
                      <c:pt idx="2711">
                        <c:v>29.19</c:v>
                      </c:pt>
                      <c:pt idx="2712">
                        <c:v>27.65</c:v>
                      </c:pt>
                      <c:pt idx="2713">
                        <c:v>27.42</c:v>
                      </c:pt>
                      <c:pt idx="2714">
                        <c:v>26.48</c:v>
                      </c:pt>
                      <c:pt idx="2715">
                        <c:v>27.46</c:v>
                      </c:pt>
                      <c:pt idx="2716">
                        <c:v>30.26</c:v>
                      </c:pt>
                      <c:pt idx="2717">
                        <c:v>38.83</c:v>
                      </c:pt>
                      <c:pt idx="2718">
                        <c:v>40.89</c:v>
                      </c:pt>
                      <c:pt idx="2719">
                        <c:v>40.86</c:v>
                      </c:pt>
                      <c:pt idx="2720">
                        <c:v>31.8</c:v>
                      </c:pt>
                      <c:pt idx="2721">
                        <c:v>24.06</c:v>
                      </c:pt>
                      <c:pt idx="2722">
                        <c:v>12.82</c:v>
                      </c:pt>
                      <c:pt idx="2723">
                        <c:v>9.07</c:v>
                      </c:pt>
                      <c:pt idx="2724">
                        <c:v>20.010000000000002</c:v>
                      </c:pt>
                      <c:pt idx="2725">
                        <c:v>22.44</c:v>
                      </c:pt>
                      <c:pt idx="2726">
                        <c:v>24.9</c:v>
                      </c:pt>
                      <c:pt idx="2727">
                        <c:v>27.71</c:v>
                      </c:pt>
                      <c:pt idx="2728">
                        <c:v>32.19</c:v>
                      </c:pt>
                      <c:pt idx="2729">
                        <c:v>38.35</c:v>
                      </c:pt>
                      <c:pt idx="2730">
                        <c:v>43.3</c:v>
                      </c:pt>
                      <c:pt idx="2731">
                        <c:v>43.59</c:v>
                      </c:pt>
                      <c:pt idx="2732">
                        <c:v>44.51</c:v>
                      </c:pt>
                      <c:pt idx="2733">
                        <c:v>44.38</c:v>
                      </c:pt>
                      <c:pt idx="2734">
                        <c:v>38.549999999999997</c:v>
                      </c:pt>
                      <c:pt idx="2735">
                        <c:v>34.01</c:v>
                      </c:pt>
                      <c:pt idx="2736">
                        <c:v>31.07</c:v>
                      </c:pt>
                      <c:pt idx="2737">
                        <c:v>31.2</c:v>
                      </c:pt>
                      <c:pt idx="2738">
                        <c:v>29.98</c:v>
                      </c:pt>
                      <c:pt idx="2739">
                        <c:v>29.97</c:v>
                      </c:pt>
                      <c:pt idx="2740">
                        <c:v>30.5</c:v>
                      </c:pt>
                      <c:pt idx="2741">
                        <c:v>37.03</c:v>
                      </c:pt>
                      <c:pt idx="2742">
                        <c:v>41.17</c:v>
                      </c:pt>
                      <c:pt idx="2743">
                        <c:v>43</c:v>
                      </c:pt>
                      <c:pt idx="2744">
                        <c:v>41.94</c:v>
                      </c:pt>
                      <c:pt idx="2745">
                        <c:v>39.81</c:v>
                      </c:pt>
                      <c:pt idx="2746">
                        <c:v>38.1</c:v>
                      </c:pt>
                      <c:pt idx="2747">
                        <c:v>35.090000000000003</c:v>
                      </c:pt>
                      <c:pt idx="2748">
                        <c:v>33.909999999999997</c:v>
                      </c:pt>
                      <c:pt idx="2749">
                        <c:v>31.72</c:v>
                      </c:pt>
                      <c:pt idx="2750">
                        <c:v>31.59</c:v>
                      </c:pt>
                      <c:pt idx="2751">
                        <c:v>32.46</c:v>
                      </c:pt>
                      <c:pt idx="2752">
                        <c:v>36.549999999999997</c:v>
                      </c:pt>
                      <c:pt idx="2753">
                        <c:v>39.93</c:v>
                      </c:pt>
                      <c:pt idx="2754">
                        <c:v>42.95</c:v>
                      </c:pt>
                      <c:pt idx="2755">
                        <c:v>42.94</c:v>
                      </c:pt>
                      <c:pt idx="2756">
                        <c:v>41.98</c:v>
                      </c:pt>
                      <c:pt idx="2757">
                        <c:v>38.42</c:v>
                      </c:pt>
                      <c:pt idx="2758">
                        <c:v>33.4</c:v>
                      </c:pt>
                      <c:pt idx="2759">
                        <c:v>30.54</c:v>
                      </c:pt>
                      <c:pt idx="2760">
                        <c:v>30.99</c:v>
                      </c:pt>
                      <c:pt idx="2761">
                        <c:v>30.95</c:v>
                      </c:pt>
                      <c:pt idx="2762">
                        <c:v>30.54</c:v>
                      </c:pt>
                      <c:pt idx="2763">
                        <c:v>30.44</c:v>
                      </c:pt>
                      <c:pt idx="2764">
                        <c:v>33.1</c:v>
                      </c:pt>
                      <c:pt idx="2765">
                        <c:v>42.3</c:v>
                      </c:pt>
                      <c:pt idx="2766">
                        <c:v>46.95</c:v>
                      </c:pt>
                      <c:pt idx="2767">
                        <c:v>53.47</c:v>
                      </c:pt>
                      <c:pt idx="2768">
                        <c:v>46.98</c:v>
                      </c:pt>
                      <c:pt idx="2769">
                        <c:v>45.61</c:v>
                      </c:pt>
                      <c:pt idx="2770">
                        <c:v>44.75</c:v>
                      </c:pt>
                      <c:pt idx="2771">
                        <c:v>44.01</c:v>
                      </c:pt>
                      <c:pt idx="2772">
                        <c:v>42</c:v>
                      </c:pt>
                      <c:pt idx="2773">
                        <c:v>39.11</c:v>
                      </c:pt>
                      <c:pt idx="2774">
                        <c:v>38.64</c:v>
                      </c:pt>
                      <c:pt idx="2775">
                        <c:v>38.61</c:v>
                      </c:pt>
                      <c:pt idx="2776">
                        <c:v>41.92</c:v>
                      </c:pt>
                      <c:pt idx="2777">
                        <c:v>43.86</c:v>
                      </c:pt>
                      <c:pt idx="2778">
                        <c:v>44.09</c:v>
                      </c:pt>
                      <c:pt idx="2779">
                        <c:v>44.34</c:v>
                      </c:pt>
                      <c:pt idx="2780">
                        <c:v>42.93</c:v>
                      </c:pt>
                      <c:pt idx="2781">
                        <c:v>39.1</c:v>
                      </c:pt>
                      <c:pt idx="2782">
                        <c:v>32.58</c:v>
                      </c:pt>
                      <c:pt idx="2783">
                        <c:v>32.19</c:v>
                      </c:pt>
                      <c:pt idx="2784">
                        <c:v>31.46</c:v>
                      </c:pt>
                      <c:pt idx="2785">
                        <c:v>31.06</c:v>
                      </c:pt>
                      <c:pt idx="2786">
                        <c:v>31.04</c:v>
                      </c:pt>
                      <c:pt idx="2787">
                        <c:v>31.52</c:v>
                      </c:pt>
                      <c:pt idx="2788">
                        <c:v>32.479999999999997</c:v>
                      </c:pt>
                      <c:pt idx="2789">
                        <c:v>41.19</c:v>
                      </c:pt>
                      <c:pt idx="2790">
                        <c:v>44.97</c:v>
                      </c:pt>
                      <c:pt idx="2791">
                        <c:v>45.93</c:v>
                      </c:pt>
                      <c:pt idx="2792">
                        <c:v>43.67</c:v>
                      </c:pt>
                      <c:pt idx="2793">
                        <c:v>42.92</c:v>
                      </c:pt>
                      <c:pt idx="2794">
                        <c:v>40.950000000000003</c:v>
                      </c:pt>
                      <c:pt idx="2795">
                        <c:v>35.83</c:v>
                      </c:pt>
                      <c:pt idx="2796">
                        <c:v>34.99</c:v>
                      </c:pt>
                      <c:pt idx="2797">
                        <c:v>32.01</c:v>
                      </c:pt>
                      <c:pt idx="2798">
                        <c:v>32.9</c:v>
                      </c:pt>
                      <c:pt idx="2799">
                        <c:v>32.89</c:v>
                      </c:pt>
                      <c:pt idx="2800">
                        <c:v>35.049999999999997</c:v>
                      </c:pt>
                      <c:pt idx="2801">
                        <c:v>37.96</c:v>
                      </c:pt>
                      <c:pt idx="2802">
                        <c:v>41.97</c:v>
                      </c:pt>
                      <c:pt idx="2803">
                        <c:v>41.91</c:v>
                      </c:pt>
                      <c:pt idx="2804">
                        <c:v>41.08</c:v>
                      </c:pt>
                      <c:pt idx="2805">
                        <c:v>34.869999999999997</c:v>
                      </c:pt>
                      <c:pt idx="2806">
                        <c:v>32</c:v>
                      </c:pt>
                      <c:pt idx="2807">
                        <c:v>31.38</c:v>
                      </c:pt>
                      <c:pt idx="2808">
                        <c:v>31.23</c:v>
                      </c:pt>
                      <c:pt idx="2809">
                        <c:v>30.61</c:v>
                      </c:pt>
                      <c:pt idx="2810">
                        <c:v>30.92</c:v>
                      </c:pt>
                      <c:pt idx="2811">
                        <c:v>31.41</c:v>
                      </c:pt>
                      <c:pt idx="2812">
                        <c:v>33.520000000000003</c:v>
                      </c:pt>
                      <c:pt idx="2813">
                        <c:v>37.14</c:v>
                      </c:pt>
                      <c:pt idx="2814">
                        <c:v>45.4</c:v>
                      </c:pt>
                      <c:pt idx="2815">
                        <c:v>46.94</c:v>
                      </c:pt>
                      <c:pt idx="2816">
                        <c:v>44.99</c:v>
                      </c:pt>
                      <c:pt idx="2817">
                        <c:v>42.9</c:v>
                      </c:pt>
                      <c:pt idx="2818">
                        <c:v>41.9</c:v>
                      </c:pt>
                      <c:pt idx="2819">
                        <c:v>38.99</c:v>
                      </c:pt>
                      <c:pt idx="2820">
                        <c:v>35.46</c:v>
                      </c:pt>
                      <c:pt idx="2821">
                        <c:v>33.619999999999997</c:v>
                      </c:pt>
                      <c:pt idx="2822">
                        <c:v>33.049999999999997</c:v>
                      </c:pt>
                      <c:pt idx="2823">
                        <c:v>32.76</c:v>
                      </c:pt>
                      <c:pt idx="2824">
                        <c:v>33.78</c:v>
                      </c:pt>
                      <c:pt idx="2825">
                        <c:v>40.29</c:v>
                      </c:pt>
                      <c:pt idx="2826">
                        <c:v>43.91</c:v>
                      </c:pt>
                      <c:pt idx="2827">
                        <c:v>42.99</c:v>
                      </c:pt>
                      <c:pt idx="2828">
                        <c:v>37.97</c:v>
                      </c:pt>
                      <c:pt idx="2829">
                        <c:v>32.65</c:v>
                      </c:pt>
                      <c:pt idx="2830">
                        <c:v>31.08</c:v>
                      </c:pt>
                      <c:pt idx="2831">
                        <c:v>33.61</c:v>
                      </c:pt>
                      <c:pt idx="2832">
                        <c:v>28.44</c:v>
                      </c:pt>
                      <c:pt idx="2833">
                        <c:v>29.88</c:v>
                      </c:pt>
                      <c:pt idx="2834">
                        <c:v>29.86</c:v>
                      </c:pt>
                      <c:pt idx="2835">
                        <c:v>30.16</c:v>
                      </c:pt>
                      <c:pt idx="2836">
                        <c:v>30.58</c:v>
                      </c:pt>
                      <c:pt idx="2837">
                        <c:v>32.46</c:v>
                      </c:pt>
                      <c:pt idx="2838">
                        <c:v>33.72</c:v>
                      </c:pt>
                      <c:pt idx="2839">
                        <c:v>32.69</c:v>
                      </c:pt>
                      <c:pt idx="2840">
                        <c:v>32.56</c:v>
                      </c:pt>
                      <c:pt idx="2841">
                        <c:v>28.81</c:v>
                      </c:pt>
                      <c:pt idx="2842">
                        <c:v>26.82</c:v>
                      </c:pt>
                      <c:pt idx="2843">
                        <c:v>25.43</c:v>
                      </c:pt>
                      <c:pt idx="2844">
                        <c:v>23.09</c:v>
                      </c:pt>
                      <c:pt idx="2845">
                        <c:v>25.24</c:v>
                      </c:pt>
                      <c:pt idx="2846">
                        <c:v>25.04</c:v>
                      </c:pt>
                      <c:pt idx="2847">
                        <c:v>27.46</c:v>
                      </c:pt>
                      <c:pt idx="2848">
                        <c:v>29.19</c:v>
                      </c:pt>
                      <c:pt idx="2849">
                        <c:v>32.54</c:v>
                      </c:pt>
                      <c:pt idx="2850">
                        <c:v>34.93</c:v>
                      </c:pt>
                      <c:pt idx="2851">
                        <c:v>34.79</c:v>
                      </c:pt>
                      <c:pt idx="2852">
                        <c:v>34.9</c:v>
                      </c:pt>
                      <c:pt idx="2853">
                        <c:v>32.93</c:v>
                      </c:pt>
                      <c:pt idx="2854">
                        <c:v>30.47</c:v>
                      </c:pt>
                      <c:pt idx="2855">
                        <c:v>29.29</c:v>
                      </c:pt>
                      <c:pt idx="2856">
                        <c:v>26.02</c:v>
                      </c:pt>
                      <c:pt idx="2857">
                        <c:v>22.06</c:v>
                      </c:pt>
                      <c:pt idx="2858">
                        <c:v>13.13</c:v>
                      </c:pt>
                      <c:pt idx="2859">
                        <c:v>9.6300000000000008</c:v>
                      </c:pt>
                      <c:pt idx="2860">
                        <c:v>10.06</c:v>
                      </c:pt>
                      <c:pt idx="2861">
                        <c:v>16.8</c:v>
                      </c:pt>
                      <c:pt idx="2862">
                        <c:v>9.6</c:v>
                      </c:pt>
                      <c:pt idx="2863">
                        <c:v>9.56</c:v>
                      </c:pt>
                      <c:pt idx="2864">
                        <c:v>8.7100000000000009</c:v>
                      </c:pt>
                      <c:pt idx="2865">
                        <c:v>3.23</c:v>
                      </c:pt>
                      <c:pt idx="2866">
                        <c:v>-1.9</c:v>
                      </c:pt>
                      <c:pt idx="2867">
                        <c:v>-1.18</c:v>
                      </c:pt>
                      <c:pt idx="2868">
                        <c:v>-70.010000000000005</c:v>
                      </c:pt>
                      <c:pt idx="2869">
                        <c:v>-74.92</c:v>
                      </c:pt>
                      <c:pt idx="2870">
                        <c:v>-71.959999999999994</c:v>
                      </c:pt>
                      <c:pt idx="2871">
                        <c:v>-49.97</c:v>
                      </c:pt>
                      <c:pt idx="2872">
                        <c:v>-6</c:v>
                      </c:pt>
                      <c:pt idx="2873">
                        <c:v>-1.21</c:v>
                      </c:pt>
                      <c:pt idx="2874">
                        <c:v>8.86</c:v>
                      </c:pt>
                      <c:pt idx="2875">
                        <c:v>10.08</c:v>
                      </c:pt>
                      <c:pt idx="2876">
                        <c:v>8.8699999999999992</c:v>
                      </c:pt>
                      <c:pt idx="2877">
                        <c:v>-0.54</c:v>
                      </c:pt>
                      <c:pt idx="2878">
                        <c:v>-70.010000000000005</c:v>
                      </c:pt>
                      <c:pt idx="2879">
                        <c:v>-26.94</c:v>
                      </c:pt>
                      <c:pt idx="2880">
                        <c:v>-25</c:v>
                      </c:pt>
                      <c:pt idx="2881">
                        <c:v>-30.11</c:v>
                      </c:pt>
                      <c:pt idx="2882">
                        <c:v>-30.03</c:v>
                      </c:pt>
                      <c:pt idx="2883">
                        <c:v>-24.9</c:v>
                      </c:pt>
                      <c:pt idx="2884">
                        <c:v>-30.05</c:v>
                      </c:pt>
                      <c:pt idx="2885">
                        <c:v>-62.95</c:v>
                      </c:pt>
                      <c:pt idx="2886">
                        <c:v>-53.85</c:v>
                      </c:pt>
                      <c:pt idx="2887">
                        <c:v>-67.02</c:v>
                      </c:pt>
                      <c:pt idx="2888">
                        <c:v>-65</c:v>
                      </c:pt>
                      <c:pt idx="2889">
                        <c:v>-67.08</c:v>
                      </c:pt>
                      <c:pt idx="2890">
                        <c:v>-66.849999999999994</c:v>
                      </c:pt>
                      <c:pt idx="2891">
                        <c:v>-60.39</c:v>
                      </c:pt>
                      <c:pt idx="2892">
                        <c:v>-61.14</c:v>
                      </c:pt>
                      <c:pt idx="2893">
                        <c:v>-27.22</c:v>
                      </c:pt>
                      <c:pt idx="2894">
                        <c:v>-12.01</c:v>
                      </c:pt>
                      <c:pt idx="2895">
                        <c:v>-1.2</c:v>
                      </c:pt>
                      <c:pt idx="2896">
                        <c:v>7.42</c:v>
                      </c:pt>
                      <c:pt idx="2897">
                        <c:v>14.01</c:v>
                      </c:pt>
                      <c:pt idx="2898">
                        <c:v>25.78</c:v>
                      </c:pt>
                      <c:pt idx="2899">
                        <c:v>24.9</c:v>
                      </c:pt>
                      <c:pt idx="2900">
                        <c:v>22.98</c:v>
                      </c:pt>
                      <c:pt idx="2901">
                        <c:v>22.09</c:v>
                      </c:pt>
                      <c:pt idx="2902">
                        <c:v>12.05</c:v>
                      </c:pt>
                      <c:pt idx="2903">
                        <c:v>13.47</c:v>
                      </c:pt>
                      <c:pt idx="2904">
                        <c:v>12.01</c:v>
                      </c:pt>
                      <c:pt idx="2905">
                        <c:v>10.41</c:v>
                      </c:pt>
                      <c:pt idx="2906">
                        <c:v>12.03</c:v>
                      </c:pt>
                      <c:pt idx="2907">
                        <c:v>9.69</c:v>
                      </c:pt>
                      <c:pt idx="2908">
                        <c:v>25.03</c:v>
                      </c:pt>
                      <c:pt idx="2909">
                        <c:v>33.950000000000003</c:v>
                      </c:pt>
                      <c:pt idx="2910">
                        <c:v>38.97</c:v>
                      </c:pt>
                      <c:pt idx="2911">
                        <c:v>39.979999999999997</c:v>
                      </c:pt>
                      <c:pt idx="2912">
                        <c:v>35.840000000000003</c:v>
                      </c:pt>
                      <c:pt idx="2913">
                        <c:v>34.85</c:v>
                      </c:pt>
                      <c:pt idx="2914">
                        <c:v>33.47</c:v>
                      </c:pt>
                      <c:pt idx="2915">
                        <c:v>31.04</c:v>
                      </c:pt>
                      <c:pt idx="2916">
                        <c:v>30.78</c:v>
                      </c:pt>
                      <c:pt idx="2917">
                        <c:v>30.4</c:v>
                      </c:pt>
                      <c:pt idx="2918">
                        <c:v>30.41</c:v>
                      </c:pt>
                      <c:pt idx="2919">
                        <c:v>30.43</c:v>
                      </c:pt>
                      <c:pt idx="2920">
                        <c:v>31.02</c:v>
                      </c:pt>
                      <c:pt idx="2921">
                        <c:v>34.97</c:v>
                      </c:pt>
                      <c:pt idx="2922">
                        <c:v>38.520000000000003</c:v>
                      </c:pt>
                      <c:pt idx="2923">
                        <c:v>38.57</c:v>
                      </c:pt>
                      <c:pt idx="2924">
                        <c:v>35.229999999999997</c:v>
                      </c:pt>
                      <c:pt idx="2925">
                        <c:v>33.340000000000003</c:v>
                      </c:pt>
                      <c:pt idx="2926">
                        <c:v>28.46</c:v>
                      </c:pt>
                      <c:pt idx="2927">
                        <c:v>28.59</c:v>
                      </c:pt>
                      <c:pt idx="2928">
                        <c:v>27.43</c:v>
                      </c:pt>
                      <c:pt idx="2929">
                        <c:v>27.48</c:v>
                      </c:pt>
                      <c:pt idx="2930">
                        <c:v>28.5</c:v>
                      </c:pt>
                      <c:pt idx="2931">
                        <c:v>30.35</c:v>
                      </c:pt>
                      <c:pt idx="2932">
                        <c:v>31.95</c:v>
                      </c:pt>
                      <c:pt idx="2933">
                        <c:v>39.51</c:v>
                      </c:pt>
                      <c:pt idx="2934">
                        <c:v>44.99</c:v>
                      </c:pt>
                      <c:pt idx="2935">
                        <c:v>45</c:v>
                      </c:pt>
                      <c:pt idx="2936">
                        <c:v>39.729999999999997</c:v>
                      </c:pt>
                      <c:pt idx="2937">
                        <c:v>38.97</c:v>
                      </c:pt>
                      <c:pt idx="2938">
                        <c:v>38.479999999999997</c:v>
                      </c:pt>
                      <c:pt idx="2939">
                        <c:v>34.270000000000003</c:v>
                      </c:pt>
                      <c:pt idx="2940">
                        <c:v>33.94</c:v>
                      </c:pt>
                      <c:pt idx="2941">
                        <c:v>34.01</c:v>
                      </c:pt>
                      <c:pt idx="2942">
                        <c:v>32.83</c:v>
                      </c:pt>
                      <c:pt idx="2943">
                        <c:v>31.79</c:v>
                      </c:pt>
                      <c:pt idx="2944">
                        <c:v>32.43</c:v>
                      </c:pt>
                      <c:pt idx="2945">
                        <c:v>34.9</c:v>
                      </c:pt>
                      <c:pt idx="2946">
                        <c:v>37.659999999999997</c:v>
                      </c:pt>
                      <c:pt idx="2947">
                        <c:v>38.94</c:v>
                      </c:pt>
                      <c:pt idx="2948">
                        <c:v>36.97</c:v>
                      </c:pt>
                      <c:pt idx="2949">
                        <c:v>30.52</c:v>
                      </c:pt>
                      <c:pt idx="2950">
                        <c:v>28.6</c:v>
                      </c:pt>
                      <c:pt idx="2951">
                        <c:v>26.91</c:v>
                      </c:pt>
                      <c:pt idx="2952">
                        <c:v>26.26</c:v>
                      </c:pt>
                      <c:pt idx="2953">
                        <c:v>24.57</c:v>
                      </c:pt>
                      <c:pt idx="2954">
                        <c:v>24.82</c:v>
                      </c:pt>
                      <c:pt idx="2955">
                        <c:v>25.8</c:v>
                      </c:pt>
                      <c:pt idx="2956">
                        <c:v>27.57</c:v>
                      </c:pt>
                      <c:pt idx="2957">
                        <c:v>33.229999999999997</c:v>
                      </c:pt>
                      <c:pt idx="2958">
                        <c:v>38.94</c:v>
                      </c:pt>
                      <c:pt idx="2959">
                        <c:v>39.909999999999997</c:v>
                      </c:pt>
                      <c:pt idx="2960">
                        <c:v>39.14</c:v>
                      </c:pt>
                      <c:pt idx="2961">
                        <c:v>38.94</c:v>
                      </c:pt>
                      <c:pt idx="2962">
                        <c:v>38.950000000000003</c:v>
                      </c:pt>
                      <c:pt idx="2963">
                        <c:v>34.17</c:v>
                      </c:pt>
                      <c:pt idx="2964">
                        <c:v>31.94</c:v>
                      </c:pt>
                      <c:pt idx="2965">
                        <c:v>30.46</c:v>
                      </c:pt>
                      <c:pt idx="2966">
                        <c:v>30.4</c:v>
                      </c:pt>
                      <c:pt idx="2967">
                        <c:v>29.79</c:v>
                      </c:pt>
                      <c:pt idx="2968">
                        <c:v>34.4</c:v>
                      </c:pt>
                      <c:pt idx="2969">
                        <c:v>36.97</c:v>
                      </c:pt>
                      <c:pt idx="2970">
                        <c:v>38.97</c:v>
                      </c:pt>
                      <c:pt idx="2971">
                        <c:v>38.950000000000003</c:v>
                      </c:pt>
                      <c:pt idx="2972">
                        <c:v>36.54</c:v>
                      </c:pt>
                      <c:pt idx="2973">
                        <c:v>32.229999999999997</c:v>
                      </c:pt>
                      <c:pt idx="2974">
                        <c:v>26.97</c:v>
                      </c:pt>
                      <c:pt idx="2975">
                        <c:v>28.97</c:v>
                      </c:pt>
                      <c:pt idx="2976">
                        <c:v>28.82</c:v>
                      </c:pt>
                      <c:pt idx="2977">
                        <c:v>28.42</c:v>
                      </c:pt>
                      <c:pt idx="2978">
                        <c:v>28.61</c:v>
                      </c:pt>
                      <c:pt idx="2979">
                        <c:v>29.4</c:v>
                      </c:pt>
                      <c:pt idx="2980">
                        <c:v>30.99</c:v>
                      </c:pt>
                      <c:pt idx="2981">
                        <c:v>37.17</c:v>
                      </c:pt>
                      <c:pt idx="2982">
                        <c:v>43.82</c:v>
                      </c:pt>
                      <c:pt idx="2983">
                        <c:v>48.98</c:v>
                      </c:pt>
                      <c:pt idx="2984">
                        <c:v>49.91</c:v>
                      </c:pt>
                      <c:pt idx="2985">
                        <c:v>47.9</c:v>
                      </c:pt>
                      <c:pt idx="2986">
                        <c:v>46.38</c:v>
                      </c:pt>
                      <c:pt idx="2987">
                        <c:v>42</c:v>
                      </c:pt>
                      <c:pt idx="2988">
                        <c:v>40.090000000000003</c:v>
                      </c:pt>
                      <c:pt idx="2989">
                        <c:v>36.97</c:v>
                      </c:pt>
                      <c:pt idx="2990">
                        <c:v>35.369999999999997</c:v>
                      </c:pt>
                      <c:pt idx="2991">
                        <c:v>34.9</c:v>
                      </c:pt>
                      <c:pt idx="2992">
                        <c:v>37.67</c:v>
                      </c:pt>
                      <c:pt idx="2993">
                        <c:v>40.33</c:v>
                      </c:pt>
                      <c:pt idx="2994">
                        <c:v>42.09</c:v>
                      </c:pt>
                      <c:pt idx="2995">
                        <c:v>41.16</c:v>
                      </c:pt>
                      <c:pt idx="2996">
                        <c:v>38.979999999999997</c:v>
                      </c:pt>
                      <c:pt idx="2997">
                        <c:v>39.270000000000003</c:v>
                      </c:pt>
                      <c:pt idx="2998">
                        <c:v>34.9</c:v>
                      </c:pt>
                      <c:pt idx="2999">
                        <c:v>37.04</c:v>
                      </c:pt>
                      <c:pt idx="3000">
                        <c:v>32.47</c:v>
                      </c:pt>
                      <c:pt idx="3001">
                        <c:v>31.04</c:v>
                      </c:pt>
                      <c:pt idx="3002">
                        <c:v>30.71</c:v>
                      </c:pt>
                      <c:pt idx="3003">
                        <c:v>30.57</c:v>
                      </c:pt>
                      <c:pt idx="3004">
                        <c:v>30.86</c:v>
                      </c:pt>
                      <c:pt idx="3005">
                        <c:v>30.92</c:v>
                      </c:pt>
                      <c:pt idx="3006">
                        <c:v>31.14</c:v>
                      </c:pt>
                      <c:pt idx="3007">
                        <c:v>33.92</c:v>
                      </c:pt>
                      <c:pt idx="3008">
                        <c:v>33.06</c:v>
                      </c:pt>
                      <c:pt idx="3009">
                        <c:v>31.53</c:v>
                      </c:pt>
                      <c:pt idx="3010">
                        <c:v>30.64</c:v>
                      </c:pt>
                      <c:pt idx="3011">
                        <c:v>30.79</c:v>
                      </c:pt>
                      <c:pt idx="3012">
                        <c:v>30.1</c:v>
                      </c:pt>
                      <c:pt idx="3013">
                        <c:v>29.6</c:v>
                      </c:pt>
                      <c:pt idx="3014">
                        <c:v>28.93</c:v>
                      </c:pt>
                      <c:pt idx="3015">
                        <c:v>28.28</c:v>
                      </c:pt>
                      <c:pt idx="3016">
                        <c:v>31.02</c:v>
                      </c:pt>
                      <c:pt idx="3017">
                        <c:v>33.82</c:v>
                      </c:pt>
                      <c:pt idx="3018">
                        <c:v>37.94</c:v>
                      </c:pt>
                      <c:pt idx="3019">
                        <c:v>39.9</c:v>
                      </c:pt>
                      <c:pt idx="3020">
                        <c:v>39.5</c:v>
                      </c:pt>
                      <c:pt idx="3021">
                        <c:v>38.92</c:v>
                      </c:pt>
                      <c:pt idx="3022">
                        <c:v>33.93</c:v>
                      </c:pt>
                      <c:pt idx="3023">
                        <c:v>28.31</c:v>
                      </c:pt>
                      <c:pt idx="3024">
                        <c:v>26.73</c:v>
                      </c:pt>
                      <c:pt idx="3025">
                        <c:v>26.48</c:v>
                      </c:pt>
                      <c:pt idx="3026">
                        <c:v>26.17</c:v>
                      </c:pt>
                      <c:pt idx="3027">
                        <c:v>26.83</c:v>
                      </c:pt>
                      <c:pt idx="3028">
                        <c:v>26.25</c:v>
                      </c:pt>
                      <c:pt idx="3029">
                        <c:v>25.43</c:v>
                      </c:pt>
                      <c:pt idx="3030">
                        <c:v>26.66</c:v>
                      </c:pt>
                      <c:pt idx="3031">
                        <c:v>28.66</c:v>
                      </c:pt>
                      <c:pt idx="3032">
                        <c:v>30.06</c:v>
                      </c:pt>
                      <c:pt idx="3033">
                        <c:v>30.33</c:v>
                      </c:pt>
                      <c:pt idx="3034">
                        <c:v>30.18</c:v>
                      </c:pt>
                      <c:pt idx="3035">
                        <c:v>29.5</c:v>
                      </c:pt>
                      <c:pt idx="3036">
                        <c:v>27.06</c:v>
                      </c:pt>
                      <c:pt idx="3037">
                        <c:v>24</c:v>
                      </c:pt>
                      <c:pt idx="3038">
                        <c:v>24.15</c:v>
                      </c:pt>
                      <c:pt idx="3039">
                        <c:v>25.51</c:v>
                      </c:pt>
                      <c:pt idx="3040">
                        <c:v>27.4</c:v>
                      </c:pt>
                      <c:pt idx="3041">
                        <c:v>29.8</c:v>
                      </c:pt>
                      <c:pt idx="3042">
                        <c:v>31.18</c:v>
                      </c:pt>
                      <c:pt idx="3043">
                        <c:v>32.130000000000003</c:v>
                      </c:pt>
                      <c:pt idx="3044">
                        <c:v>32.01</c:v>
                      </c:pt>
                      <c:pt idx="3045">
                        <c:v>31.26</c:v>
                      </c:pt>
                      <c:pt idx="3046">
                        <c:v>27</c:v>
                      </c:pt>
                      <c:pt idx="3047">
                        <c:v>27.48</c:v>
                      </c:pt>
                      <c:pt idx="3048">
                        <c:v>26.1</c:v>
                      </c:pt>
                      <c:pt idx="3049">
                        <c:v>25.81</c:v>
                      </c:pt>
                      <c:pt idx="3050">
                        <c:v>24.73</c:v>
                      </c:pt>
                      <c:pt idx="3051">
                        <c:v>25.14</c:v>
                      </c:pt>
                      <c:pt idx="3052">
                        <c:v>27.91</c:v>
                      </c:pt>
                      <c:pt idx="3053">
                        <c:v>32</c:v>
                      </c:pt>
                      <c:pt idx="3054">
                        <c:v>36.06</c:v>
                      </c:pt>
                      <c:pt idx="3055">
                        <c:v>40.020000000000003</c:v>
                      </c:pt>
                      <c:pt idx="3056">
                        <c:v>39.93</c:v>
                      </c:pt>
                      <c:pt idx="3057">
                        <c:v>38.97</c:v>
                      </c:pt>
                      <c:pt idx="3058">
                        <c:v>39.979999999999997</c:v>
                      </c:pt>
                      <c:pt idx="3059">
                        <c:v>40.549999999999997</c:v>
                      </c:pt>
                      <c:pt idx="3060">
                        <c:v>36.74</c:v>
                      </c:pt>
                      <c:pt idx="3061">
                        <c:v>32.06</c:v>
                      </c:pt>
                      <c:pt idx="3062">
                        <c:v>31.44</c:v>
                      </c:pt>
                      <c:pt idx="3063">
                        <c:v>31.05</c:v>
                      </c:pt>
                      <c:pt idx="3064">
                        <c:v>32.409999999999997</c:v>
                      </c:pt>
                      <c:pt idx="3065">
                        <c:v>34</c:v>
                      </c:pt>
                      <c:pt idx="3066">
                        <c:v>38.799999999999997</c:v>
                      </c:pt>
                      <c:pt idx="3067">
                        <c:v>37.619999999999997</c:v>
                      </c:pt>
                      <c:pt idx="3068">
                        <c:v>37.99</c:v>
                      </c:pt>
                      <c:pt idx="3069">
                        <c:v>35.07</c:v>
                      </c:pt>
                      <c:pt idx="3070">
                        <c:v>32.44</c:v>
                      </c:pt>
                      <c:pt idx="3071">
                        <c:v>30.81</c:v>
                      </c:pt>
                      <c:pt idx="3072">
                        <c:v>30.56</c:v>
                      </c:pt>
                      <c:pt idx="3073">
                        <c:v>29.5</c:v>
                      </c:pt>
                      <c:pt idx="3074">
                        <c:v>28.94</c:v>
                      </c:pt>
                      <c:pt idx="3075">
                        <c:v>29.9</c:v>
                      </c:pt>
                      <c:pt idx="3076">
                        <c:v>32.07</c:v>
                      </c:pt>
                      <c:pt idx="3077">
                        <c:v>42.83</c:v>
                      </c:pt>
                      <c:pt idx="3078">
                        <c:v>50.45</c:v>
                      </c:pt>
                      <c:pt idx="3079">
                        <c:v>54.99</c:v>
                      </c:pt>
                      <c:pt idx="3080">
                        <c:v>48.65</c:v>
                      </c:pt>
                      <c:pt idx="3081">
                        <c:v>44.75</c:v>
                      </c:pt>
                      <c:pt idx="3082">
                        <c:v>43.83</c:v>
                      </c:pt>
                      <c:pt idx="3083">
                        <c:v>40.630000000000003</c:v>
                      </c:pt>
                      <c:pt idx="3084">
                        <c:v>38</c:v>
                      </c:pt>
                      <c:pt idx="3085">
                        <c:v>35.57</c:v>
                      </c:pt>
                      <c:pt idx="3086">
                        <c:v>36.200000000000003</c:v>
                      </c:pt>
                      <c:pt idx="3087">
                        <c:v>34.44</c:v>
                      </c:pt>
                      <c:pt idx="3088">
                        <c:v>39.64</c:v>
                      </c:pt>
                      <c:pt idx="3089">
                        <c:v>44.9</c:v>
                      </c:pt>
                      <c:pt idx="3090">
                        <c:v>47.45</c:v>
                      </c:pt>
                      <c:pt idx="3091">
                        <c:v>49.12</c:v>
                      </c:pt>
                      <c:pt idx="3092">
                        <c:v>46.93</c:v>
                      </c:pt>
                      <c:pt idx="3093">
                        <c:v>39.9</c:v>
                      </c:pt>
                      <c:pt idx="3094">
                        <c:v>34.06</c:v>
                      </c:pt>
                      <c:pt idx="3095">
                        <c:v>32.06</c:v>
                      </c:pt>
                      <c:pt idx="3096">
                        <c:v>30.99</c:v>
                      </c:pt>
                      <c:pt idx="3097">
                        <c:v>30.75</c:v>
                      </c:pt>
                      <c:pt idx="3098">
                        <c:v>30.72</c:v>
                      </c:pt>
                      <c:pt idx="3099">
                        <c:v>31.03</c:v>
                      </c:pt>
                      <c:pt idx="3100">
                        <c:v>33.11</c:v>
                      </c:pt>
                      <c:pt idx="3101">
                        <c:v>42.04</c:v>
                      </c:pt>
                      <c:pt idx="3102">
                        <c:v>49.98</c:v>
                      </c:pt>
                      <c:pt idx="3103">
                        <c:v>49.07</c:v>
                      </c:pt>
                      <c:pt idx="3104">
                        <c:v>43.86</c:v>
                      </c:pt>
                      <c:pt idx="3105">
                        <c:v>39.159999999999997</c:v>
                      </c:pt>
                      <c:pt idx="3106">
                        <c:v>39.22</c:v>
                      </c:pt>
                      <c:pt idx="3107">
                        <c:v>36.130000000000003</c:v>
                      </c:pt>
                      <c:pt idx="3108">
                        <c:v>36.119999999999997</c:v>
                      </c:pt>
                      <c:pt idx="3109">
                        <c:v>34.520000000000003</c:v>
                      </c:pt>
                      <c:pt idx="3110">
                        <c:v>34.119999999999997</c:v>
                      </c:pt>
                      <c:pt idx="3111">
                        <c:v>35.01</c:v>
                      </c:pt>
                      <c:pt idx="3112">
                        <c:v>41.08</c:v>
                      </c:pt>
                      <c:pt idx="3113">
                        <c:v>44.01</c:v>
                      </c:pt>
                      <c:pt idx="3114">
                        <c:v>48.04</c:v>
                      </c:pt>
                      <c:pt idx="3115">
                        <c:v>47.35</c:v>
                      </c:pt>
                      <c:pt idx="3116">
                        <c:v>48.04</c:v>
                      </c:pt>
                      <c:pt idx="3117">
                        <c:v>42.94</c:v>
                      </c:pt>
                      <c:pt idx="3118">
                        <c:v>32.6</c:v>
                      </c:pt>
                      <c:pt idx="3119">
                        <c:v>31.16</c:v>
                      </c:pt>
                      <c:pt idx="3120">
                        <c:v>30.41</c:v>
                      </c:pt>
                      <c:pt idx="3121">
                        <c:v>29.5</c:v>
                      </c:pt>
                      <c:pt idx="3122">
                        <c:v>29.17</c:v>
                      </c:pt>
                      <c:pt idx="3123">
                        <c:v>29.59</c:v>
                      </c:pt>
                      <c:pt idx="3124">
                        <c:v>30.89</c:v>
                      </c:pt>
                      <c:pt idx="3125">
                        <c:v>34.909999999999997</c:v>
                      </c:pt>
                      <c:pt idx="3126">
                        <c:v>43.1</c:v>
                      </c:pt>
                      <c:pt idx="3127">
                        <c:v>44.49</c:v>
                      </c:pt>
                      <c:pt idx="3128">
                        <c:v>41.93</c:v>
                      </c:pt>
                      <c:pt idx="3129">
                        <c:v>38.54</c:v>
                      </c:pt>
                      <c:pt idx="3130">
                        <c:v>37.47</c:v>
                      </c:pt>
                      <c:pt idx="3131">
                        <c:v>35.32</c:v>
                      </c:pt>
                      <c:pt idx="3132">
                        <c:v>34.380000000000003</c:v>
                      </c:pt>
                      <c:pt idx="3133">
                        <c:v>32.64</c:v>
                      </c:pt>
                      <c:pt idx="3134">
                        <c:v>33.82</c:v>
                      </c:pt>
                      <c:pt idx="3135">
                        <c:v>33.19</c:v>
                      </c:pt>
                      <c:pt idx="3136">
                        <c:v>34.799999999999997</c:v>
                      </c:pt>
                      <c:pt idx="3137">
                        <c:v>35.75</c:v>
                      </c:pt>
                      <c:pt idx="3138">
                        <c:v>34.94</c:v>
                      </c:pt>
                      <c:pt idx="3139">
                        <c:v>33.11</c:v>
                      </c:pt>
                      <c:pt idx="3140">
                        <c:v>31.5</c:v>
                      </c:pt>
                      <c:pt idx="3141">
                        <c:v>27.6</c:v>
                      </c:pt>
                      <c:pt idx="3142">
                        <c:v>26.01</c:v>
                      </c:pt>
                      <c:pt idx="3143">
                        <c:v>26.05</c:v>
                      </c:pt>
                      <c:pt idx="3144">
                        <c:v>27.23</c:v>
                      </c:pt>
                      <c:pt idx="3145">
                        <c:v>27.29</c:v>
                      </c:pt>
                      <c:pt idx="3146">
                        <c:v>27.27</c:v>
                      </c:pt>
                      <c:pt idx="3147">
                        <c:v>27.08</c:v>
                      </c:pt>
                      <c:pt idx="3148">
                        <c:v>29</c:v>
                      </c:pt>
                      <c:pt idx="3149">
                        <c:v>34.369999999999997</c:v>
                      </c:pt>
                      <c:pt idx="3150">
                        <c:v>41.95</c:v>
                      </c:pt>
                      <c:pt idx="3151">
                        <c:v>43.91</c:v>
                      </c:pt>
                      <c:pt idx="3152">
                        <c:v>42</c:v>
                      </c:pt>
                      <c:pt idx="3153">
                        <c:v>42.95</c:v>
                      </c:pt>
                      <c:pt idx="3154">
                        <c:v>42.02</c:v>
                      </c:pt>
                      <c:pt idx="3155">
                        <c:v>36.03</c:v>
                      </c:pt>
                      <c:pt idx="3156">
                        <c:v>31.62</c:v>
                      </c:pt>
                      <c:pt idx="3157">
                        <c:v>30.86</c:v>
                      </c:pt>
                      <c:pt idx="3158">
                        <c:v>30.45</c:v>
                      </c:pt>
                      <c:pt idx="3159">
                        <c:v>31.38</c:v>
                      </c:pt>
                      <c:pt idx="3160">
                        <c:v>36.46</c:v>
                      </c:pt>
                      <c:pt idx="3161">
                        <c:v>40.65</c:v>
                      </c:pt>
                      <c:pt idx="3162">
                        <c:v>42</c:v>
                      </c:pt>
                      <c:pt idx="3163">
                        <c:v>42.62</c:v>
                      </c:pt>
                      <c:pt idx="3164">
                        <c:v>42.93</c:v>
                      </c:pt>
                      <c:pt idx="3165">
                        <c:v>42.93</c:v>
                      </c:pt>
                      <c:pt idx="3166">
                        <c:v>35.909999999999997</c:v>
                      </c:pt>
                      <c:pt idx="3167">
                        <c:v>29.9</c:v>
                      </c:pt>
                      <c:pt idx="3168">
                        <c:v>29.66</c:v>
                      </c:pt>
                      <c:pt idx="3169">
                        <c:v>29.05</c:v>
                      </c:pt>
                      <c:pt idx="3170">
                        <c:v>28.52</c:v>
                      </c:pt>
                      <c:pt idx="3171">
                        <c:v>28.12</c:v>
                      </c:pt>
                      <c:pt idx="3172">
                        <c:v>28.73</c:v>
                      </c:pt>
                      <c:pt idx="3173">
                        <c:v>29.05</c:v>
                      </c:pt>
                      <c:pt idx="3174">
                        <c:v>30.91</c:v>
                      </c:pt>
                      <c:pt idx="3175">
                        <c:v>35.020000000000003</c:v>
                      </c:pt>
                      <c:pt idx="3176">
                        <c:v>35.450000000000003</c:v>
                      </c:pt>
                      <c:pt idx="3177">
                        <c:v>32</c:v>
                      </c:pt>
                      <c:pt idx="3178">
                        <c:v>31.04</c:v>
                      </c:pt>
                      <c:pt idx="3179">
                        <c:v>30.28</c:v>
                      </c:pt>
                      <c:pt idx="3180">
                        <c:v>28.75</c:v>
                      </c:pt>
                      <c:pt idx="3181">
                        <c:v>27.09</c:v>
                      </c:pt>
                      <c:pt idx="3182">
                        <c:v>27.07</c:v>
                      </c:pt>
                      <c:pt idx="3183">
                        <c:v>27.44</c:v>
                      </c:pt>
                      <c:pt idx="3184">
                        <c:v>29.9</c:v>
                      </c:pt>
                      <c:pt idx="3185">
                        <c:v>34.79</c:v>
                      </c:pt>
                      <c:pt idx="3186">
                        <c:v>40</c:v>
                      </c:pt>
                      <c:pt idx="3187">
                        <c:v>41.91</c:v>
                      </c:pt>
                      <c:pt idx="3188">
                        <c:v>41.88</c:v>
                      </c:pt>
                      <c:pt idx="3189">
                        <c:v>40</c:v>
                      </c:pt>
                      <c:pt idx="3190">
                        <c:v>31.08</c:v>
                      </c:pt>
                      <c:pt idx="3191">
                        <c:v>27.66</c:v>
                      </c:pt>
                      <c:pt idx="3192">
                        <c:v>26.54</c:v>
                      </c:pt>
                      <c:pt idx="3193">
                        <c:v>25.65</c:v>
                      </c:pt>
                      <c:pt idx="3194">
                        <c:v>25.63</c:v>
                      </c:pt>
                      <c:pt idx="3195">
                        <c:v>25.2</c:v>
                      </c:pt>
                      <c:pt idx="3196">
                        <c:v>25</c:v>
                      </c:pt>
                      <c:pt idx="3197">
                        <c:v>25.56</c:v>
                      </c:pt>
                      <c:pt idx="3198">
                        <c:v>25.46</c:v>
                      </c:pt>
                      <c:pt idx="3199">
                        <c:v>25.34</c:v>
                      </c:pt>
                      <c:pt idx="3200">
                        <c:v>26.04</c:v>
                      </c:pt>
                      <c:pt idx="3201">
                        <c:v>25.04</c:v>
                      </c:pt>
                      <c:pt idx="3202">
                        <c:v>26.48</c:v>
                      </c:pt>
                      <c:pt idx="3203">
                        <c:v>27.02</c:v>
                      </c:pt>
                      <c:pt idx="3204">
                        <c:v>24.3</c:v>
                      </c:pt>
                      <c:pt idx="3205">
                        <c:v>21.06</c:v>
                      </c:pt>
                      <c:pt idx="3206">
                        <c:v>20.99</c:v>
                      </c:pt>
                      <c:pt idx="3207">
                        <c:v>23.9</c:v>
                      </c:pt>
                      <c:pt idx="3208">
                        <c:v>27.63</c:v>
                      </c:pt>
                      <c:pt idx="3209">
                        <c:v>32.07</c:v>
                      </c:pt>
                      <c:pt idx="3210">
                        <c:v>35.96</c:v>
                      </c:pt>
                      <c:pt idx="3211">
                        <c:v>39.549999999999997</c:v>
                      </c:pt>
                      <c:pt idx="3212">
                        <c:v>40.99</c:v>
                      </c:pt>
                      <c:pt idx="3213">
                        <c:v>38.17</c:v>
                      </c:pt>
                      <c:pt idx="3214">
                        <c:v>31.46</c:v>
                      </c:pt>
                      <c:pt idx="3215">
                        <c:v>30.32</c:v>
                      </c:pt>
                      <c:pt idx="3216">
                        <c:v>27.43</c:v>
                      </c:pt>
                      <c:pt idx="3217">
                        <c:v>27.18</c:v>
                      </c:pt>
                      <c:pt idx="3218">
                        <c:v>26.7</c:v>
                      </c:pt>
                      <c:pt idx="3219">
                        <c:v>27.16</c:v>
                      </c:pt>
                      <c:pt idx="3220">
                        <c:v>29.77</c:v>
                      </c:pt>
                      <c:pt idx="3221">
                        <c:v>35.380000000000003</c:v>
                      </c:pt>
                      <c:pt idx="3222">
                        <c:v>44.02</c:v>
                      </c:pt>
                      <c:pt idx="3223">
                        <c:v>46.1</c:v>
                      </c:pt>
                      <c:pt idx="3224">
                        <c:v>43.95</c:v>
                      </c:pt>
                      <c:pt idx="3225">
                        <c:v>41.94</c:v>
                      </c:pt>
                      <c:pt idx="3226">
                        <c:v>40.07</c:v>
                      </c:pt>
                      <c:pt idx="3227">
                        <c:v>35.659999999999997</c:v>
                      </c:pt>
                      <c:pt idx="3228">
                        <c:v>35.04</c:v>
                      </c:pt>
                      <c:pt idx="3229">
                        <c:v>33.479999999999997</c:v>
                      </c:pt>
                      <c:pt idx="3230">
                        <c:v>32.979999999999997</c:v>
                      </c:pt>
                      <c:pt idx="3231">
                        <c:v>33.14</c:v>
                      </c:pt>
                      <c:pt idx="3232">
                        <c:v>37.74</c:v>
                      </c:pt>
                      <c:pt idx="3233">
                        <c:v>42.82</c:v>
                      </c:pt>
                      <c:pt idx="3234">
                        <c:v>45.73</c:v>
                      </c:pt>
                      <c:pt idx="3235">
                        <c:v>44.2</c:v>
                      </c:pt>
                      <c:pt idx="3236">
                        <c:v>42.29</c:v>
                      </c:pt>
                      <c:pt idx="3237">
                        <c:v>40.22</c:v>
                      </c:pt>
                      <c:pt idx="3238">
                        <c:v>31.08</c:v>
                      </c:pt>
                      <c:pt idx="3239">
                        <c:v>29.5</c:v>
                      </c:pt>
                      <c:pt idx="3240">
                        <c:v>28.01</c:v>
                      </c:pt>
                      <c:pt idx="3241">
                        <c:v>26.7</c:v>
                      </c:pt>
                      <c:pt idx="3242">
                        <c:v>26.53</c:v>
                      </c:pt>
                      <c:pt idx="3243">
                        <c:v>26.38</c:v>
                      </c:pt>
                      <c:pt idx="3244">
                        <c:v>27.93</c:v>
                      </c:pt>
                      <c:pt idx="3245">
                        <c:v>31.81</c:v>
                      </c:pt>
                      <c:pt idx="3246">
                        <c:v>39.96</c:v>
                      </c:pt>
                      <c:pt idx="3247">
                        <c:v>41.35</c:v>
                      </c:pt>
                      <c:pt idx="3248">
                        <c:v>38.42</c:v>
                      </c:pt>
                      <c:pt idx="3249">
                        <c:v>34.53</c:v>
                      </c:pt>
                      <c:pt idx="3250">
                        <c:v>34.840000000000003</c:v>
                      </c:pt>
                      <c:pt idx="3251">
                        <c:v>31.88</c:v>
                      </c:pt>
                      <c:pt idx="3252">
                        <c:v>31.06</c:v>
                      </c:pt>
                      <c:pt idx="3253">
                        <c:v>31.58</c:v>
                      </c:pt>
                      <c:pt idx="3254">
                        <c:v>32.33</c:v>
                      </c:pt>
                      <c:pt idx="3255">
                        <c:v>34.520000000000003</c:v>
                      </c:pt>
                      <c:pt idx="3256">
                        <c:v>37.04</c:v>
                      </c:pt>
                      <c:pt idx="3257">
                        <c:v>41</c:v>
                      </c:pt>
                      <c:pt idx="3258">
                        <c:v>42.94</c:v>
                      </c:pt>
                      <c:pt idx="3259">
                        <c:v>42.77</c:v>
                      </c:pt>
                      <c:pt idx="3260">
                        <c:v>41.5</c:v>
                      </c:pt>
                      <c:pt idx="3261">
                        <c:v>37.01</c:v>
                      </c:pt>
                      <c:pt idx="3262">
                        <c:v>31.92</c:v>
                      </c:pt>
                      <c:pt idx="3263">
                        <c:v>29.66</c:v>
                      </c:pt>
                      <c:pt idx="3264">
                        <c:v>27.7</c:v>
                      </c:pt>
                      <c:pt idx="3265">
                        <c:v>27.17</c:v>
                      </c:pt>
                      <c:pt idx="3266">
                        <c:v>26.45</c:v>
                      </c:pt>
                      <c:pt idx="3267">
                        <c:v>26.49</c:v>
                      </c:pt>
                      <c:pt idx="3268">
                        <c:v>27.58</c:v>
                      </c:pt>
                      <c:pt idx="3269">
                        <c:v>36.19</c:v>
                      </c:pt>
                      <c:pt idx="3270">
                        <c:v>41</c:v>
                      </c:pt>
                      <c:pt idx="3271">
                        <c:v>41</c:v>
                      </c:pt>
                      <c:pt idx="3272">
                        <c:v>38.950000000000003</c:v>
                      </c:pt>
                      <c:pt idx="3273">
                        <c:v>33.54</c:v>
                      </c:pt>
                      <c:pt idx="3274">
                        <c:v>32.94</c:v>
                      </c:pt>
                      <c:pt idx="3275">
                        <c:v>31.03</c:v>
                      </c:pt>
                      <c:pt idx="3276">
                        <c:v>30.21</c:v>
                      </c:pt>
                      <c:pt idx="3277">
                        <c:v>29.14</c:v>
                      </c:pt>
                      <c:pt idx="3278">
                        <c:v>28.22</c:v>
                      </c:pt>
                      <c:pt idx="3279">
                        <c:v>29.48</c:v>
                      </c:pt>
                      <c:pt idx="3280">
                        <c:v>34.770000000000003</c:v>
                      </c:pt>
                      <c:pt idx="3281">
                        <c:v>38.340000000000003</c:v>
                      </c:pt>
                      <c:pt idx="3282">
                        <c:v>40.98</c:v>
                      </c:pt>
                      <c:pt idx="3283">
                        <c:v>37.9</c:v>
                      </c:pt>
                      <c:pt idx="3284">
                        <c:v>34.020000000000003</c:v>
                      </c:pt>
                      <c:pt idx="3285">
                        <c:v>31.01</c:v>
                      </c:pt>
                      <c:pt idx="3286">
                        <c:v>26.68</c:v>
                      </c:pt>
                      <c:pt idx="3287">
                        <c:v>26.04</c:v>
                      </c:pt>
                      <c:pt idx="3288">
                        <c:v>24.31</c:v>
                      </c:pt>
                      <c:pt idx="3289">
                        <c:v>22.43</c:v>
                      </c:pt>
                      <c:pt idx="3290">
                        <c:v>20.68</c:v>
                      </c:pt>
                      <c:pt idx="3291">
                        <c:v>22.46</c:v>
                      </c:pt>
                      <c:pt idx="3292">
                        <c:v>26.06</c:v>
                      </c:pt>
                      <c:pt idx="3293">
                        <c:v>32.68</c:v>
                      </c:pt>
                      <c:pt idx="3294">
                        <c:v>40.4</c:v>
                      </c:pt>
                      <c:pt idx="3295">
                        <c:v>42.98</c:v>
                      </c:pt>
                      <c:pt idx="3296">
                        <c:v>37.93</c:v>
                      </c:pt>
                      <c:pt idx="3297">
                        <c:v>33.14</c:v>
                      </c:pt>
                      <c:pt idx="3298">
                        <c:v>31.75</c:v>
                      </c:pt>
                      <c:pt idx="3299">
                        <c:v>31.02</c:v>
                      </c:pt>
                      <c:pt idx="3300">
                        <c:v>29.99</c:v>
                      </c:pt>
                      <c:pt idx="3301">
                        <c:v>31</c:v>
                      </c:pt>
                      <c:pt idx="3302">
                        <c:v>30.78</c:v>
                      </c:pt>
                      <c:pt idx="3303">
                        <c:v>36.1</c:v>
                      </c:pt>
                      <c:pt idx="3304">
                        <c:v>37.979999999999997</c:v>
                      </c:pt>
                      <c:pt idx="3305">
                        <c:v>39.450000000000003</c:v>
                      </c:pt>
                      <c:pt idx="3306">
                        <c:v>39.54</c:v>
                      </c:pt>
                      <c:pt idx="3307">
                        <c:v>39.909999999999997</c:v>
                      </c:pt>
                      <c:pt idx="3308">
                        <c:v>38.950000000000003</c:v>
                      </c:pt>
                      <c:pt idx="3309">
                        <c:v>37.86</c:v>
                      </c:pt>
                      <c:pt idx="3310">
                        <c:v>32.26</c:v>
                      </c:pt>
                      <c:pt idx="3311">
                        <c:v>30</c:v>
                      </c:pt>
                      <c:pt idx="3312">
                        <c:v>28.6</c:v>
                      </c:pt>
                      <c:pt idx="3313">
                        <c:v>26.67</c:v>
                      </c:pt>
                      <c:pt idx="3314">
                        <c:v>26.31</c:v>
                      </c:pt>
                      <c:pt idx="3315">
                        <c:v>25.97</c:v>
                      </c:pt>
                      <c:pt idx="3316">
                        <c:v>27.6</c:v>
                      </c:pt>
                      <c:pt idx="3317">
                        <c:v>30.9</c:v>
                      </c:pt>
                      <c:pt idx="3318">
                        <c:v>39.909999999999997</c:v>
                      </c:pt>
                      <c:pt idx="3319">
                        <c:v>41.55</c:v>
                      </c:pt>
                      <c:pt idx="3320">
                        <c:v>39.9</c:v>
                      </c:pt>
                      <c:pt idx="3321">
                        <c:v>38.950000000000003</c:v>
                      </c:pt>
                      <c:pt idx="3322">
                        <c:v>39.799999999999997</c:v>
                      </c:pt>
                      <c:pt idx="3323">
                        <c:v>37.72</c:v>
                      </c:pt>
                      <c:pt idx="3324">
                        <c:v>36.380000000000003</c:v>
                      </c:pt>
                      <c:pt idx="3325">
                        <c:v>35.049999999999997</c:v>
                      </c:pt>
                      <c:pt idx="3326">
                        <c:v>34.590000000000003</c:v>
                      </c:pt>
                      <c:pt idx="3327">
                        <c:v>31.06</c:v>
                      </c:pt>
                      <c:pt idx="3328">
                        <c:v>36.01</c:v>
                      </c:pt>
                      <c:pt idx="3329">
                        <c:v>38.5</c:v>
                      </c:pt>
                      <c:pt idx="3330">
                        <c:v>38.97</c:v>
                      </c:pt>
                      <c:pt idx="3331">
                        <c:v>36.04</c:v>
                      </c:pt>
                      <c:pt idx="3332">
                        <c:v>37</c:v>
                      </c:pt>
                      <c:pt idx="3333">
                        <c:v>36.979999999999997</c:v>
                      </c:pt>
                      <c:pt idx="3334">
                        <c:v>32.76</c:v>
                      </c:pt>
                      <c:pt idx="3335">
                        <c:v>24.02</c:v>
                      </c:pt>
                      <c:pt idx="3336">
                        <c:v>24.26</c:v>
                      </c:pt>
                      <c:pt idx="3337">
                        <c:v>24.74</c:v>
                      </c:pt>
                      <c:pt idx="3338">
                        <c:v>26.71</c:v>
                      </c:pt>
                      <c:pt idx="3339">
                        <c:v>25.93</c:v>
                      </c:pt>
                      <c:pt idx="3340">
                        <c:v>24.08</c:v>
                      </c:pt>
                      <c:pt idx="3341">
                        <c:v>26.5</c:v>
                      </c:pt>
                      <c:pt idx="3342">
                        <c:v>26.06</c:v>
                      </c:pt>
                      <c:pt idx="3343">
                        <c:v>27</c:v>
                      </c:pt>
                      <c:pt idx="3344">
                        <c:v>25.3</c:v>
                      </c:pt>
                      <c:pt idx="3345">
                        <c:v>23.99</c:v>
                      </c:pt>
                      <c:pt idx="3346">
                        <c:v>24.11</c:v>
                      </c:pt>
                      <c:pt idx="3347">
                        <c:v>23.83</c:v>
                      </c:pt>
                      <c:pt idx="3348">
                        <c:v>22.83</c:v>
                      </c:pt>
                      <c:pt idx="3349">
                        <c:v>21.44</c:v>
                      </c:pt>
                      <c:pt idx="3350">
                        <c:v>21.73</c:v>
                      </c:pt>
                      <c:pt idx="3351">
                        <c:v>23.92</c:v>
                      </c:pt>
                      <c:pt idx="3352">
                        <c:v>25.64</c:v>
                      </c:pt>
                      <c:pt idx="3353">
                        <c:v>29</c:v>
                      </c:pt>
                      <c:pt idx="3354">
                        <c:v>33.340000000000003</c:v>
                      </c:pt>
                      <c:pt idx="3355">
                        <c:v>33.5</c:v>
                      </c:pt>
                      <c:pt idx="3356">
                        <c:v>33.08</c:v>
                      </c:pt>
                      <c:pt idx="3357">
                        <c:v>34.119999999999997</c:v>
                      </c:pt>
                      <c:pt idx="3358">
                        <c:v>30.05</c:v>
                      </c:pt>
                      <c:pt idx="3359">
                        <c:v>23.66</c:v>
                      </c:pt>
                      <c:pt idx="3360">
                        <c:v>18.12</c:v>
                      </c:pt>
                      <c:pt idx="3361">
                        <c:v>14.12</c:v>
                      </c:pt>
                      <c:pt idx="3362">
                        <c:v>12.18</c:v>
                      </c:pt>
                      <c:pt idx="3363">
                        <c:v>11.65</c:v>
                      </c:pt>
                      <c:pt idx="3364">
                        <c:v>11.52</c:v>
                      </c:pt>
                      <c:pt idx="3365">
                        <c:v>11.98</c:v>
                      </c:pt>
                      <c:pt idx="3366">
                        <c:v>12.36</c:v>
                      </c:pt>
                      <c:pt idx="3367">
                        <c:v>13.7</c:v>
                      </c:pt>
                      <c:pt idx="3368">
                        <c:v>12.07</c:v>
                      </c:pt>
                      <c:pt idx="3369">
                        <c:v>10.02</c:v>
                      </c:pt>
                      <c:pt idx="3370">
                        <c:v>11.86</c:v>
                      </c:pt>
                      <c:pt idx="3371">
                        <c:v>12.29</c:v>
                      </c:pt>
                      <c:pt idx="3372">
                        <c:v>11.93</c:v>
                      </c:pt>
                      <c:pt idx="3373">
                        <c:v>10.28</c:v>
                      </c:pt>
                      <c:pt idx="3374">
                        <c:v>11.93</c:v>
                      </c:pt>
                      <c:pt idx="3375">
                        <c:v>16.920000000000002</c:v>
                      </c:pt>
                      <c:pt idx="3376">
                        <c:v>23.05</c:v>
                      </c:pt>
                      <c:pt idx="3377">
                        <c:v>28.12</c:v>
                      </c:pt>
                      <c:pt idx="3378">
                        <c:v>32.909999999999997</c:v>
                      </c:pt>
                      <c:pt idx="3379">
                        <c:v>35.07</c:v>
                      </c:pt>
                      <c:pt idx="3380">
                        <c:v>35.32</c:v>
                      </c:pt>
                      <c:pt idx="3381">
                        <c:v>36.11</c:v>
                      </c:pt>
                      <c:pt idx="3382">
                        <c:v>33.43</c:v>
                      </c:pt>
                      <c:pt idx="3383">
                        <c:v>29.84</c:v>
                      </c:pt>
                      <c:pt idx="3384">
                        <c:v>28.01</c:v>
                      </c:pt>
                      <c:pt idx="3385">
                        <c:v>26.9</c:v>
                      </c:pt>
                      <c:pt idx="3386">
                        <c:v>26.01</c:v>
                      </c:pt>
                      <c:pt idx="3387">
                        <c:v>26.86</c:v>
                      </c:pt>
                      <c:pt idx="3388">
                        <c:v>27.38</c:v>
                      </c:pt>
                      <c:pt idx="3389">
                        <c:v>35.49</c:v>
                      </c:pt>
                      <c:pt idx="3390">
                        <c:v>40</c:v>
                      </c:pt>
                      <c:pt idx="3391">
                        <c:v>42.2</c:v>
                      </c:pt>
                      <c:pt idx="3392">
                        <c:v>38.82</c:v>
                      </c:pt>
                      <c:pt idx="3393">
                        <c:v>37.020000000000003</c:v>
                      </c:pt>
                      <c:pt idx="3394">
                        <c:v>36.99</c:v>
                      </c:pt>
                      <c:pt idx="3395">
                        <c:v>36.96</c:v>
                      </c:pt>
                      <c:pt idx="3396">
                        <c:v>37.909999999999997</c:v>
                      </c:pt>
                      <c:pt idx="3397">
                        <c:v>36.93</c:v>
                      </c:pt>
                      <c:pt idx="3398">
                        <c:v>36.94</c:v>
                      </c:pt>
                      <c:pt idx="3399">
                        <c:v>36.200000000000003</c:v>
                      </c:pt>
                      <c:pt idx="3400">
                        <c:v>38.71</c:v>
                      </c:pt>
                      <c:pt idx="3401">
                        <c:v>43.65</c:v>
                      </c:pt>
                      <c:pt idx="3402">
                        <c:v>44.36</c:v>
                      </c:pt>
                      <c:pt idx="3403">
                        <c:v>41.95</c:v>
                      </c:pt>
                      <c:pt idx="3404">
                        <c:v>41.21</c:v>
                      </c:pt>
                      <c:pt idx="3405">
                        <c:v>40.840000000000003</c:v>
                      </c:pt>
                      <c:pt idx="3406">
                        <c:v>34.07</c:v>
                      </c:pt>
                      <c:pt idx="3407">
                        <c:v>32.24</c:v>
                      </c:pt>
                      <c:pt idx="3408">
                        <c:v>32.17</c:v>
                      </c:pt>
                      <c:pt idx="3409">
                        <c:v>29.72</c:v>
                      </c:pt>
                      <c:pt idx="3410">
                        <c:v>28.05</c:v>
                      </c:pt>
                      <c:pt idx="3411">
                        <c:v>28.04</c:v>
                      </c:pt>
                      <c:pt idx="3412">
                        <c:v>29.71</c:v>
                      </c:pt>
                      <c:pt idx="3413">
                        <c:v>36.99</c:v>
                      </c:pt>
                      <c:pt idx="3414">
                        <c:v>41.78</c:v>
                      </c:pt>
                      <c:pt idx="3415">
                        <c:v>41.4</c:v>
                      </c:pt>
                      <c:pt idx="3416">
                        <c:v>41.89</c:v>
                      </c:pt>
                      <c:pt idx="3417">
                        <c:v>38.049999999999997</c:v>
                      </c:pt>
                      <c:pt idx="3418">
                        <c:v>36.94</c:v>
                      </c:pt>
                      <c:pt idx="3419">
                        <c:v>33.97</c:v>
                      </c:pt>
                      <c:pt idx="3420">
                        <c:v>30.5</c:v>
                      </c:pt>
                      <c:pt idx="3421">
                        <c:v>31.01</c:v>
                      </c:pt>
                      <c:pt idx="3422">
                        <c:v>29.1</c:v>
                      </c:pt>
                      <c:pt idx="3423">
                        <c:v>29.06</c:v>
                      </c:pt>
                      <c:pt idx="3424">
                        <c:v>31.84</c:v>
                      </c:pt>
                      <c:pt idx="3425">
                        <c:v>33.75</c:v>
                      </c:pt>
                      <c:pt idx="3426">
                        <c:v>37.11</c:v>
                      </c:pt>
                      <c:pt idx="3427">
                        <c:v>35.64</c:v>
                      </c:pt>
                      <c:pt idx="3428">
                        <c:v>35</c:v>
                      </c:pt>
                      <c:pt idx="3429">
                        <c:v>30.99</c:v>
                      </c:pt>
                      <c:pt idx="3430">
                        <c:v>28.41</c:v>
                      </c:pt>
                      <c:pt idx="3431">
                        <c:v>27.15</c:v>
                      </c:pt>
                      <c:pt idx="3432">
                        <c:v>24.45</c:v>
                      </c:pt>
                      <c:pt idx="3433">
                        <c:v>20.09</c:v>
                      </c:pt>
                      <c:pt idx="3434">
                        <c:v>20.13</c:v>
                      </c:pt>
                      <c:pt idx="3435">
                        <c:v>21.56</c:v>
                      </c:pt>
                      <c:pt idx="3436">
                        <c:v>26.03</c:v>
                      </c:pt>
                      <c:pt idx="3437">
                        <c:v>30.1</c:v>
                      </c:pt>
                      <c:pt idx="3438">
                        <c:v>36.93</c:v>
                      </c:pt>
                      <c:pt idx="3439">
                        <c:v>37.549999999999997</c:v>
                      </c:pt>
                      <c:pt idx="3440">
                        <c:v>34.97</c:v>
                      </c:pt>
                      <c:pt idx="3441">
                        <c:v>31.98</c:v>
                      </c:pt>
                      <c:pt idx="3442">
                        <c:v>32.35</c:v>
                      </c:pt>
                      <c:pt idx="3443">
                        <c:v>30.09</c:v>
                      </c:pt>
                      <c:pt idx="3444">
                        <c:v>28.8</c:v>
                      </c:pt>
                      <c:pt idx="3445">
                        <c:v>29.79</c:v>
                      </c:pt>
                      <c:pt idx="3446">
                        <c:v>32.96</c:v>
                      </c:pt>
                      <c:pt idx="3447">
                        <c:v>32.130000000000003</c:v>
                      </c:pt>
                      <c:pt idx="3448">
                        <c:v>36.909999999999997</c:v>
                      </c:pt>
                      <c:pt idx="3449">
                        <c:v>39.92</c:v>
                      </c:pt>
                      <c:pt idx="3450">
                        <c:v>40.57</c:v>
                      </c:pt>
                      <c:pt idx="3451">
                        <c:v>40.840000000000003</c:v>
                      </c:pt>
                      <c:pt idx="3452">
                        <c:v>40.06</c:v>
                      </c:pt>
                      <c:pt idx="3453">
                        <c:v>40.98</c:v>
                      </c:pt>
                      <c:pt idx="3454">
                        <c:v>36.909999999999997</c:v>
                      </c:pt>
                      <c:pt idx="3455">
                        <c:v>33.409999999999997</c:v>
                      </c:pt>
                      <c:pt idx="3456">
                        <c:v>31.98</c:v>
                      </c:pt>
                      <c:pt idx="3457">
                        <c:v>28.07</c:v>
                      </c:pt>
                      <c:pt idx="3458">
                        <c:v>28</c:v>
                      </c:pt>
                      <c:pt idx="3459">
                        <c:v>27.97</c:v>
                      </c:pt>
                      <c:pt idx="3460">
                        <c:v>26.97</c:v>
                      </c:pt>
                      <c:pt idx="3461">
                        <c:v>24.59</c:v>
                      </c:pt>
                      <c:pt idx="3462">
                        <c:v>24.93</c:v>
                      </c:pt>
                      <c:pt idx="3463">
                        <c:v>25.85</c:v>
                      </c:pt>
                      <c:pt idx="3464">
                        <c:v>25.79</c:v>
                      </c:pt>
                      <c:pt idx="3465">
                        <c:v>25.59</c:v>
                      </c:pt>
                      <c:pt idx="3466">
                        <c:v>26.02</c:v>
                      </c:pt>
                      <c:pt idx="3467">
                        <c:v>25.16</c:v>
                      </c:pt>
                      <c:pt idx="3468">
                        <c:v>21.74</c:v>
                      </c:pt>
                      <c:pt idx="3469">
                        <c:v>19.97</c:v>
                      </c:pt>
                      <c:pt idx="3470">
                        <c:v>19.989999999999998</c:v>
                      </c:pt>
                      <c:pt idx="3471">
                        <c:v>21.12</c:v>
                      </c:pt>
                      <c:pt idx="3472">
                        <c:v>27.08</c:v>
                      </c:pt>
                      <c:pt idx="3473">
                        <c:v>29.9</c:v>
                      </c:pt>
                      <c:pt idx="3474">
                        <c:v>33.92</c:v>
                      </c:pt>
                      <c:pt idx="3475">
                        <c:v>36.700000000000003</c:v>
                      </c:pt>
                      <c:pt idx="3476">
                        <c:v>36.69</c:v>
                      </c:pt>
                      <c:pt idx="3477">
                        <c:v>36.979999999999997</c:v>
                      </c:pt>
                      <c:pt idx="3478">
                        <c:v>31.08</c:v>
                      </c:pt>
                      <c:pt idx="3479">
                        <c:v>28.12</c:v>
                      </c:pt>
                      <c:pt idx="3480">
                        <c:v>25.38</c:v>
                      </c:pt>
                      <c:pt idx="3481">
                        <c:v>24.06</c:v>
                      </c:pt>
                      <c:pt idx="3482">
                        <c:v>23.51</c:v>
                      </c:pt>
                      <c:pt idx="3483">
                        <c:v>24.27</c:v>
                      </c:pt>
                      <c:pt idx="3484">
                        <c:v>26.39</c:v>
                      </c:pt>
                      <c:pt idx="3485">
                        <c:v>33.94</c:v>
                      </c:pt>
                      <c:pt idx="3486">
                        <c:v>37.93</c:v>
                      </c:pt>
                      <c:pt idx="3487">
                        <c:v>38.299999999999997</c:v>
                      </c:pt>
                      <c:pt idx="3488">
                        <c:v>36.479999999999997</c:v>
                      </c:pt>
                      <c:pt idx="3489">
                        <c:v>34.01</c:v>
                      </c:pt>
                      <c:pt idx="3490">
                        <c:v>33.08</c:v>
                      </c:pt>
                      <c:pt idx="3491">
                        <c:v>30.86</c:v>
                      </c:pt>
                      <c:pt idx="3492">
                        <c:v>28.32</c:v>
                      </c:pt>
                      <c:pt idx="3493">
                        <c:v>27.12</c:v>
                      </c:pt>
                      <c:pt idx="3494">
                        <c:v>27.53</c:v>
                      </c:pt>
                      <c:pt idx="3495">
                        <c:v>28.63</c:v>
                      </c:pt>
                      <c:pt idx="3496">
                        <c:v>34.64</c:v>
                      </c:pt>
                      <c:pt idx="3497">
                        <c:v>38.85</c:v>
                      </c:pt>
                      <c:pt idx="3498">
                        <c:v>41.97</c:v>
                      </c:pt>
                      <c:pt idx="3499">
                        <c:v>41.95</c:v>
                      </c:pt>
                      <c:pt idx="3500">
                        <c:v>39.99</c:v>
                      </c:pt>
                      <c:pt idx="3501">
                        <c:v>39.96</c:v>
                      </c:pt>
                      <c:pt idx="3502">
                        <c:v>35.200000000000003</c:v>
                      </c:pt>
                      <c:pt idx="3503">
                        <c:v>35.909999999999997</c:v>
                      </c:pt>
                      <c:pt idx="3504">
                        <c:v>31.03</c:v>
                      </c:pt>
                      <c:pt idx="3505">
                        <c:v>27.6</c:v>
                      </c:pt>
                      <c:pt idx="3506">
                        <c:v>26</c:v>
                      </c:pt>
                      <c:pt idx="3507">
                        <c:v>24.58</c:v>
                      </c:pt>
                      <c:pt idx="3508">
                        <c:v>24.4</c:v>
                      </c:pt>
                      <c:pt idx="3509">
                        <c:v>26.1</c:v>
                      </c:pt>
                      <c:pt idx="3510">
                        <c:v>29.14</c:v>
                      </c:pt>
                      <c:pt idx="3511">
                        <c:v>30.13</c:v>
                      </c:pt>
                      <c:pt idx="3512">
                        <c:v>29.36</c:v>
                      </c:pt>
                      <c:pt idx="3513">
                        <c:v>26.1</c:v>
                      </c:pt>
                      <c:pt idx="3514">
                        <c:v>24.69</c:v>
                      </c:pt>
                      <c:pt idx="3515">
                        <c:v>22.04</c:v>
                      </c:pt>
                      <c:pt idx="3516">
                        <c:v>15.27</c:v>
                      </c:pt>
                      <c:pt idx="3517">
                        <c:v>13.38</c:v>
                      </c:pt>
                      <c:pt idx="3518">
                        <c:v>14.9</c:v>
                      </c:pt>
                      <c:pt idx="3519">
                        <c:v>20.09</c:v>
                      </c:pt>
                      <c:pt idx="3520">
                        <c:v>27.31</c:v>
                      </c:pt>
                      <c:pt idx="3521">
                        <c:v>34.299999999999997</c:v>
                      </c:pt>
                      <c:pt idx="3522">
                        <c:v>37.130000000000003</c:v>
                      </c:pt>
                      <c:pt idx="3523">
                        <c:v>35.97</c:v>
                      </c:pt>
                      <c:pt idx="3524">
                        <c:v>34.340000000000003</c:v>
                      </c:pt>
                      <c:pt idx="3525">
                        <c:v>33.979999999999997</c:v>
                      </c:pt>
                      <c:pt idx="3526">
                        <c:v>24.68</c:v>
                      </c:pt>
                      <c:pt idx="3527">
                        <c:v>20.72</c:v>
                      </c:pt>
                      <c:pt idx="3528">
                        <c:v>16.079999999999998</c:v>
                      </c:pt>
                      <c:pt idx="3529">
                        <c:v>18.66</c:v>
                      </c:pt>
                      <c:pt idx="3530">
                        <c:v>16.579999999999998</c:v>
                      </c:pt>
                      <c:pt idx="3531">
                        <c:v>14.25</c:v>
                      </c:pt>
                      <c:pt idx="3532">
                        <c:v>9.91</c:v>
                      </c:pt>
                      <c:pt idx="3533">
                        <c:v>14.36</c:v>
                      </c:pt>
                      <c:pt idx="3534">
                        <c:v>18.27</c:v>
                      </c:pt>
                      <c:pt idx="3535">
                        <c:v>19.04</c:v>
                      </c:pt>
                      <c:pt idx="3536">
                        <c:v>17.18</c:v>
                      </c:pt>
                      <c:pt idx="3537">
                        <c:v>11.65</c:v>
                      </c:pt>
                      <c:pt idx="3538">
                        <c:v>11.63</c:v>
                      </c:pt>
                      <c:pt idx="3539">
                        <c:v>15.07</c:v>
                      </c:pt>
                      <c:pt idx="3540">
                        <c:v>10.18</c:v>
                      </c:pt>
                      <c:pt idx="3541">
                        <c:v>10.08</c:v>
                      </c:pt>
                      <c:pt idx="3542">
                        <c:v>10.14</c:v>
                      </c:pt>
                      <c:pt idx="3543">
                        <c:v>10.08</c:v>
                      </c:pt>
                      <c:pt idx="3544">
                        <c:v>21.95</c:v>
                      </c:pt>
                      <c:pt idx="3545">
                        <c:v>31.05</c:v>
                      </c:pt>
                      <c:pt idx="3546">
                        <c:v>36.950000000000003</c:v>
                      </c:pt>
                      <c:pt idx="3547">
                        <c:v>38.659999999999997</c:v>
                      </c:pt>
                      <c:pt idx="3548">
                        <c:v>38.65</c:v>
                      </c:pt>
                      <c:pt idx="3549">
                        <c:v>40.659999999999997</c:v>
                      </c:pt>
                      <c:pt idx="3550">
                        <c:v>36.92</c:v>
                      </c:pt>
                      <c:pt idx="3551">
                        <c:v>29.02</c:v>
                      </c:pt>
                      <c:pt idx="3552">
                        <c:v>28.3</c:v>
                      </c:pt>
                      <c:pt idx="3553">
                        <c:v>26.27</c:v>
                      </c:pt>
                      <c:pt idx="3554">
                        <c:v>25.6</c:v>
                      </c:pt>
                      <c:pt idx="3555">
                        <c:v>25.6</c:v>
                      </c:pt>
                      <c:pt idx="3556">
                        <c:v>26.4</c:v>
                      </c:pt>
                      <c:pt idx="3557">
                        <c:v>35.97</c:v>
                      </c:pt>
                      <c:pt idx="3558">
                        <c:v>42.7</c:v>
                      </c:pt>
                      <c:pt idx="3559">
                        <c:v>43.06</c:v>
                      </c:pt>
                      <c:pt idx="3560">
                        <c:v>42.71</c:v>
                      </c:pt>
                      <c:pt idx="3561">
                        <c:v>41.82</c:v>
                      </c:pt>
                      <c:pt idx="3562">
                        <c:v>41.32</c:v>
                      </c:pt>
                      <c:pt idx="3563">
                        <c:v>37.99</c:v>
                      </c:pt>
                      <c:pt idx="3564">
                        <c:v>37.409999999999997</c:v>
                      </c:pt>
                      <c:pt idx="3565">
                        <c:v>35.58</c:v>
                      </c:pt>
                      <c:pt idx="3566">
                        <c:v>36.32</c:v>
                      </c:pt>
                      <c:pt idx="3567">
                        <c:v>37.909999999999997</c:v>
                      </c:pt>
                      <c:pt idx="3568">
                        <c:v>42.18</c:v>
                      </c:pt>
                      <c:pt idx="3569">
                        <c:v>44.08</c:v>
                      </c:pt>
                      <c:pt idx="3570">
                        <c:v>46.15</c:v>
                      </c:pt>
                      <c:pt idx="3571">
                        <c:v>43.76</c:v>
                      </c:pt>
                      <c:pt idx="3572">
                        <c:v>42.02</c:v>
                      </c:pt>
                      <c:pt idx="3573">
                        <c:v>40.909999999999997</c:v>
                      </c:pt>
                      <c:pt idx="3574">
                        <c:v>32.69</c:v>
                      </c:pt>
                      <c:pt idx="3575">
                        <c:v>35.81</c:v>
                      </c:pt>
                      <c:pt idx="3576">
                        <c:v>32.549999999999997</c:v>
                      </c:pt>
                      <c:pt idx="3577">
                        <c:v>30.93</c:v>
                      </c:pt>
                      <c:pt idx="3578">
                        <c:v>28.77</c:v>
                      </c:pt>
                      <c:pt idx="3579">
                        <c:v>28.41</c:v>
                      </c:pt>
                      <c:pt idx="3580">
                        <c:v>31.3</c:v>
                      </c:pt>
                      <c:pt idx="3581">
                        <c:v>38.049999999999997</c:v>
                      </c:pt>
                      <c:pt idx="3582">
                        <c:v>49.6</c:v>
                      </c:pt>
                      <c:pt idx="3583">
                        <c:v>52.23</c:v>
                      </c:pt>
                      <c:pt idx="3584">
                        <c:v>50.08</c:v>
                      </c:pt>
                      <c:pt idx="3585">
                        <c:v>45.02</c:v>
                      </c:pt>
                      <c:pt idx="3586">
                        <c:v>43.26</c:v>
                      </c:pt>
                      <c:pt idx="3587">
                        <c:v>35</c:v>
                      </c:pt>
                      <c:pt idx="3588">
                        <c:v>31.09</c:v>
                      </c:pt>
                      <c:pt idx="3589">
                        <c:v>30.3</c:v>
                      </c:pt>
                      <c:pt idx="3590">
                        <c:v>30.95</c:v>
                      </c:pt>
                      <c:pt idx="3591">
                        <c:v>31.57</c:v>
                      </c:pt>
                      <c:pt idx="3592">
                        <c:v>35.1</c:v>
                      </c:pt>
                      <c:pt idx="3593">
                        <c:v>39.909999999999997</c:v>
                      </c:pt>
                      <c:pt idx="3594">
                        <c:v>41.96</c:v>
                      </c:pt>
                      <c:pt idx="3595">
                        <c:v>40.06</c:v>
                      </c:pt>
                      <c:pt idx="3596">
                        <c:v>39.21</c:v>
                      </c:pt>
                      <c:pt idx="3597">
                        <c:v>34.44</c:v>
                      </c:pt>
                      <c:pt idx="3598">
                        <c:v>28.44</c:v>
                      </c:pt>
                      <c:pt idx="3599">
                        <c:v>28.68</c:v>
                      </c:pt>
                      <c:pt idx="3600">
                        <c:v>28.38</c:v>
                      </c:pt>
                      <c:pt idx="3601">
                        <c:v>27.28</c:v>
                      </c:pt>
                      <c:pt idx="3602">
                        <c:v>27.09</c:v>
                      </c:pt>
                      <c:pt idx="3603">
                        <c:v>27.37</c:v>
                      </c:pt>
                      <c:pt idx="3604">
                        <c:v>28.33</c:v>
                      </c:pt>
                      <c:pt idx="3605">
                        <c:v>32.090000000000003</c:v>
                      </c:pt>
                      <c:pt idx="3606">
                        <c:v>39.07</c:v>
                      </c:pt>
                      <c:pt idx="3607">
                        <c:v>39.94</c:v>
                      </c:pt>
                      <c:pt idx="3608">
                        <c:v>35.130000000000003</c:v>
                      </c:pt>
                      <c:pt idx="3609">
                        <c:v>30.08</c:v>
                      </c:pt>
                      <c:pt idx="3610">
                        <c:v>29.61</c:v>
                      </c:pt>
                      <c:pt idx="3611">
                        <c:v>29.75</c:v>
                      </c:pt>
                      <c:pt idx="3612">
                        <c:v>28.7</c:v>
                      </c:pt>
                      <c:pt idx="3613">
                        <c:v>28.37</c:v>
                      </c:pt>
                      <c:pt idx="3614">
                        <c:v>29.98</c:v>
                      </c:pt>
                      <c:pt idx="3615">
                        <c:v>29.9</c:v>
                      </c:pt>
                      <c:pt idx="3616">
                        <c:v>35.29</c:v>
                      </c:pt>
                      <c:pt idx="3617">
                        <c:v>38.950000000000003</c:v>
                      </c:pt>
                      <c:pt idx="3618">
                        <c:v>42.11</c:v>
                      </c:pt>
                      <c:pt idx="3619">
                        <c:v>41.45</c:v>
                      </c:pt>
                      <c:pt idx="3620">
                        <c:v>41.75</c:v>
                      </c:pt>
                      <c:pt idx="3621">
                        <c:v>40.51</c:v>
                      </c:pt>
                      <c:pt idx="3622">
                        <c:v>31.2</c:v>
                      </c:pt>
                      <c:pt idx="3623">
                        <c:v>30.51</c:v>
                      </c:pt>
                      <c:pt idx="3624">
                        <c:v>28.85</c:v>
                      </c:pt>
                      <c:pt idx="3625">
                        <c:v>28.94</c:v>
                      </c:pt>
                      <c:pt idx="3626">
                        <c:v>29.1</c:v>
                      </c:pt>
                      <c:pt idx="3627">
                        <c:v>28.8</c:v>
                      </c:pt>
                      <c:pt idx="3628">
                        <c:v>28.81</c:v>
                      </c:pt>
                      <c:pt idx="3629">
                        <c:v>34.43</c:v>
                      </c:pt>
                      <c:pt idx="3630">
                        <c:v>39.35</c:v>
                      </c:pt>
                      <c:pt idx="3631">
                        <c:v>41.28</c:v>
                      </c:pt>
                      <c:pt idx="3632">
                        <c:v>38.03</c:v>
                      </c:pt>
                      <c:pt idx="3633">
                        <c:v>33.24</c:v>
                      </c:pt>
                      <c:pt idx="3634">
                        <c:v>33</c:v>
                      </c:pt>
                      <c:pt idx="3635">
                        <c:v>31.01</c:v>
                      </c:pt>
                      <c:pt idx="3636">
                        <c:v>31.86</c:v>
                      </c:pt>
                      <c:pt idx="3637">
                        <c:v>31.34</c:v>
                      </c:pt>
                      <c:pt idx="3638">
                        <c:v>34.08</c:v>
                      </c:pt>
                      <c:pt idx="3639">
                        <c:v>35.08</c:v>
                      </c:pt>
                      <c:pt idx="3640">
                        <c:v>40.96</c:v>
                      </c:pt>
                      <c:pt idx="3641">
                        <c:v>44.92</c:v>
                      </c:pt>
                      <c:pt idx="3642">
                        <c:v>50</c:v>
                      </c:pt>
                      <c:pt idx="3643">
                        <c:v>46.88</c:v>
                      </c:pt>
                      <c:pt idx="3644">
                        <c:v>44.91</c:v>
                      </c:pt>
                      <c:pt idx="3645">
                        <c:v>44.95</c:v>
                      </c:pt>
                      <c:pt idx="3646">
                        <c:v>39.94</c:v>
                      </c:pt>
                      <c:pt idx="3647">
                        <c:v>30.41</c:v>
                      </c:pt>
                      <c:pt idx="3648">
                        <c:v>29.32</c:v>
                      </c:pt>
                      <c:pt idx="3649">
                        <c:v>28.38</c:v>
                      </c:pt>
                      <c:pt idx="3650">
                        <c:v>28.04</c:v>
                      </c:pt>
                      <c:pt idx="3651">
                        <c:v>28.32</c:v>
                      </c:pt>
                      <c:pt idx="3652">
                        <c:v>28.36</c:v>
                      </c:pt>
                      <c:pt idx="3653">
                        <c:v>35.33</c:v>
                      </c:pt>
                      <c:pt idx="3654">
                        <c:v>40.24</c:v>
                      </c:pt>
                      <c:pt idx="3655">
                        <c:v>41.5</c:v>
                      </c:pt>
                      <c:pt idx="3656">
                        <c:v>39.96</c:v>
                      </c:pt>
                      <c:pt idx="3657">
                        <c:v>38.67</c:v>
                      </c:pt>
                      <c:pt idx="3658">
                        <c:v>37.89</c:v>
                      </c:pt>
                      <c:pt idx="3659">
                        <c:v>37.340000000000003</c:v>
                      </c:pt>
                      <c:pt idx="3660">
                        <c:v>35.08</c:v>
                      </c:pt>
                      <c:pt idx="3661">
                        <c:v>33.619999999999997</c:v>
                      </c:pt>
                      <c:pt idx="3662">
                        <c:v>34.82</c:v>
                      </c:pt>
                      <c:pt idx="3663">
                        <c:v>35.96</c:v>
                      </c:pt>
                      <c:pt idx="3664">
                        <c:v>39.700000000000003</c:v>
                      </c:pt>
                      <c:pt idx="3665">
                        <c:v>42.78</c:v>
                      </c:pt>
                      <c:pt idx="3666">
                        <c:v>44.9</c:v>
                      </c:pt>
                      <c:pt idx="3667">
                        <c:v>43.52</c:v>
                      </c:pt>
                      <c:pt idx="3668">
                        <c:v>41.98</c:v>
                      </c:pt>
                      <c:pt idx="3669">
                        <c:v>41.96</c:v>
                      </c:pt>
                      <c:pt idx="3670">
                        <c:v>36.64</c:v>
                      </c:pt>
                      <c:pt idx="3671">
                        <c:v>30.08</c:v>
                      </c:pt>
                      <c:pt idx="3672">
                        <c:v>30.76</c:v>
                      </c:pt>
                      <c:pt idx="3673">
                        <c:v>28.74</c:v>
                      </c:pt>
                      <c:pt idx="3674">
                        <c:v>27.06</c:v>
                      </c:pt>
                      <c:pt idx="3675">
                        <c:v>26.49</c:v>
                      </c:pt>
                      <c:pt idx="3676">
                        <c:v>25</c:v>
                      </c:pt>
                      <c:pt idx="3677">
                        <c:v>26.51</c:v>
                      </c:pt>
                      <c:pt idx="3678">
                        <c:v>26.89</c:v>
                      </c:pt>
                      <c:pt idx="3679">
                        <c:v>30.79</c:v>
                      </c:pt>
                      <c:pt idx="3680">
                        <c:v>31.25</c:v>
                      </c:pt>
                      <c:pt idx="3681">
                        <c:v>28.31</c:v>
                      </c:pt>
                      <c:pt idx="3682">
                        <c:v>27.03</c:v>
                      </c:pt>
                      <c:pt idx="3683">
                        <c:v>26.49</c:v>
                      </c:pt>
                      <c:pt idx="3684">
                        <c:v>26.93</c:v>
                      </c:pt>
                      <c:pt idx="3685">
                        <c:v>26.71</c:v>
                      </c:pt>
                      <c:pt idx="3686">
                        <c:v>26.97</c:v>
                      </c:pt>
                      <c:pt idx="3687">
                        <c:v>28.29</c:v>
                      </c:pt>
                      <c:pt idx="3688">
                        <c:v>33.94</c:v>
                      </c:pt>
                      <c:pt idx="3689">
                        <c:v>37.299999999999997</c:v>
                      </c:pt>
                      <c:pt idx="3690">
                        <c:v>38.159999999999997</c:v>
                      </c:pt>
                      <c:pt idx="3691">
                        <c:v>36.96</c:v>
                      </c:pt>
                      <c:pt idx="3692">
                        <c:v>36.97</c:v>
                      </c:pt>
                      <c:pt idx="3693">
                        <c:v>38.57</c:v>
                      </c:pt>
                      <c:pt idx="3694">
                        <c:v>35.909999999999997</c:v>
                      </c:pt>
                      <c:pt idx="3695">
                        <c:v>29.93</c:v>
                      </c:pt>
                      <c:pt idx="3696">
                        <c:v>26.93</c:v>
                      </c:pt>
                      <c:pt idx="3697">
                        <c:v>23.24</c:v>
                      </c:pt>
                      <c:pt idx="3698">
                        <c:v>22.54</c:v>
                      </c:pt>
                      <c:pt idx="3699">
                        <c:v>21.58</c:v>
                      </c:pt>
                      <c:pt idx="3700">
                        <c:v>19.5</c:v>
                      </c:pt>
                      <c:pt idx="3701">
                        <c:v>19.850000000000001</c:v>
                      </c:pt>
                      <c:pt idx="3702">
                        <c:v>20.329999999999998</c:v>
                      </c:pt>
                      <c:pt idx="3703">
                        <c:v>22.55</c:v>
                      </c:pt>
                      <c:pt idx="3704">
                        <c:v>23.79</c:v>
                      </c:pt>
                      <c:pt idx="3705">
                        <c:v>22.99</c:v>
                      </c:pt>
                      <c:pt idx="3706">
                        <c:v>23.06</c:v>
                      </c:pt>
                      <c:pt idx="3707">
                        <c:v>19.34</c:v>
                      </c:pt>
                      <c:pt idx="3708">
                        <c:v>15.08</c:v>
                      </c:pt>
                      <c:pt idx="3709">
                        <c:v>9.98</c:v>
                      </c:pt>
                      <c:pt idx="3710">
                        <c:v>10.41</c:v>
                      </c:pt>
                      <c:pt idx="3711">
                        <c:v>3.43</c:v>
                      </c:pt>
                      <c:pt idx="3712">
                        <c:v>10.23</c:v>
                      </c:pt>
                      <c:pt idx="3713">
                        <c:v>25.76</c:v>
                      </c:pt>
                      <c:pt idx="3714">
                        <c:v>31.06</c:v>
                      </c:pt>
                      <c:pt idx="3715">
                        <c:v>34.909999999999997</c:v>
                      </c:pt>
                      <c:pt idx="3716">
                        <c:v>34.99</c:v>
                      </c:pt>
                      <c:pt idx="3717">
                        <c:v>39.909999999999997</c:v>
                      </c:pt>
                      <c:pt idx="3718">
                        <c:v>34.9</c:v>
                      </c:pt>
                      <c:pt idx="3719">
                        <c:v>28.92</c:v>
                      </c:pt>
                      <c:pt idx="3720">
                        <c:v>24.72</c:v>
                      </c:pt>
                      <c:pt idx="3721">
                        <c:v>23.09</c:v>
                      </c:pt>
                      <c:pt idx="3722">
                        <c:v>22.22</c:v>
                      </c:pt>
                      <c:pt idx="3723">
                        <c:v>22.19</c:v>
                      </c:pt>
                      <c:pt idx="3724">
                        <c:v>23.09</c:v>
                      </c:pt>
                      <c:pt idx="3725">
                        <c:v>24.1</c:v>
                      </c:pt>
                      <c:pt idx="3726">
                        <c:v>24.62</c:v>
                      </c:pt>
                      <c:pt idx="3727">
                        <c:v>27.02</c:v>
                      </c:pt>
                      <c:pt idx="3728">
                        <c:v>27.12</c:v>
                      </c:pt>
                      <c:pt idx="3729">
                        <c:v>24.35</c:v>
                      </c:pt>
                      <c:pt idx="3730">
                        <c:v>25.31</c:v>
                      </c:pt>
                      <c:pt idx="3731">
                        <c:v>24.52</c:v>
                      </c:pt>
                      <c:pt idx="3732">
                        <c:v>24.11</c:v>
                      </c:pt>
                      <c:pt idx="3733">
                        <c:v>23.08</c:v>
                      </c:pt>
                      <c:pt idx="3734">
                        <c:v>23.84</c:v>
                      </c:pt>
                      <c:pt idx="3735">
                        <c:v>26.86</c:v>
                      </c:pt>
                      <c:pt idx="3736">
                        <c:v>30.02</c:v>
                      </c:pt>
                      <c:pt idx="3737">
                        <c:v>35.94</c:v>
                      </c:pt>
                      <c:pt idx="3738">
                        <c:v>39.01</c:v>
                      </c:pt>
                      <c:pt idx="3739">
                        <c:v>39.65</c:v>
                      </c:pt>
                      <c:pt idx="3740">
                        <c:v>38.61</c:v>
                      </c:pt>
                      <c:pt idx="3741">
                        <c:v>38.42</c:v>
                      </c:pt>
                      <c:pt idx="3742">
                        <c:v>30.14</c:v>
                      </c:pt>
                      <c:pt idx="3743">
                        <c:v>24.22</c:v>
                      </c:pt>
                      <c:pt idx="3744">
                        <c:v>19.3</c:v>
                      </c:pt>
                      <c:pt idx="3745">
                        <c:v>14.49</c:v>
                      </c:pt>
                      <c:pt idx="3746">
                        <c:v>10.54</c:v>
                      </c:pt>
                      <c:pt idx="3747">
                        <c:v>10.220000000000001</c:v>
                      </c:pt>
                      <c:pt idx="3748">
                        <c:v>13.38</c:v>
                      </c:pt>
                      <c:pt idx="3749">
                        <c:v>29.22</c:v>
                      </c:pt>
                      <c:pt idx="3750">
                        <c:v>30.36</c:v>
                      </c:pt>
                      <c:pt idx="3751">
                        <c:v>36.08</c:v>
                      </c:pt>
                      <c:pt idx="3752">
                        <c:v>30.11</c:v>
                      </c:pt>
                      <c:pt idx="3753">
                        <c:v>28.09</c:v>
                      </c:pt>
                      <c:pt idx="3754">
                        <c:v>27.27</c:v>
                      </c:pt>
                      <c:pt idx="3755">
                        <c:v>25.95</c:v>
                      </c:pt>
                      <c:pt idx="3756">
                        <c:v>23.45</c:v>
                      </c:pt>
                      <c:pt idx="3757">
                        <c:v>22.67</c:v>
                      </c:pt>
                      <c:pt idx="3758">
                        <c:v>19.940000000000001</c:v>
                      </c:pt>
                      <c:pt idx="3759">
                        <c:v>18.62</c:v>
                      </c:pt>
                      <c:pt idx="3760">
                        <c:v>20.04</c:v>
                      </c:pt>
                      <c:pt idx="3761">
                        <c:v>22.72</c:v>
                      </c:pt>
                      <c:pt idx="3762">
                        <c:v>23.08</c:v>
                      </c:pt>
                      <c:pt idx="3763">
                        <c:v>21.92</c:v>
                      </c:pt>
                      <c:pt idx="3764">
                        <c:v>20.440000000000001</c:v>
                      </c:pt>
                      <c:pt idx="3765">
                        <c:v>20.23</c:v>
                      </c:pt>
                      <c:pt idx="3766">
                        <c:v>4.3899999999999997</c:v>
                      </c:pt>
                      <c:pt idx="3767">
                        <c:v>10.67</c:v>
                      </c:pt>
                      <c:pt idx="3768">
                        <c:v>8.8000000000000007</c:v>
                      </c:pt>
                      <c:pt idx="3769">
                        <c:v>6.82</c:v>
                      </c:pt>
                      <c:pt idx="3770">
                        <c:v>2.1</c:v>
                      </c:pt>
                      <c:pt idx="3771">
                        <c:v>1.74</c:v>
                      </c:pt>
                      <c:pt idx="3772">
                        <c:v>5.26</c:v>
                      </c:pt>
                      <c:pt idx="3773">
                        <c:v>12.33</c:v>
                      </c:pt>
                      <c:pt idx="3774">
                        <c:v>23.07</c:v>
                      </c:pt>
                      <c:pt idx="3775">
                        <c:v>18.059999999999999</c:v>
                      </c:pt>
                      <c:pt idx="3776">
                        <c:v>10.050000000000001</c:v>
                      </c:pt>
                      <c:pt idx="3777">
                        <c:v>9.66</c:v>
                      </c:pt>
                      <c:pt idx="3778">
                        <c:v>10.3</c:v>
                      </c:pt>
                      <c:pt idx="3779">
                        <c:v>9.65</c:v>
                      </c:pt>
                      <c:pt idx="3780">
                        <c:v>10.19</c:v>
                      </c:pt>
                      <c:pt idx="3781">
                        <c:v>8.9700000000000006</c:v>
                      </c:pt>
                      <c:pt idx="3782">
                        <c:v>9.7100000000000009</c:v>
                      </c:pt>
                      <c:pt idx="3783">
                        <c:v>10.17</c:v>
                      </c:pt>
                      <c:pt idx="3784">
                        <c:v>11.79</c:v>
                      </c:pt>
                      <c:pt idx="3785">
                        <c:v>20.37</c:v>
                      </c:pt>
                      <c:pt idx="3786">
                        <c:v>25.78</c:v>
                      </c:pt>
                      <c:pt idx="3787">
                        <c:v>24.08</c:v>
                      </c:pt>
                      <c:pt idx="3788">
                        <c:v>25.56</c:v>
                      </c:pt>
                      <c:pt idx="3789">
                        <c:v>25.45</c:v>
                      </c:pt>
                      <c:pt idx="3790">
                        <c:v>18.93</c:v>
                      </c:pt>
                      <c:pt idx="3791">
                        <c:v>14.09</c:v>
                      </c:pt>
                      <c:pt idx="3792">
                        <c:v>10.199999999999999</c:v>
                      </c:pt>
                      <c:pt idx="3793">
                        <c:v>9.91</c:v>
                      </c:pt>
                      <c:pt idx="3794">
                        <c:v>9.86</c:v>
                      </c:pt>
                      <c:pt idx="3795">
                        <c:v>9.92</c:v>
                      </c:pt>
                      <c:pt idx="3796">
                        <c:v>19.059999999999999</c:v>
                      </c:pt>
                      <c:pt idx="3797">
                        <c:v>32.770000000000003</c:v>
                      </c:pt>
                      <c:pt idx="3798">
                        <c:v>35.51</c:v>
                      </c:pt>
                      <c:pt idx="3799">
                        <c:v>35.51</c:v>
                      </c:pt>
                      <c:pt idx="3800">
                        <c:v>33.65</c:v>
                      </c:pt>
                      <c:pt idx="3801">
                        <c:v>32.25</c:v>
                      </c:pt>
                      <c:pt idx="3802">
                        <c:v>32.450000000000003</c:v>
                      </c:pt>
                      <c:pt idx="3803">
                        <c:v>31.13</c:v>
                      </c:pt>
                      <c:pt idx="3804">
                        <c:v>30</c:v>
                      </c:pt>
                      <c:pt idx="3805">
                        <c:v>29.88</c:v>
                      </c:pt>
                      <c:pt idx="3806">
                        <c:v>30.02</c:v>
                      </c:pt>
                      <c:pt idx="3807">
                        <c:v>31.65</c:v>
                      </c:pt>
                      <c:pt idx="3808">
                        <c:v>34.79</c:v>
                      </c:pt>
                      <c:pt idx="3809">
                        <c:v>38.01</c:v>
                      </c:pt>
                      <c:pt idx="3810">
                        <c:v>43.91</c:v>
                      </c:pt>
                      <c:pt idx="3811">
                        <c:v>41.87</c:v>
                      </c:pt>
                      <c:pt idx="3812">
                        <c:v>37.6</c:v>
                      </c:pt>
                      <c:pt idx="3813">
                        <c:v>36.130000000000003</c:v>
                      </c:pt>
                      <c:pt idx="3814">
                        <c:v>30.75</c:v>
                      </c:pt>
                      <c:pt idx="3815">
                        <c:v>28.18</c:v>
                      </c:pt>
                      <c:pt idx="3816">
                        <c:v>27.92</c:v>
                      </c:pt>
                      <c:pt idx="3817">
                        <c:v>25.88</c:v>
                      </c:pt>
                      <c:pt idx="3818">
                        <c:v>24.63</c:v>
                      </c:pt>
                      <c:pt idx="3819">
                        <c:v>24.9</c:v>
                      </c:pt>
                      <c:pt idx="3820">
                        <c:v>28.21</c:v>
                      </c:pt>
                      <c:pt idx="3821">
                        <c:v>33.29</c:v>
                      </c:pt>
                      <c:pt idx="3822">
                        <c:v>39.380000000000003</c:v>
                      </c:pt>
                      <c:pt idx="3823">
                        <c:v>42.59</c:v>
                      </c:pt>
                      <c:pt idx="3824">
                        <c:v>40.590000000000003</c:v>
                      </c:pt>
                      <c:pt idx="3825">
                        <c:v>40.22</c:v>
                      </c:pt>
                      <c:pt idx="3826">
                        <c:v>40.81</c:v>
                      </c:pt>
                      <c:pt idx="3827">
                        <c:v>36.380000000000003</c:v>
                      </c:pt>
                      <c:pt idx="3828">
                        <c:v>33.83</c:v>
                      </c:pt>
                      <c:pt idx="3829">
                        <c:v>31.05</c:v>
                      </c:pt>
                      <c:pt idx="3830">
                        <c:v>29.09</c:v>
                      </c:pt>
                      <c:pt idx="3831">
                        <c:v>29.69</c:v>
                      </c:pt>
                      <c:pt idx="3832">
                        <c:v>31.44</c:v>
                      </c:pt>
                      <c:pt idx="3833">
                        <c:v>33.200000000000003</c:v>
                      </c:pt>
                      <c:pt idx="3834">
                        <c:v>35.07</c:v>
                      </c:pt>
                      <c:pt idx="3835">
                        <c:v>34.97</c:v>
                      </c:pt>
                      <c:pt idx="3836">
                        <c:v>35.9</c:v>
                      </c:pt>
                      <c:pt idx="3837">
                        <c:v>37.86</c:v>
                      </c:pt>
                      <c:pt idx="3838">
                        <c:v>36.01</c:v>
                      </c:pt>
                      <c:pt idx="3839">
                        <c:v>34.65</c:v>
                      </c:pt>
                      <c:pt idx="3840">
                        <c:v>31.92</c:v>
                      </c:pt>
                      <c:pt idx="3841">
                        <c:v>28.9</c:v>
                      </c:pt>
                      <c:pt idx="3842">
                        <c:v>27.68</c:v>
                      </c:pt>
                      <c:pt idx="3843">
                        <c:v>27.06</c:v>
                      </c:pt>
                      <c:pt idx="3844">
                        <c:v>27.05</c:v>
                      </c:pt>
                      <c:pt idx="3845">
                        <c:v>27.79</c:v>
                      </c:pt>
                      <c:pt idx="3846">
                        <c:v>29.71</c:v>
                      </c:pt>
                      <c:pt idx="3847">
                        <c:v>30.9</c:v>
                      </c:pt>
                      <c:pt idx="3848">
                        <c:v>31.94</c:v>
                      </c:pt>
                      <c:pt idx="3849">
                        <c:v>29.9</c:v>
                      </c:pt>
                      <c:pt idx="3850">
                        <c:v>29.94</c:v>
                      </c:pt>
                      <c:pt idx="3851">
                        <c:v>28.35</c:v>
                      </c:pt>
                      <c:pt idx="3852">
                        <c:v>25.86</c:v>
                      </c:pt>
                      <c:pt idx="3853">
                        <c:v>25.01</c:v>
                      </c:pt>
                      <c:pt idx="3854">
                        <c:v>25.03</c:v>
                      </c:pt>
                      <c:pt idx="3855">
                        <c:v>26.6</c:v>
                      </c:pt>
                      <c:pt idx="3856">
                        <c:v>29.1</c:v>
                      </c:pt>
                      <c:pt idx="3857">
                        <c:v>35.409999999999997</c:v>
                      </c:pt>
                      <c:pt idx="3858">
                        <c:v>38.24</c:v>
                      </c:pt>
                      <c:pt idx="3859">
                        <c:v>38.78</c:v>
                      </c:pt>
                      <c:pt idx="3860">
                        <c:v>38.28</c:v>
                      </c:pt>
                      <c:pt idx="3861">
                        <c:v>39.68</c:v>
                      </c:pt>
                      <c:pt idx="3862">
                        <c:v>36.94</c:v>
                      </c:pt>
                      <c:pt idx="3863">
                        <c:v>29.1</c:v>
                      </c:pt>
                      <c:pt idx="3864">
                        <c:v>25.12</c:v>
                      </c:pt>
                      <c:pt idx="3865">
                        <c:v>21.78</c:v>
                      </c:pt>
                      <c:pt idx="3866">
                        <c:v>18</c:v>
                      </c:pt>
                      <c:pt idx="3867">
                        <c:v>15.39</c:v>
                      </c:pt>
                      <c:pt idx="3868">
                        <c:v>12.6</c:v>
                      </c:pt>
                      <c:pt idx="3869">
                        <c:v>12.84</c:v>
                      </c:pt>
                      <c:pt idx="3870">
                        <c:v>16.489999999999998</c:v>
                      </c:pt>
                      <c:pt idx="3871">
                        <c:v>18</c:v>
                      </c:pt>
                      <c:pt idx="3872">
                        <c:v>18.75</c:v>
                      </c:pt>
                      <c:pt idx="3873">
                        <c:v>18.95</c:v>
                      </c:pt>
                      <c:pt idx="3874">
                        <c:v>20.58</c:v>
                      </c:pt>
                      <c:pt idx="3875">
                        <c:v>10.19</c:v>
                      </c:pt>
                      <c:pt idx="3876">
                        <c:v>8.35</c:v>
                      </c:pt>
                      <c:pt idx="3877">
                        <c:v>10.34</c:v>
                      </c:pt>
                      <c:pt idx="3878">
                        <c:v>10.18</c:v>
                      </c:pt>
                      <c:pt idx="3879">
                        <c:v>18.87</c:v>
                      </c:pt>
                      <c:pt idx="3880">
                        <c:v>23.58</c:v>
                      </c:pt>
                      <c:pt idx="3881">
                        <c:v>30.36</c:v>
                      </c:pt>
                      <c:pt idx="3882">
                        <c:v>33.130000000000003</c:v>
                      </c:pt>
                      <c:pt idx="3883">
                        <c:v>33.619999999999997</c:v>
                      </c:pt>
                      <c:pt idx="3884">
                        <c:v>33.4</c:v>
                      </c:pt>
                      <c:pt idx="3885">
                        <c:v>33.700000000000003</c:v>
                      </c:pt>
                      <c:pt idx="3886">
                        <c:v>28.61</c:v>
                      </c:pt>
                      <c:pt idx="3887">
                        <c:v>25.02</c:v>
                      </c:pt>
                      <c:pt idx="3888">
                        <c:v>20.66</c:v>
                      </c:pt>
                      <c:pt idx="3889">
                        <c:v>18.149999999999999</c:v>
                      </c:pt>
                      <c:pt idx="3890">
                        <c:v>14.6</c:v>
                      </c:pt>
                      <c:pt idx="3891">
                        <c:v>15.66</c:v>
                      </c:pt>
                      <c:pt idx="3892">
                        <c:v>20.37</c:v>
                      </c:pt>
                      <c:pt idx="3893">
                        <c:v>30.08</c:v>
                      </c:pt>
                      <c:pt idx="3894">
                        <c:v>36.04</c:v>
                      </c:pt>
                      <c:pt idx="3895">
                        <c:v>36.450000000000003</c:v>
                      </c:pt>
                      <c:pt idx="3896">
                        <c:v>34.49</c:v>
                      </c:pt>
                      <c:pt idx="3897">
                        <c:v>28.81</c:v>
                      </c:pt>
                      <c:pt idx="3898">
                        <c:v>26.83</c:v>
                      </c:pt>
                      <c:pt idx="3899">
                        <c:v>18.510000000000002</c:v>
                      </c:pt>
                      <c:pt idx="3900">
                        <c:v>11.31</c:v>
                      </c:pt>
                      <c:pt idx="3901">
                        <c:v>10.92</c:v>
                      </c:pt>
                      <c:pt idx="3902">
                        <c:v>11.72</c:v>
                      </c:pt>
                      <c:pt idx="3903">
                        <c:v>10.01</c:v>
                      </c:pt>
                      <c:pt idx="3904">
                        <c:v>19.77</c:v>
                      </c:pt>
                      <c:pt idx="3905">
                        <c:v>28.98</c:v>
                      </c:pt>
                      <c:pt idx="3906">
                        <c:v>35.909999999999997</c:v>
                      </c:pt>
                      <c:pt idx="3907">
                        <c:v>35.909999999999997</c:v>
                      </c:pt>
                      <c:pt idx="3908">
                        <c:v>35.43</c:v>
                      </c:pt>
                      <c:pt idx="3909">
                        <c:v>36.99</c:v>
                      </c:pt>
                      <c:pt idx="3910">
                        <c:v>29.97</c:v>
                      </c:pt>
                      <c:pt idx="3911">
                        <c:v>28.06</c:v>
                      </c:pt>
                      <c:pt idx="3912">
                        <c:v>27</c:v>
                      </c:pt>
                      <c:pt idx="3913">
                        <c:v>24.63</c:v>
                      </c:pt>
                      <c:pt idx="3914">
                        <c:v>23.47</c:v>
                      </c:pt>
                      <c:pt idx="3915">
                        <c:v>23.95</c:v>
                      </c:pt>
                      <c:pt idx="3916">
                        <c:v>25.5</c:v>
                      </c:pt>
                      <c:pt idx="3917">
                        <c:v>33.119999999999997</c:v>
                      </c:pt>
                      <c:pt idx="3918">
                        <c:v>39.47</c:v>
                      </c:pt>
                      <c:pt idx="3919">
                        <c:v>40</c:v>
                      </c:pt>
                      <c:pt idx="3920">
                        <c:v>33.9</c:v>
                      </c:pt>
                      <c:pt idx="3921">
                        <c:v>29.92</c:v>
                      </c:pt>
                      <c:pt idx="3922">
                        <c:v>29.65</c:v>
                      </c:pt>
                      <c:pt idx="3923">
                        <c:v>28.07</c:v>
                      </c:pt>
                      <c:pt idx="3924">
                        <c:v>28.43</c:v>
                      </c:pt>
                      <c:pt idx="3925">
                        <c:v>28.46</c:v>
                      </c:pt>
                      <c:pt idx="3926">
                        <c:v>29.17</c:v>
                      </c:pt>
                      <c:pt idx="3927">
                        <c:v>33.979999999999997</c:v>
                      </c:pt>
                      <c:pt idx="3928">
                        <c:v>36.9</c:v>
                      </c:pt>
                      <c:pt idx="3929">
                        <c:v>38.520000000000003</c:v>
                      </c:pt>
                      <c:pt idx="3930">
                        <c:v>42.92</c:v>
                      </c:pt>
                      <c:pt idx="3931">
                        <c:v>41.95</c:v>
                      </c:pt>
                      <c:pt idx="3932">
                        <c:v>40.96</c:v>
                      </c:pt>
                      <c:pt idx="3933">
                        <c:v>41.12</c:v>
                      </c:pt>
                      <c:pt idx="3934">
                        <c:v>36.9</c:v>
                      </c:pt>
                      <c:pt idx="3935">
                        <c:v>32.21</c:v>
                      </c:pt>
                      <c:pt idx="3936">
                        <c:v>29.18</c:v>
                      </c:pt>
                      <c:pt idx="3937">
                        <c:v>28.95</c:v>
                      </c:pt>
                      <c:pt idx="3938">
                        <c:v>27.86</c:v>
                      </c:pt>
                      <c:pt idx="3939">
                        <c:v>27.5</c:v>
                      </c:pt>
                      <c:pt idx="3940">
                        <c:v>28.98</c:v>
                      </c:pt>
                      <c:pt idx="3941">
                        <c:v>34.4</c:v>
                      </c:pt>
                      <c:pt idx="3942">
                        <c:v>41.26</c:v>
                      </c:pt>
                      <c:pt idx="3943">
                        <c:v>43.76</c:v>
                      </c:pt>
                      <c:pt idx="3944">
                        <c:v>41.63</c:v>
                      </c:pt>
                      <c:pt idx="3945">
                        <c:v>41.12</c:v>
                      </c:pt>
                      <c:pt idx="3946">
                        <c:v>39.93</c:v>
                      </c:pt>
                      <c:pt idx="3947">
                        <c:v>36.94</c:v>
                      </c:pt>
                      <c:pt idx="3948">
                        <c:v>35.99</c:v>
                      </c:pt>
                      <c:pt idx="3949">
                        <c:v>35.92</c:v>
                      </c:pt>
                      <c:pt idx="3950">
                        <c:v>35.020000000000003</c:v>
                      </c:pt>
                      <c:pt idx="3951">
                        <c:v>35.85</c:v>
                      </c:pt>
                      <c:pt idx="3952">
                        <c:v>40.53</c:v>
                      </c:pt>
                      <c:pt idx="3953">
                        <c:v>45.26</c:v>
                      </c:pt>
                      <c:pt idx="3954">
                        <c:v>49.95</c:v>
                      </c:pt>
                      <c:pt idx="3955">
                        <c:v>44.64</c:v>
                      </c:pt>
                      <c:pt idx="3956">
                        <c:v>42.91</c:v>
                      </c:pt>
                      <c:pt idx="3957">
                        <c:v>42.8</c:v>
                      </c:pt>
                      <c:pt idx="3958">
                        <c:v>35.44</c:v>
                      </c:pt>
                      <c:pt idx="3959">
                        <c:v>33</c:v>
                      </c:pt>
                      <c:pt idx="3960">
                        <c:v>31.04</c:v>
                      </c:pt>
                      <c:pt idx="3961">
                        <c:v>30.97</c:v>
                      </c:pt>
                      <c:pt idx="3962">
                        <c:v>29.39</c:v>
                      </c:pt>
                      <c:pt idx="3963">
                        <c:v>28.8</c:v>
                      </c:pt>
                      <c:pt idx="3964">
                        <c:v>28.88</c:v>
                      </c:pt>
                      <c:pt idx="3965">
                        <c:v>32.020000000000003</c:v>
                      </c:pt>
                      <c:pt idx="3966">
                        <c:v>37.81</c:v>
                      </c:pt>
                      <c:pt idx="3967">
                        <c:v>38</c:v>
                      </c:pt>
                      <c:pt idx="3968">
                        <c:v>35.49</c:v>
                      </c:pt>
                      <c:pt idx="3969">
                        <c:v>29.95</c:v>
                      </c:pt>
                      <c:pt idx="3970">
                        <c:v>31.97</c:v>
                      </c:pt>
                      <c:pt idx="3971">
                        <c:v>28.44</c:v>
                      </c:pt>
                      <c:pt idx="3972">
                        <c:v>27.73</c:v>
                      </c:pt>
                      <c:pt idx="3973">
                        <c:v>28.55</c:v>
                      </c:pt>
                      <c:pt idx="3974">
                        <c:v>27.16</c:v>
                      </c:pt>
                      <c:pt idx="3975">
                        <c:v>29.51</c:v>
                      </c:pt>
                      <c:pt idx="3976">
                        <c:v>33.81</c:v>
                      </c:pt>
                      <c:pt idx="3977">
                        <c:v>36.9</c:v>
                      </c:pt>
                      <c:pt idx="3978">
                        <c:v>37.01</c:v>
                      </c:pt>
                      <c:pt idx="3979">
                        <c:v>36.619999999999997</c:v>
                      </c:pt>
                      <c:pt idx="3980">
                        <c:v>35.020000000000003</c:v>
                      </c:pt>
                      <c:pt idx="3981">
                        <c:v>34.58</c:v>
                      </c:pt>
                      <c:pt idx="3982">
                        <c:v>30</c:v>
                      </c:pt>
                      <c:pt idx="3983">
                        <c:v>28.5</c:v>
                      </c:pt>
                      <c:pt idx="3984">
                        <c:v>23.93</c:v>
                      </c:pt>
                      <c:pt idx="3985">
                        <c:v>22</c:v>
                      </c:pt>
                      <c:pt idx="3986">
                        <c:v>21.07</c:v>
                      </c:pt>
                      <c:pt idx="3987">
                        <c:v>21.05</c:v>
                      </c:pt>
                      <c:pt idx="3988">
                        <c:v>22.41</c:v>
                      </c:pt>
                      <c:pt idx="3989">
                        <c:v>28.69</c:v>
                      </c:pt>
                      <c:pt idx="3990">
                        <c:v>33.53</c:v>
                      </c:pt>
                      <c:pt idx="3991">
                        <c:v>28.66</c:v>
                      </c:pt>
                      <c:pt idx="3992">
                        <c:v>27.32</c:v>
                      </c:pt>
                      <c:pt idx="3993">
                        <c:v>21.97</c:v>
                      </c:pt>
                      <c:pt idx="3994">
                        <c:v>18.84</c:v>
                      </c:pt>
                      <c:pt idx="3995">
                        <c:v>9.82</c:v>
                      </c:pt>
                      <c:pt idx="3996">
                        <c:v>7.53</c:v>
                      </c:pt>
                      <c:pt idx="3997">
                        <c:v>0.88</c:v>
                      </c:pt>
                      <c:pt idx="3998">
                        <c:v>1.52</c:v>
                      </c:pt>
                      <c:pt idx="3999">
                        <c:v>7.51</c:v>
                      </c:pt>
                      <c:pt idx="4000">
                        <c:v>10.1</c:v>
                      </c:pt>
                      <c:pt idx="4001">
                        <c:v>20.73</c:v>
                      </c:pt>
                      <c:pt idx="4002">
                        <c:v>25.08</c:v>
                      </c:pt>
                      <c:pt idx="4003">
                        <c:v>26.49</c:v>
                      </c:pt>
                      <c:pt idx="4004">
                        <c:v>26.56</c:v>
                      </c:pt>
                      <c:pt idx="4005">
                        <c:v>28.67</c:v>
                      </c:pt>
                      <c:pt idx="4006">
                        <c:v>21.83</c:v>
                      </c:pt>
                      <c:pt idx="4007">
                        <c:v>19.809999999999999</c:v>
                      </c:pt>
                      <c:pt idx="4008">
                        <c:v>14.97</c:v>
                      </c:pt>
                      <c:pt idx="4009">
                        <c:v>17.079999999999998</c:v>
                      </c:pt>
                      <c:pt idx="4010">
                        <c:v>19.489999999999998</c:v>
                      </c:pt>
                      <c:pt idx="4011">
                        <c:v>18.46</c:v>
                      </c:pt>
                      <c:pt idx="4012">
                        <c:v>19.77</c:v>
                      </c:pt>
                      <c:pt idx="4013">
                        <c:v>19.14</c:v>
                      </c:pt>
                      <c:pt idx="4014">
                        <c:v>21</c:v>
                      </c:pt>
                      <c:pt idx="4015">
                        <c:v>23.01</c:v>
                      </c:pt>
                      <c:pt idx="4016">
                        <c:v>23.49</c:v>
                      </c:pt>
                      <c:pt idx="4017">
                        <c:v>22.76</c:v>
                      </c:pt>
                      <c:pt idx="4018">
                        <c:v>22.35</c:v>
                      </c:pt>
                      <c:pt idx="4019">
                        <c:v>21.03</c:v>
                      </c:pt>
                      <c:pt idx="4020">
                        <c:v>21.08</c:v>
                      </c:pt>
                      <c:pt idx="4021">
                        <c:v>20.16</c:v>
                      </c:pt>
                      <c:pt idx="4022">
                        <c:v>20.100000000000001</c:v>
                      </c:pt>
                      <c:pt idx="4023">
                        <c:v>22.68</c:v>
                      </c:pt>
                      <c:pt idx="4024">
                        <c:v>27.62</c:v>
                      </c:pt>
                      <c:pt idx="4025">
                        <c:v>31.63</c:v>
                      </c:pt>
                      <c:pt idx="4026">
                        <c:v>35.1</c:v>
                      </c:pt>
                      <c:pt idx="4027">
                        <c:v>35.83</c:v>
                      </c:pt>
                      <c:pt idx="4028">
                        <c:v>36.97</c:v>
                      </c:pt>
                      <c:pt idx="4029">
                        <c:v>38</c:v>
                      </c:pt>
                      <c:pt idx="4030">
                        <c:v>35.85</c:v>
                      </c:pt>
                      <c:pt idx="4031">
                        <c:v>35.99</c:v>
                      </c:pt>
                      <c:pt idx="4032">
                        <c:v>30.08</c:v>
                      </c:pt>
                      <c:pt idx="4033">
                        <c:v>28.53</c:v>
                      </c:pt>
                      <c:pt idx="4034">
                        <c:v>26.81</c:v>
                      </c:pt>
                      <c:pt idx="4035">
                        <c:v>25.11</c:v>
                      </c:pt>
                      <c:pt idx="4036">
                        <c:v>24.29</c:v>
                      </c:pt>
                      <c:pt idx="4037">
                        <c:v>24.33</c:v>
                      </c:pt>
                      <c:pt idx="4038">
                        <c:v>25.68</c:v>
                      </c:pt>
                      <c:pt idx="4039">
                        <c:v>25.54</c:v>
                      </c:pt>
                      <c:pt idx="4040">
                        <c:v>24.4</c:v>
                      </c:pt>
                      <c:pt idx="4041">
                        <c:v>24.34</c:v>
                      </c:pt>
                      <c:pt idx="4042">
                        <c:v>24.24</c:v>
                      </c:pt>
                      <c:pt idx="4043">
                        <c:v>24.13</c:v>
                      </c:pt>
                      <c:pt idx="4044">
                        <c:v>23.53</c:v>
                      </c:pt>
                      <c:pt idx="4045">
                        <c:v>21.98</c:v>
                      </c:pt>
                      <c:pt idx="4046">
                        <c:v>22.9</c:v>
                      </c:pt>
                      <c:pt idx="4047">
                        <c:v>23.6</c:v>
                      </c:pt>
                      <c:pt idx="4048">
                        <c:v>27.18</c:v>
                      </c:pt>
                      <c:pt idx="4049">
                        <c:v>33.520000000000003</c:v>
                      </c:pt>
                      <c:pt idx="4050">
                        <c:v>37.479999999999997</c:v>
                      </c:pt>
                      <c:pt idx="4051">
                        <c:v>38.979999999999997</c:v>
                      </c:pt>
                      <c:pt idx="4052">
                        <c:v>39.090000000000003</c:v>
                      </c:pt>
                      <c:pt idx="4053">
                        <c:v>41.22</c:v>
                      </c:pt>
                      <c:pt idx="4054">
                        <c:v>37.08</c:v>
                      </c:pt>
                      <c:pt idx="4055">
                        <c:v>33.880000000000003</c:v>
                      </c:pt>
                      <c:pt idx="4056">
                        <c:v>30.2</c:v>
                      </c:pt>
                      <c:pt idx="4057">
                        <c:v>29.1</c:v>
                      </c:pt>
                      <c:pt idx="4058">
                        <c:v>28.67</c:v>
                      </c:pt>
                      <c:pt idx="4059">
                        <c:v>28.57</c:v>
                      </c:pt>
                      <c:pt idx="4060">
                        <c:v>29.1</c:v>
                      </c:pt>
                      <c:pt idx="4061">
                        <c:v>38.299999999999997</c:v>
                      </c:pt>
                      <c:pt idx="4062">
                        <c:v>42.97</c:v>
                      </c:pt>
                      <c:pt idx="4063">
                        <c:v>44.03</c:v>
                      </c:pt>
                      <c:pt idx="4064">
                        <c:v>40.98</c:v>
                      </c:pt>
                      <c:pt idx="4065">
                        <c:v>38.24</c:v>
                      </c:pt>
                      <c:pt idx="4066">
                        <c:v>38.49</c:v>
                      </c:pt>
                      <c:pt idx="4067">
                        <c:v>34.96</c:v>
                      </c:pt>
                      <c:pt idx="4068">
                        <c:v>35.06</c:v>
                      </c:pt>
                      <c:pt idx="4069">
                        <c:v>35.880000000000003</c:v>
                      </c:pt>
                      <c:pt idx="4070">
                        <c:v>38.33</c:v>
                      </c:pt>
                      <c:pt idx="4071">
                        <c:v>39.51</c:v>
                      </c:pt>
                      <c:pt idx="4072">
                        <c:v>42.1</c:v>
                      </c:pt>
                      <c:pt idx="4073">
                        <c:v>45.6</c:v>
                      </c:pt>
                      <c:pt idx="4074">
                        <c:v>49.99</c:v>
                      </c:pt>
                      <c:pt idx="4075">
                        <c:v>45.4</c:v>
                      </c:pt>
                      <c:pt idx="4076">
                        <c:v>44.13</c:v>
                      </c:pt>
                      <c:pt idx="4077">
                        <c:v>43.68</c:v>
                      </c:pt>
                      <c:pt idx="4078">
                        <c:v>36.659999999999997</c:v>
                      </c:pt>
                      <c:pt idx="4079">
                        <c:v>32.39</c:v>
                      </c:pt>
                      <c:pt idx="4080">
                        <c:v>32.1</c:v>
                      </c:pt>
                      <c:pt idx="4081">
                        <c:v>30.15</c:v>
                      </c:pt>
                      <c:pt idx="4082">
                        <c:v>28.74</c:v>
                      </c:pt>
                      <c:pt idx="4083">
                        <c:v>28.47</c:v>
                      </c:pt>
                      <c:pt idx="4084">
                        <c:v>30.47</c:v>
                      </c:pt>
                      <c:pt idx="4085">
                        <c:v>36.81</c:v>
                      </c:pt>
                      <c:pt idx="4086">
                        <c:v>43.36</c:v>
                      </c:pt>
                      <c:pt idx="4087">
                        <c:v>44.02</c:v>
                      </c:pt>
                      <c:pt idx="4088">
                        <c:v>42.3</c:v>
                      </c:pt>
                      <c:pt idx="4089">
                        <c:v>39.659999999999997</c:v>
                      </c:pt>
                      <c:pt idx="4090">
                        <c:v>36.99</c:v>
                      </c:pt>
                      <c:pt idx="4091">
                        <c:v>32.75</c:v>
                      </c:pt>
                      <c:pt idx="4092">
                        <c:v>32</c:v>
                      </c:pt>
                      <c:pt idx="4093">
                        <c:v>31.84</c:v>
                      </c:pt>
                      <c:pt idx="4094">
                        <c:v>31.86</c:v>
                      </c:pt>
                      <c:pt idx="4095">
                        <c:v>31.99</c:v>
                      </c:pt>
                      <c:pt idx="4096">
                        <c:v>37.340000000000003</c:v>
                      </c:pt>
                      <c:pt idx="4097">
                        <c:v>38.08</c:v>
                      </c:pt>
                      <c:pt idx="4098">
                        <c:v>39.71</c:v>
                      </c:pt>
                      <c:pt idx="4099">
                        <c:v>39.950000000000003</c:v>
                      </c:pt>
                      <c:pt idx="4100">
                        <c:v>38.9</c:v>
                      </c:pt>
                      <c:pt idx="4101">
                        <c:v>38.57</c:v>
                      </c:pt>
                      <c:pt idx="4102">
                        <c:v>34.909999999999997</c:v>
                      </c:pt>
                      <c:pt idx="4103">
                        <c:v>32.049999999999997</c:v>
                      </c:pt>
                      <c:pt idx="4104">
                        <c:v>31.94</c:v>
                      </c:pt>
                      <c:pt idx="4105">
                        <c:v>31.34</c:v>
                      </c:pt>
                      <c:pt idx="4106">
                        <c:v>30.87</c:v>
                      </c:pt>
                      <c:pt idx="4107">
                        <c:v>30.68</c:v>
                      </c:pt>
                      <c:pt idx="4108">
                        <c:v>30.92</c:v>
                      </c:pt>
                      <c:pt idx="4109">
                        <c:v>38.409999999999997</c:v>
                      </c:pt>
                      <c:pt idx="4110">
                        <c:v>44.02</c:v>
                      </c:pt>
                      <c:pt idx="4111">
                        <c:v>44.65</c:v>
                      </c:pt>
                      <c:pt idx="4112">
                        <c:v>43.24</c:v>
                      </c:pt>
                      <c:pt idx="4113">
                        <c:v>40.06</c:v>
                      </c:pt>
                      <c:pt idx="4114">
                        <c:v>39.54</c:v>
                      </c:pt>
                      <c:pt idx="4115">
                        <c:v>37.64</c:v>
                      </c:pt>
                      <c:pt idx="4116">
                        <c:v>36.090000000000003</c:v>
                      </c:pt>
                      <c:pt idx="4117">
                        <c:v>33.65</c:v>
                      </c:pt>
                      <c:pt idx="4118">
                        <c:v>34.69</c:v>
                      </c:pt>
                      <c:pt idx="4119">
                        <c:v>38.200000000000003</c:v>
                      </c:pt>
                      <c:pt idx="4120">
                        <c:v>45.64</c:v>
                      </c:pt>
                      <c:pt idx="4121">
                        <c:v>50.94</c:v>
                      </c:pt>
                      <c:pt idx="4122">
                        <c:v>56.95</c:v>
                      </c:pt>
                      <c:pt idx="4123">
                        <c:v>51.03</c:v>
                      </c:pt>
                      <c:pt idx="4124">
                        <c:v>45.44</c:v>
                      </c:pt>
                      <c:pt idx="4125">
                        <c:v>44.05</c:v>
                      </c:pt>
                      <c:pt idx="4126">
                        <c:v>36.68</c:v>
                      </c:pt>
                      <c:pt idx="4127">
                        <c:v>35.94</c:v>
                      </c:pt>
                      <c:pt idx="4128">
                        <c:v>34.450000000000003</c:v>
                      </c:pt>
                      <c:pt idx="4129">
                        <c:v>32.04</c:v>
                      </c:pt>
                      <c:pt idx="4130">
                        <c:v>30.96</c:v>
                      </c:pt>
                      <c:pt idx="4131">
                        <c:v>29.2</c:v>
                      </c:pt>
                      <c:pt idx="4132">
                        <c:v>30.2</c:v>
                      </c:pt>
                      <c:pt idx="4133">
                        <c:v>36.46</c:v>
                      </c:pt>
                      <c:pt idx="4134">
                        <c:v>42.39</c:v>
                      </c:pt>
                      <c:pt idx="4135">
                        <c:v>44.8</c:v>
                      </c:pt>
                      <c:pt idx="4136">
                        <c:v>40.880000000000003</c:v>
                      </c:pt>
                      <c:pt idx="4137">
                        <c:v>38.909999999999997</c:v>
                      </c:pt>
                      <c:pt idx="4138">
                        <c:v>37.15</c:v>
                      </c:pt>
                      <c:pt idx="4139">
                        <c:v>34.96</c:v>
                      </c:pt>
                      <c:pt idx="4140">
                        <c:v>31.71</c:v>
                      </c:pt>
                      <c:pt idx="4141">
                        <c:v>30.29</c:v>
                      </c:pt>
                      <c:pt idx="4142">
                        <c:v>30.37</c:v>
                      </c:pt>
                      <c:pt idx="4143">
                        <c:v>30.17</c:v>
                      </c:pt>
                      <c:pt idx="4144">
                        <c:v>37.43</c:v>
                      </c:pt>
                      <c:pt idx="4145">
                        <c:v>39.9</c:v>
                      </c:pt>
                      <c:pt idx="4146">
                        <c:v>41.91</c:v>
                      </c:pt>
                      <c:pt idx="4147">
                        <c:v>38.99</c:v>
                      </c:pt>
                      <c:pt idx="4148">
                        <c:v>37.56</c:v>
                      </c:pt>
                      <c:pt idx="4149">
                        <c:v>36.07</c:v>
                      </c:pt>
                      <c:pt idx="4150">
                        <c:v>30.95</c:v>
                      </c:pt>
                      <c:pt idx="4151">
                        <c:v>25.33</c:v>
                      </c:pt>
                      <c:pt idx="4152">
                        <c:v>23.55</c:v>
                      </c:pt>
                      <c:pt idx="4153">
                        <c:v>22.43</c:v>
                      </c:pt>
                      <c:pt idx="4154">
                        <c:v>21.41</c:v>
                      </c:pt>
                      <c:pt idx="4155">
                        <c:v>21.59</c:v>
                      </c:pt>
                      <c:pt idx="4156">
                        <c:v>23.34</c:v>
                      </c:pt>
                      <c:pt idx="4157">
                        <c:v>28.09</c:v>
                      </c:pt>
                      <c:pt idx="4158">
                        <c:v>36.26</c:v>
                      </c:pt>
                      <c:pt idx="4159">
                        <c:v>38.28</c:v>
                      </c:pt>
                      <c:pt idx="4160">
                        <c:v>34.090000000000003</c:v>
                      </c:pt>
                      <c:pt idx="4161">
                        <c:v>30.45</c:v>
                      </c:pt>
                      <c:pt idx="4162">
                        <c:v>29.05</c:v>
                      </c:pt>
                      <c:pt idx="4163">
                        <c:v>27.77</c:v>
                      </c:pt>
                      <c:pt idx="4164">
                        <c:v>26.1</c:v>
                      </c:pt>
                      <c:pt idx="4165">
                        <c:v>25.07</c:v>
                      </c:pt>
                      <c:pt idx="4166">
                        <c:v>24.98</c:v>
                      </c:pt>
                      <c:pt idx="4167">
                        <c:v>25.01</c:v>
                      </c:pt>
                      <c:pt idx="4168">
                        <c:v>29.06</c:v>
                      </c:pt>
                      <c:pt idx="4169">
                        <c:v>36.46</c:v>
                      </c:pt>
                      <c:pt idx="4170">
                        <c:v>38.42</c:v>
                      </c:pt>
                      <c:pt idx="4171">
                        <c:v>38.44</c:v>
                      </c:pt>
                      <c:pt idx="4172">
                        <c:v>37.979999999999997</c:v>
                      </c:pt>
                      <c:pt idx="4173">
                        <c:v>39.229999999999997</c:v>
                      </c:pt>
                      <c:pt idx="4174">
                        <c:v>36.43</c:v>
                      </c:pt>
                      <c:pt idx="4175">
                        <c:v>29.33</c:v>
                      </c:pt>
                      <c:pt idx="4176">
                        <c:v>28.01</c:v>
                      </c:pt>
                      <c:pt idx="4177">
                        <c:v>24.01</c:v>
                      </c:pt>
                      <c:pt idx="4178">
                        <c:v>23.02</c:v>
                      </c:pt>
                      <c:pt idx="4179">
                        <c:v>20.6</c:v>
                      </c:pt>
                      <c:pt idx="4180">
                        <c:v>19.989999999999998</c:v>
                      </c:pt>
                      <c:pt idx="4181">
                        <c:v>22.09</c:v>
                      </c:pt>
                      <c:pt idx="4182">
                        <c:v>24.53</c:v>
                      </c:pt>
                      <c:pt idx="4183">
                        <c:v>25.66</c:v>
                      </c:pt>
                      <c:pt idx="4184">
                        <c:v>24.8</c:v>
                      </c:pt>
                      <c:pt idx="4185">
                        <c:v>22</c:v>
                      </c:pt>
                      <c:pt idx="4186">
                        <c:v>11.82</c:v>
                      </c:pt>
                      <c:pt idx="4187">
                        <c:v>11.79</c:v>
                      </c:pt>
                      <c:pt idx="4188">
                        <c:v>10.32</c:v>
                      </c:pt>
                      <c:pt idx="4189">
                        <c:v>7.38</c:v>
                      </c:pt>
                      <c:pt idx="4190">
                        <c:v>9.77</c:v>
                      </c:pt>
                      <c:pt idx="4191">
                        <c:v>12.64</c:v>
                      </c:pt>
                      <c:pt idx="4192">
                        <c:v>20.309999999999999</c:v>
                      </c:pt>
                      <c:pt idx="4193">
                        <c:v>29.59</c:v>
                      </c:pt>
                      <c:pt idx="4194">
                        <c:v>31.07</c:v>
                      </c:pt>
                      <c:pt idx="4195">
                        <c:v>29.82</c:v>
                      </c:pt>
                      <c:pt idx="4196">
                        <c:v>31.38</c:v>
                      </c:pt>
                      <c:pt idx="4197">
                        <c:v>31.94</c:v>
                      </c:pt>
                      <c:pt idx="4198">
                        <c:v>29.75</c:v>
                      </c:pt>
                      <c:pt idx="4199">
                        <c:v>28.06</c:v>
                      </c:pt>
                      <c:pt idx="4200">
                        <c:v>23.59</c:v>
                      </c:pt>
                      <c:pt idx="4201">
                        <c:v>20.79</c:v>
                      </c:pt>
                      <c:pt idx="4202">
                        <c:v>18.25</c:v>
                      </c:pt>
                      <c:pt idx="4203">
                        <c:v>14.45</c:v>
                      </c:pt>
                      <c:pt idx="4204">
                        <c:v>10.25</c:v>
                      </c:pt>
                      <c:pt idx="4205">
                        <c:v>10.26</c:v>
                      </c:pt>
                      <c:pt idx="4206">
                        <c:v>17.690000000000001</c:v>
                      </c:pt>
                      <c:pt idx="4207">
                        <c:v>17.77</c:v>
                      </c:pt>
                      <c:pt idx="4208">
                        <c:v>16.11</c:v>
                      </c:pt>
                      <c:pt idx="4209">
                        <c:v>13.29</c:v>
                      </c:pt>
                      <c:pt idx="4210">
                        <c:v>13.61</c:v>
                      </c:pt>
                      <c:pt idx="4211">
                        <c:v>11.27</c:v>
                      </c:pt>
                      <c:pt idx="4212">
                        <c:v>7.32</c:v>
                      </c:pt>
                      <c:pt idx="4213">
                        <c:v>0.65</c:v>
                      </c:pt>
                      <c:pt idx="4214">
                        <c:v>3.3</c:v>
                      </c:pt>
                      <c:pt idx="4215">
                        <c:v>8.17</c:v>
                      </c:pt>
                      <c:pt idx="4216">
                        <c:v>17.010000000000002</c:v>
                      </c:pt>
                      <c:pt idx="4217">
                        <c:v>21.69</c:v>
                      </c:pt>
                      <c:pt idx="4218">
                        <c:v>29.21</c:v>
                      </c:pt>
                      <c:pt idx="4219">
                        <c:v>33.94</c:v>
                      </c:pt>
                      <c:pt idx="4220">
                        <c:v>35.21</c:v>
                      </c:pt>
                      <c:pt idx="4221">
                        <c:v>38.909999999999997</c:v>
                      </c:pt>
                      <c:pt idx="4222">
                        <c:v>36.21</c:v>
                      </c:pt>
                      <c:pt idx="4223">
                        <c:v>33.29</c:v>
                      </c:pt>
                      <c:pt idx="4224">
                        <c:v>30.8</c:v>
                      </c:pt>
                      <c:pt idx="4225">
                        <c:v>28.03</c:v>
                      </c:pt>
                      <c:pt idx="4226">
                        <c:v>26.16</c:v>
                      </c:pt>
                      <c:pt idx="4227">
                        <c:v>23.96</c:v>
                      </c:pt>
                      <c:pt idx="4228">
                        <c:v>26.21</c:v>
                      </c:pt>
                      <c:pt idx="4229">
                        <c:v>37.119999999999997</c:v>
                      </c:pt>
                      <c:pt idx="4230">
                        <c:v>39.43</c:v>
                      </c:pt>
                      <c:pt idx="4231">
                        <c:v>38.979999999999997</c:v>
                      </c:pt>
                      <c:pt idx="4232">
                        <c:v>34.43</c:v>
                      </c:pt>
                      <c:pt idx="4233">
                        <c:v>28.85</c:v>
                      </c:pt>
                      <c:pt idx="4234">
                        <c:v>28.09</c:v>
                      </c:pt>
                      <c:pt idx="4235">
                        <c:v>27.49</c:v>
                      </c:pt>
                      <c:pt idx="4236">
                        <c:v>27.35</c:v>
                      </c:pt>
                      <c:pt idx="4237">
                        <c:v>26.2</c:v>
                      </c:pt>
                      <c:pt idx="4238">
                        <c:v>27.2</c:v>
                      </c:pt>
                      <c:pt idx="4239">
                        <c:v>28.03</c:v>
                      </c:pt>
                      <c:pt idx="4240">
                        <c:v>35.380000000000003</c:v>
                      </c:pt>
                      <c:pt idx="4241">
                        <c:v>39.9</c:v>
                      </c:pt>
                      <c:pt idx="4242">
                        <c:v>42.91</c:v>
                      </c:pt>
                      <c:pt idx="4243">
                        <c:v>41.58</c:v>
                      </c:pt>
                      <c:pt idx="4244">
                        <c:v>40.549999999999997</c:v>
                      </c:pt>
                      <c:pt idx="4245">
                        <c:v>42.4</c:v>
                      </c:pt>
                      <c:pt idx="4246">
                        <c:v>38.46</c:v>
                      </c:pt>
                      <c:pt idx="4247">
                        <c:v>31.07</c:v>
                      </c:pt>
                      <c:pt idx="4248">
                        <c:v>30.07</c:v>
                      </c:pt>
                      <c:pt idx="4249">
                        <c:v>29.09</c:v>
                      </c:pt>
                      <c:pt idx="4250">
                        <c:v>29.04</c:v>
                      </c:pt>
                      <c:pt idx="4251">
                        <c:v>28.69</c:v>
                      </c:pt>
                      <c:pt idx="4252">
                        <c:v>29.41</c:v>
                      </c:pt>
                      <c:pt idx="4253">
                        <c:v>37.94</c:v>
                      </c:pt>
                      <c:pt idx="4254">
                        <c:v>43.55</c:v>
                      </c:pt>
                      <c:pt idx="4255">
                        <c:v>46.66</c:v>
                      </c:pt>
                      <c:pt idx="4256">
                        <c:v>46.3</c:v>
                      </c:pt>
                      <c:pt idx="4257">
                        <c:v>46.69</c:v>
                      </c:pt>
                      <c:pt idx="4258">
                        <c:v>48.04</c:v>
                      </c:pt>
                      <c:pt idx="4259">
                        <c:v>45.95</c:v>
                      </c:pt>
                      <c:pt idx="4260">
                        <c:v>44.45</c:v>
                      </c:pt>
                      <c:pt idx="4261">
                        <c:v>44.1</c:v>
                      </c:pt>
                      <c:pt idx="4262">
                        <c:v>40.15</c:v>
                      </c:pt>
                      <c:pt idx="4263">
                        <c:v>42.53</c:v>
                      </c:pt>
                      <c:pt idx="4264">
                        <c:v>42.6</c:v>
                      </c:pt>
                      <c:pt idx="4265">
                        <c:v>43.93</c:v>
                      </c:pt>
                      <c:pt idx="4266">
                        <c:v>43.95</c:v>
                      </c:pt>
                      <c:pt idx="4267">
                        <c:v>40.24</c:v>
                      </c:pt>
                      <c:pt idx="4268">
                        <c:v>37.979999999999997</c:v>
                      </c:pt>
                      <c:pt idx="4269">
                        <c:v>32.619999999999997</c:v>
                      </c:pt>
                      <c:pt idx="4270">
                        <c:v>27.3</c:v>
                      </c:pt>
                      <c:pt idx="4271">
                        <c:v>28.77</c:v>
                      </c:pt>
                      <c:pt idx="4272">
                        <c:v>27.35</c:v>
                      </c:pt>
                      <c:pt idx="4273">
                        <c:v>26.38</c:v>
                      </c:pt>
                      <c:pt idx="4274">
                        <c:v>26.02</c:v>
                      </c:pt>
                      <c:pt idx="4275">
                        <c:v>25.96</c:v>
                      </c:pt>
                      <c:pt idx="4276">
                        <c:v>27.96</c:v>
                      </c:pt>
                      <c:pt idx="4277">
                        <c:v>32.76</c:v>
                      </c:pt>
                      <c:pt idx="4278">
                        <c:v>38.64</c:v>
                      </c:pt>
                      <c:pt idx="4279">
                        <c:v>41.51</c:v>
                      </c:pt>
                      <c:pt idx="4280">
                        <c:v>41.99</c:v>
                      </c:pt>
                      <c:pt idx="4281">
                        <c:v>41.95</c:v>
                      </c:pt>
                      <c:pt idx="4282">
                        <c:v>42.7</c:v>
                      </c:pt>
                      <c:pt idx="4283">
                        <c:v>41.45</c:v>
                      </c:pt>
                      <c:pt idx="4284">
                        <c:v>38.97</c:v>
                      </c:pt>
                      <c:pt idx="4285">
                        <c:v>36.57</c:v>
                      </c:pt>
                      <c:pt idx="4286">
                        <c:v>33.79</c:v>
                      </c:pt>
                      <c:pt idx="4287">
                        <c:v>34.9</c:v>
                      </c:pt>
                      <c:pt idx="4288">
                        <c:v>38.4</c:v>
                      </c:pt>
                      <c:pt idx="4289">
                        <c:v>38.97</c:v>
                      </c:pt>
                      <c:pt idx="4290">
                        <c:v>40</c:v>
                      </c:pt>
                      <c:pt idx="4291">
                        <c:v>38.950000000000003</c:v>
                      </c:pt>
                      <c:pt idx="4292">
                        <c:v>35.61</c:v>
                      </c:pt>
                      <c:pt idx="4293">
                        <c:v>35.92</c:v>
                      </c:pt>
                      <c:pt idx="4294">
                        <c:v>31.24</c:v>
                      </c:pt>
                      <c:pt idx="4295">
                        <c:v>32.42</c:v>
                      </c:pt>
                      <c:pt idx="4296">
                        <c:v>30.59</c:v>
                      </c:pt>
                      <c:pt idx="4297">
                        <c:v>29.94</c:v>
                      </c:pt>
                      <c:pt idx="4298">
                        <c:v>29.03</c:v>
                      </c:pt>
                      <c:pt idx="4299">
                        <c:v>29.05</c:v>
                      </c:pt>
                      <c:pt idx="4300">
                        <c:v>30.12</c:v>
                      </c:pt>
                      <c:pt idx="4301">
                        <c:v>33.950000000000003</c:v>
                      </c:pt>
                      <c:pt idx="4302">
                        <c:v>41.9</c:v>
                      </c:pt>
                      <c:pt idx="4303">
                        <c:v>46.96</c:v>
                      </c:pt>
                      <c:pt idx="4304">
                        <c:v>47.53</c:v>
                      </c:pt>
                      <c:pt idx="4305">
                        <c:v>47.53</c:v>
                      </c:pt>
                      <c:pt idx="4306">
                        <c:v>47.81</c:v>
                      </c:pt>
                      <c:pt idx="4307">
                        <c:v>45.99</c:v>
                      </c:pt>
                      <c:pt idx="4308">
                        <c:v>45.2</c:v>
                      </c:pt>
                      <c:pt idx="4309">
                        <c:v>41.71</c:v>
                      </c:pt>
                      <c:pt idx="4310">
                        <c:v>39.17</c:v>
                      </c:pt>
                      <c:pt idx="4311">
                        <c:v>38.28</c:v>
                      </c:pt>
                      <c:pt idx="4312">
                        <c:v>38.229999999999997</c:v>
                      </c:pt>
                      <c:pt idx="4313">
                        <c:v>38.94</c:v>
                      </c:pt>
                      <c:pt idx="4314">
                        <c:v>39.01</c:v>
                      </c:pt>
                      <c:pt idx="4315">
                        <c:v>35.520000000000003</c:v>
                      </c:pt>
                      <c:pt idx="4316">
                        <c:v>34.99</c:v>
                      </c:pt>
                      <c:pt idx="4317">
                        <c:v>36.479999999999997</c:v>
                      </c:pt>
                      <c:pt idx="4318">
                        <c:v>33.5</c:v>
                      </c:pt>
                      <c:pt idx="4319">
                        <c:v>29.29</c:v>
                      </c:pt>
                      <c:pt idx="4320">
                        <c:v>29.01</c:v>
                      </c:pt>
                      <c:pt idx="4321">
                        <c:v>28.06</c:v>
                      </c:pt>
                      <c:pt idx="4322">
                        <c:v>27</c:v>
                      </c:pt>
                      <c:pt idx="4323">
                        <c:v>25.58</c:v>
                      </c:pt>
                      <c:pt idx="4324">
                        <c:v>28</c:v>
                      </c:pt>
                      <c:pt idx="4325">
                        <c:v>31.96</c:v>
                      </c:pt>
                      <c:pt idx="4326">
                        <c:v>37.93</c:v>
                      </c:pt>
                      <c:pt idx="4327">
                        <c:v>38.909999999999997</c:v>
                      </c:pt>
                      <c:pt idx="4328">
                        <c:v>35.99</c:v>
                      </c:pt>
                      <c:pt idx="4329">
                        <c:v>35.51</c:v>
                      </c:pt>
                      <c:pt idx="4330">
                        <c:v>32.24</c:v>
                      </c:pt>
                      <c:pt idx="4331">
                        <c:v>29.33</c:v>
                      </c:pt>
                      <c:pt idx="4332">
                        <c:v>27.29</c:v>
                      </c:pt>
                      <c:pt idx="4333">
                        <c:v>25.08</c:v>
                      </c:pt>
                      <c:pt idx="4334">
                        <c:v>25.09</c:v>
                      </c:pt>
                      <c:pt idx="4335">
                        <c:v>27.29</c:v>
                      </c:pt>
                      <c:pt idx="4336">
                        <c:v>30.51</c:v>
                      </c:pt>
                      <c:pt idx="4337">
                        <c:v>36.36</c:v>
                      </c:pt>
                      <c:pt idx="4338">
                        <c:v>38.92</c:v>
                      </c:pt>
                      <c:pt idx="4339">
                        <c:v>38.71</c:v>
                      </c:pt>
                      <c:pt idx="4340">
                        <c:v>36.61</c:v>
                      </c:pt>
                      <c:pt idx="4341">
                        <c:v>38.950000000000003</c:v>
                      </c:pt>
                      <c:pt idx="4342">
                        <c:v>34.07</c:v>
                      </c:pt>
                      <c:pt idx="4343">
                        <c:v>32.17</c:v>
                      </c:pt>
                      <c:pt idx="4344">
                        <c:v>29.04</c:v>
                      </c:pt>
                      <c:pt idx="4345">
                        <c:v>26.96</c:v>
                      </c:pt>
                      <c:pt idx="4346">
                        <c:v>26.08</c:v>
                      </c:pt>
                      <c:pt idx="4347">
                        <c:v>26.04</c:v>
                      </c:pt>
                      <c:pt idx="4348">
                        <c:v>25.59</c:v>
                      </c:pt>
                      <c:pt idx="4349">
                        <c:v>25.56</c:v>
                      </c:pt>
                      <c:pt idx="4350">
                        <c:v>26.77</c:v>
                      </c:pt>
                      <c:pt idx="4351">
                        <c:v>28.82</c:v>
                      </c:pt>
                      <c:pt idx="4352">
                        <c:v>32.4</c:v>
                      </c:pt>
                      <c:pt idx="4353">
                        <c:v>33.35</c:v>
                      </c:pt>
                      <c:pt idx="4354">
                        <c:v>33.15</c:v>
                      </c:pt>
                      <c:pt idx="4355">
                        <c:v>29.1</c:v>
                      </c:pt>
                      <c:pt idx="4356">
                        <c:v>26.07</c:v>
                      </c:pt>
                      <c:pt idx="4357">
                        <c:v>26.33</c:v>
                      </c:pt>
                      <c:pt idx="4358">
                        <c:v>26.04</c:v>
                      </c:pt>
                      <c:pt idx="4359">
                        <c:v>26.09</c:v>
                      </c:pt>
                      <c:pt idx="4360">
                        <c:v>29.01</c:v>
                      </c:pt>
                      <c:pt idx="4361">
                        <c:v>29.34</c:v>
                      </c:pt>
                      <c:pt idx="4362">
                        <c:v>29.89</c:v>
                      </c:pt>
                      <c:pt idx="4363">
                        <c:v>30.12</c:v>
                      </c:pt>
                      <c:pt idx="4364">
                        <c:v>29.63</c:v>
                      </c:pt>
                      <c:pt idx="4365">
                        <c:v>28.87</c:v>
                      </c:pt>
                      <c:pt idx="4366">
                        <c:v>26.26</c:v>
                      </c:pt>
                      <c:pt idx="4367">
                        <c:v>24.36</c:v>
                      </c:pt>
                      <c:pt idx="4368">
                        <c:v>23.12</c:v>
                      </c:pt>
                      <c:pt idx="4369">
                        <c:v>22.73</c:v>
                      </c:pt>
                      <c:pt idx="4370">
                        <c:v>22.63</c:v>
                      </c:pt>
                      <c:pt idx="4371">
                        <c:v>20.27</c:v>
                      </c:pt>
                      <c:pt idx="4372">
                        <c:v>20.59</c:v>
                      </c:pt>
                      <c:pt idx="4373">
                        <c:v>21.3</c:v>
                      </c:pt>
                      <c:pt idx="4374">
                        <c:v>23.07</c:v>
                      </c:pt>
                      <c:pt idx="4375">
                        <c:v>24.76</c:v>
                      </c:pt>
                      <c:pt idx="4376">
                        <c:v>25.56</c:v>
                      </c:pt>
                      <c:pt idx="4377">
                        <c:v>20.71</c:v>
                      </c:pt>
                      <c:pt idx="4378">
                        <c:v>23.32</c:v>
                      </c:pt>
                      <c:pt idx="4379">
                        <c:v>21.36</c:v>
                      </c:pt>
                      <c:pt idx="4380">
                        <c:v>19.079999999999998</c:v>
                      </c:pt>
                      <c:pt idx="4381">
                        <c:v>10.47</c:v>
                      </c:pt>
                      <c:pt idx="4382">
                        <c:v>9.9600000000000009</c:v>
                      </c:pt>
                      <c:pt idx="4383">
                        <c:v>17.309999999999999</c:v>
                      </c:pt>
                      <c:pt idx="4384">
                        <c:v>19.72</c:v>
                      </c:pt>
                      <c:pt idx="4385">
                        <c:v>28.63</c:v>
                      </c:pt>
                      <c:pt idx="4386">
                        <c:v>32.9</c:v>
                      </c:pt>
                      <c:pt idx="4387">
                        <c:v>35.369999999999997</c:v>
                      </c:pt>
                      <c:pt idx="4388">
                        <c:v>37</c:v>
                      </c:pt>
                      <c:pt idx="4389">
                        <c:v>38.92</c:v>
                      </c:pt>
                      <c:pt idx="4390">
                        <c:v>37.06</c:v>
                      </c:pt>
                      <c:pt idx="4391">
                        <c:v>26.04</c:v>
                      </c:pt>
                      <c:pt idx="4392">
                        <c:v>23.51</c:v>
                      </c:pt>
                      <c:pt idx="4393">
                        <c:v>22.86</c:v>
                      </c:pt>
                      <c:pt idx="4394">
                        <c:v>22.56</c:v>
                      </c:pt>
                      <c:pt idx="4395">
                        <c:v>24.86</c:v>
                      </c:pt>
                      <c:pt idx="4396">
                        <c:v>26.78</c:v>
                      </c:pt>
                      <c:pt idx="4397">
                        <c:v>34.93</c:v>
                      </c:pt>
                      <c:pt idx="4398">
                        <c:v>41.25</c:v>
                      </c:pt>
                      <c:pt idx="4399">
                        <c:v>41.61</c:v>
                      </c:pt>
                      <c:pt idx="4400">
                        <c:v>38.94</c:v>
                      </c:pt>
                      <c:pt idx="4401">
                        <c:v>35.35</c:v>
                      </c:pt>
                      <c:pt idx="4402">
                        <c:v>32.92</c:v>
                      </c:pt>
                      <c:pt idx="4403">
                        <c:v>28.68</c:v>
                      </c:pt>
                      <c:pt idx="4404">
                        <c:v>28.17</c:v>
                      </c:pt>
                      <c:pt idx="4405">
                        <c:v>26.91</c:v>
                      </c:pt>
                      <c:pt idx="4406">
                        <c:v>28.02</c:v>
                      </c:pt>
                      <c:pt idx="4407">
                        <c:v>28.59</c:v>
                      </c:pt>
                      <c:pt idx="4408">
                        <c:v>32.18</c:v>
                      </c:pt>
                      <c:pt idx="4409">
                        <c:v>38.94</c:v>
                      </c:pt>
                      <c:pt idx="4410">
                        <c:v>42.78</c:v>
                      </c:pt>
                      <c:pt idx="4411">
                        <c:v>40.909999999999997</c:v>
                      </c:pt>
                      <c:pt idx="4412">
                        <c:v>39.369999999999997</c:v>
                      </c:pt>
                      <c:pt idx="4413">
                        <c:v>39.909999999999997</c:v>
                      </c:pt>
                      <c:pt idx="4414">
                        <c:v>32.04</c:v>
                      </c:pt>
                      <c:pt idx="4415">
                        <c:v>28.83</c:v>
                      </c:pt>
                      <c:pt idx="4416">
                        <c:v>28.63</c:v>
                      </c:pt>
                      <c:pt idx="4417">
                        <c:v>28.49</c:v>
                      </c:pt>
                      <c:pt idx="4418">
                        <c:v>28.43</c:v>
                      </c:pt>
                      <c:pt idx="4419">
                        <c:v>27.99</c:v>
                      </c:pt>
                      <c:pt idx="4420">
                        <c:v>28.44</c:v>
                      </c:pt>
                      <c:pt idx="4421">
                        <c:v>35.81</c:v>
                      </c:pt>
                      <c:pt idx="4422">
                        <c:v>41.63</c:v>
                      </c:pt>
                      <c:pt idx="4423">
                        <c:v>41.79</c:v>
                      </c:pt>
                      <c:pt idx="4424">
                        <c:v>36</c:v>
                      </c:pt>
                      <c:pt idx="4425">
                        <c:v>34.74</c:v>
                      </c:pt>
                      <c:pt idx="4426">
                        <c:v>32.97</c:v>
                      </c:pt>
                      <c:pt idx="4427">
                        <c:v>31.93</c:v>
                      </c:pt>
                      <c:pt idx="4428">
                        <c:v>31.93</c:v>
                      </c:pt>
                      <c:pt idx="4429">
                        <c:v>30.55</c:v>
                      </c:pt>
                      <c:pt idx="4430">
                        <c:v>32.6</c:v>
                      </c:pt>
                      <c:pt idx="4431">
                        <c:v>32.93</c:v>
                      </c:pt>
                      <c:pt idx="4432">
                        <c:v>36.950000000000003</c:v>
                      </c:pt>
                      <c:pt idx="4433">
                        <c:v>40</c:v>
                      </c:pt>
                      <c:pt idx="4434">
                        <c:v>44.04</c:v>
                      </c:pt>
                      <c:pt idx="4435">
                        <c:v>43.1</c:v>
                      </c:pt>
                      <c:pt idx="4436">
                        <c:v>41.68</c:v>
                      </c:pt>
                      <c:pt idx="4437">
                        <c:v>40.54</c:v>
                      </c:pt>
                      <c:pt idx="4438">
                        <c:v>37.29</c:v>
                      </c:pt>
                      <c:pt idx="4439">
                        <c:v>34.99</c:v>
                      </c:pt>
                      <c:pt idx="4440">
                        <c:v>32.51</c:v>
                      </c:pt>
                      <c:pt idx="4441">
                        <c:v>31.02</c:v>
                      </c:pt>
                      <c:pt idx="4442">
                        <c:v>29.07</c:v>
                      </c:pt>
                      <c:pt idx="4443">
                        <c:v>29.54</c:v>
                      </c:pt>
                      <c:pt idx="4444">
                        <c:v>31.89</c:v>
                      </c:pt>
                      <c:pt idx="4445">
                        <c:v>38.020000000000003</c:v>
                      </c:pt>
                      <c:pt idx="4446">
                        <c:v>43.92</c:v>
                      </c:pt>
                      <c:pt idx="4447">
                        <c:v>46.01</c:v>
                      </c:pt>
                      <c:pt idx="4448">
                        <c:v>44.18</c:v>
                      </c:pt>
                      <c:pt idx="4449">
                        <c:v>43.71</c:v>
                      </c:pt>
                      <c:pt idx="4450">
                        <c:v>42.06</c:v>
                      </c:pt>
                      <c:pt idx="4451">
                        <c:v>38.93</c:v>
                      </c:pt>
                      <c:pt idx="4452">
                        <c:v>38.090000000000003</c:v>
                      </c:pt>
                      <c:pt idx="4453">
                        <c:v>37.44</c:v>
                      </c:pt>
                      <c:pt idx="4454">
                        <c:v>37.380000000000003</c:v>
                      </c:pt>
                      <c:pt idx="4455">
                        <c:v>38.9</c:v>
                      </c:pt>
                      <c:pt idx="4456">
                        <c:v>41.51</c:v>
                      </c:pt>
                      <c:pt idx="4457">
                        <c:v>42.52</c:v>
                      </c:pt>
                      <c:pt idx="4458">
                        <c:v>44.55</c:v>
                      </c:pt>
                      <c:pt idx="4459">
                        <c:v>44.15</c:v>
                      </c:pt>
                      <c:pt idx="4460">
                        <c:v>43.93</c:v>
                      </c:pt>
                      <c:pt idx="4461">
                        <c:v>41.66</c:v>
                      </c:pt>
                      <c:pt idx="4462">
                        <c:v>36.07</c:v>
                      </c:pt>
                      <c:pt idx="4463">
                        <c:v>33.03</c:v>
                      </c:pt>
                      <c:pt idx="4464">
                        <c:v>32.21</c:v>
                      </c:pt>
                      <c:pt idx="4465">
                        <c:v>30.62</c:v>
                      </c:pt>
                      <c:pt idx="4466">
                        <c:v>30.11</c:v>
                      </c:pt>
                      <c:pt idx="4467">
                        <c:v>29.19</c:v>
                      </c:pt>
                      <c:pt idx="4468">
                        <c:v>32.06</c:v>
                      </c:pt>
                      <c:pt idx="4469">
                        <c:v>36.94</c:v>
                      </c:pt>
                      <c:pt idx="4470">
                        <c:v>42.29</c:v>
                      </c:pt>
                      <c:pt idx="4471">
                        <c:v>48.24</c:v>
                      </c:pt>
                      <c:pt idx="4472">
                        <c:v>43.08</c:v>
                      </c:pt>
                      <c:pt idx="4473">
                        <c:v>41.86</c:v>
                      </c:pt>
                      <c:pt idx="4474">
                        <c:v>40.03</c:v>
                      </c:pt>
                      <c:pt idx="4475">
                        <c:v>35.71</c:v>
                      </c:pt>
                      <c:pt idx="4476">
                        <c:v>35.75</c:v>
                      </c:pt>
                      <c:pt idx="4477">
                        <c:v>35.54</c:v>
                      </c:pt>
                      <c:pt idx="4478">
                        <c:v>39.520000000000003</c:v>
                      </c:pt>
                      <c:pt idx="4479">
                        <c:v>40.6</c:v>
                      </c:pt>
                      <c:pt idx="4480">
                        <c:v>44.31</c:v>
                      </c:pt>
                      <c:pt idx="4481">
                        <c:v>45.87</c:v>
                      </c:pt>
                      <c:pt idx="4482">
                        <c:v>53.71</c:v>
                      </c:pt>
                      <c:pt idx="4483">
                        <c:v>49.56</c:v>
                      </c:pt>
                      <c:pt idx="4484">
                        <c:v>46.03</c:v>
                      </c:pt>
                      <c:pt idx="4485">
                        <c:v>42.71</c:v>
                      </c:pt>
                      <c:pt idx="4486">
                        <c:v>35.61</c:v>
                      </c:pt>
                      <c:pt idx="4487">
                        <c:v>34.159999999999997</c:v>
                      </c:pt>
                      <c:pt idx="4488">
                        <c:v>32.07</c:v>
                      </c:pt>
                      <c:pt idx="4489">
                        <c:v>30.8</c:v>
                      </c:pt>
                      <c:pt idx="4490">
                        <c:v>30.69</c:v>
                      </c:pt>
                      <c:pt idx="4491">
                        <c:v>29.64</c:v>
                      </c:pt>
                      <c:pt idx="4492">
                        <c:v>30.84</c:v>
                      </c:pt>
                      <c:pt idx="4493">
                        <c:v>35.869999999999997</c:v>
                      </c:pt>
                      <c:pt idx="4494">
                        <c:v>41.88</c:v>
                      </c:pt>
                      <c:pt idx="4495">
                        <c:v>45.54</c:v>
                      </c:pt>
                      <c:pt idx="4496">
                        <c:v>45.58</c:v>
                      </c:pt>
                      <c:pt idx="4497">
                        <c:v>44.61</c:v>
                      </c:pt>
                      <c:pt idx="4498">
                        <c:v>43.31</c:v>
                      </c:pt>
                      <c:pt idx="4499">
                        <c:v>39.65</c:v>
                      </c:pt>
                      <c:pt idx="4500">
                        <c:v>34.43</c:v>
                      </c:pt>
                      <c:pt idx="4501">
                        <c:v>32.049999999999997</c:v>
                      </c:pt>
                      <c:pt idx="4502">
                        <c:v>31.84</c:v>
                      </c:pt>
                      <c:pt idx="4503">
                        <c:v>32.4</c:v>
                      </c:pt>
                      <c:pt idx="4504">
                        <c:v>37.869999999999997</c:v>
                      </c:pt>
                      <c:pt idx="4505">
                        <c:v>40.58</c:v>
                      </c:pt>
                      <c:pt idx="4506">
                        <c:v>42.74</c:v>
                      </c:pt>
                      <c:pt idx="4507">
                        <c:v>41.8</c:v>
                      </c:pt>
                      <c:pt idx="4508">
                        <c:v>40.46</c:v>
                      </c:pt>
                      <c:pt idx="4509">
                        <c:v>40.99</c:v>
                      </c:pt>
                      <c:pt idx="4510">
                        <c:v>35.909999999999997</c:v>
                      </c:pt>
                      <c:pt idx="4511">
                        <c:v>37.08</c:v>
                      </c:pt>
                      <c:pt idx="4512">
                        <c:v>34.64</c:v>
                      </c:pt>
                      <c:pt idx="4513">
                        <c:v>32.049999999999997</c:v>
                      </c:pt>
                      <c:pt idx="4514">
                        <c:v>30.68</c:v>
                      </c:pt>
                      <c:pt idx="4515">
                        <c:v>29.87</c:v>
                      </c:pt>
                      <c:pt idx="4516">
                        <c:v>29.09</c:v>
                      </c:pt>
                      <c:pt idx="4517">
                        <c:v>30</c:v>
                      </c:pt>
                      <c:pt idx="4518">
                        <c:v>32.020000000000003</c:v>
                      </c:pt>
                      <c:pt idx="4519">
                        <c:v>34.58</c:v>
                      </c:pt>
                      <c:pt idx="4520">
                        <c:v>36.71</c:v>
                      </c:pt>
                      <c:pt idx="4521">
                        <c:v>35.89</c:v>
                      </c:pt>
                      <c:pt idx="4522">
                        <c:v>35.369999999999997</c:v>
                      </c:pt>
                      <c:pt idx="4523">
                        <c:v>33.22</c:v>
                      </c:pt>
                      <c:pt idx="4524">
                        <c:v>31.41</c:v>
                      </c:pt>
                      <c:pt idx="4525">
                        <c:v>30.18</c:v>
                      </c:pt>
                      <c:pt idx="4526">
                        <c:v>30.05</c:v>
                      </c:pt>
                      <c:pt idx="4527">
                        <c:v>31.4</c:v>
                      </c:pt>
                      <c:pt idx="4528">
                        <c:v>33.18</c:v>
                      </c:pt>
                      <c:pt idx="4529">
                        <c:v>36.979999999999997</c:v>
                      </c:pt>
                      <c:pt idx="4530">
                        <c:v>40.04</c:v>
                      </c:pt>
                      <c:pt idx="4531">
                        <c:v>39.630000000000003</c:v>
                      </c:pt>
                      <c:pt idx="4532">
                        <c:v>39.82</c:v>
                      </c:pt>
                      <c:pt idx="4533">
                        <c:v>42.09</c:v>
                      </c:pt>
                      <c:pt idx="4534">
                        <c:v>39.67</c:v>
                      </c:pt>
                      <c:pt idx="4535">
                        <c:v>32.21</c:v>
                      </c:pt>
                      <c:pt idx="4536">
                        <c:v>31.08</c:v>
                      </c:pt>
                      <c:pt idx="4537">
                        <c:v>29.84</c:v>
                      </c:pt>
                      <c:pt idx="4538">
                        <c:v>29.2</c:v>
                      </c:pt>
                      <c:pt idx="4539">
                        <c:v>29.62</c:v>
                      </c:pt>
                      <c:pt idx="4540">
                        <c:v>29.46</c:v>
                      </c:pt>
                      <c:pt idx="4541">
                        <c:v>29.49</c:v>
                      </c:pt>
                      <c:pt idx="4542">
                        <c:v>29.83</c:v>
                      </c:pt>
                      <c:pt idx="4543">
                        <c:v>30.03</c:v>
                      </c:pt>
                      <c:pt idx="4544">
                        <c:v>31.26</c:v>
                      </c:pt>
                      <c:pt idx="4545">
                        <c:v>31.26</c:v>
                      </c:pt>
                      <c:pt idx="4546">
                        <c:v>32.4</c:v>
                      </c:pt>
                      <c:pt idx="4547">
                        <c:v>32.07</c:v>
                      </c:pt>
                      <c:pt idx="4548">
                        <c:v>31</c:v>
                      </c:pt>
                      <c:pt idx="4549">
                        <c:v>29.88</c:v>
                      </c:pt>
                      <c:pt idx="4550">
                        <c:v>30.69</c:v>
                      </c:pt>
                      <c:pt idx="4551">
                        <c:v>31.28</c:v>
                      </c:pt>
                      <c:pt idx="4552">
                        <c:v>33.799999999999997</c:v>
                      </c:pt>
                      <c:pt idx="4553">
                        <c:v>36.75</c:v>
                      </c:pt>
                      <c:pt idx="4554">
                        <c:v>40.53</c:v>
                      </c:pt>
                      <c:pt idx="4555">
                        <c:v>40.53</c:v>
                      </c:pt>
                      <c:pt idx="4556">
                        <c:v>40.590000000000003</c:v>
                      </c:pt>
                      <c:pt idx="4557">
                        <c:v>42.28</c:v>
                      </c:pt>
                      <c:pt idx="4558">
                        <c:v>40.08</c:v>
                      </c:pt>
                      <c:pt idx="4559">
                        <c:v>32.76</c:v>
                      </c:pt>
                      <c:pt idx="4560">
                        <c:v>29.92</c:v>
                      </c:pt>
                      <c:pt idx="4561">
                        <c:v>29.44</c:v>
                      </c:pt>
                      <c:pt idx="4562">
                        <c:v>29.59</c:v>
                      </c:pt>
                      <c:pt idx="4563">
                        <c:v>29.31</c:v>
                      </c:pt>
                      <c:pt idx="4564">
                        <c:v>30.6</c:v>
                      </c:pt>
                      <c:pt idx="4565">
                        <c:v>38.03</c:v>
                      </c:pt>
                      <c:pt idx="4566">
                        <c:v>44.03</c:v>
                      </c:pt>
                      <c:pt idx="4567">
                        <c:v>50.07</c:v>
                      </c:pt>
                      <c:pt idx="4568">
                        <c:v>50</c:v>
                      </c:pt>
                      <c:pt idx="4569">
                        <c:v>48.73</c:v>
                      </c:pt>
                      <c:pt idx="4570">
                        <c:v>48.72</c:v>
                      </c:pt>
                      <c:pt idx="4571">
                        <c:v>47.69</c:v>
                      </c:pt>
                      <c:pt idx="4572">
                        <c:v>46.65</c:v>
                      </c:pt>
                      <c:pt idx="4573">
                        <c:v>44.18</c:v>
                      </c:pt>
                      <c:pt idx="4574">
                        <c:v>42.93</c:v>
                      </c:pt>
                      <c:pt idx="4575">
                        <c:v>40.65</c:v>
                      </c:pt>
                      <c:pt idx="4576">
                        <c:v>40.950000000000003</c:v>
                      </c:pt>
                      <c:pt idx="4577">
                        <c:v>41.62</c:v>
                      </c:pt>
                      <c:pt idx="4578">
                        <c:v>42.97</c:v>
                      </c:pt>
                      <c:pt idx="4579">
                        <c:v>40.21</c:v>
                      </c:pt>
                      <c:pt idx="4580">
                        <c:v>38.86</c:v>
                      </c:pt>
                      <c:pt idx="4581">
                        <c:v>39.92</c:v>
                      </c:pt>
                      <c:pt idx="4582">
                        <c:v>33.450000000000003</c:v>
                      </c:pt>
                      <c:pt idx="4583">
                        <c:v>30.93</c:v>
                      </c:pt>
                      <c:pt idx="4584">
                        <c:v>30.28</c:v>
                      </c:pt>
                      <c:pt idx="4585">
                        <c:v>29.63</c:v>
                      </c:pt>
                      <c:pt idx="4586">
                        <c:v>28.96</c:v>
                      </c:pt>
                      <c:pt idx="4587">
                        <c:v>28.95</c:v>
                      </c:pt>
                      <c:pt idx="4588">
                        <c:v>30.08</c:v>
                      </c:pt>
                      <c:pt idx="4589">
                        <c:v>34.51</c:v>
                      </c:pt>
                      <c:pt idx="4590">
                        <c:v>41.44</c:v>
                      </c:pt>
                      <c:pt idx="4591">
                        <c:v>44.22</c:v>
                      </c:pt>
                      <c:pt idx="4592">
                        <c:v>43.43</c:v>
                      </c:pt>
                      <c:pt idx="4593">
                        <c:v>42.03</c:v>
                      </c:pt>
                      <c:pt idx="4594">
                        <c:v>41.45</c:v>
                      </c:pt>
                      <c:pt idx="4595">
                        <c:v>39.42</c:v>
                      </c:pt>
                      <c:pt idx="4596">
                        <c:v>36.01</c:v>
                      </c:pt>
                      <c:pt idx="4597">
                        <c:v>34.21</c:v>
                      </c:pt>
                      <c:pt idx="4598">
                        <c:v>34.42</c:v>
                      </c:pt>
                      <c:pt idx="4599">
                        <c:v>35.39</c:v>
                      </c:pt>
                      <c:pt idx="4600">
                        <c:v>37.619999999999997</c:v>
                      </c:pt>
                      <c:pt idx="4601">
                        <c:v>39.99</c:v>
                      </c:pt>
                      <c:pt idx="4602">
                        <c:v>41.58</c:v>
                      </c:pt>
                      <c:pt idx="4603">
                        <c:v>40.700000000000003</c:v>
                      </c:pt>
                      <c:pt idx="4604">
                        <c:v>38.94</c:v>
                      </c:pt>
                      <c:pt idx="4605">
                        <c:v>39.36</c:v>
                      </c:pt>
                      <c:pt idx="4606">
                        <c:v>34.25</c:v>
                      </c:pt>
                      <c:pt idx="4607">
                        <c:v>32.29</c:v>
                      </c:pt>
                      <c:pt idx="4608">
                        <c:v>30.14</c:v>
                      </c:pt>
                      <c:pt idx="4609">
                        <c:v>29.1</c:v>
                      </c:pt>
                      <c:pt idx="4610">
                        <c:v>28.52</c:v>
                      </c:pt>
                      <c:pt idx="4611">
                        <c:v>28.43</c:v>
                      </c:pt>
                      <c:pt idx="4612">
                        <c:v>29.3</c:v>
                      </c:pt>
                      <c:pt idx="4613">
                        <c:v>34.770000000000003</c:v>
                      </c:pt>
                      <c:pt idx="4614">
                        <c:v>39.94</c:v>
                      </c:pt>
                      <c:pt idx="4615">
                        <c:v>44.01</c:v>
                      </c:pt>
                      <c:pt idx="4616">
                        <c:v>44.31</c:v>
                      </c:pt>
                      <c:pt idx="4617">
                        <c:v>44.16</c:v>
                      </c:pt>
                      <c:pt idx="4618">
                        <c:v>43.9</c:v>
                      </c:pt>
                      <c:pt idx="4619">
                        <c:v>41.07</c:v>
                      </c:pt>
                      <c:pt idx="4620">
                        <c:v>39.9</c:v>
                      </c:pt>
                      <c:pt idx="4621">
                        <c:v>37.270000000000003</c:v>
                      </c:pt>
                      <c:pt idx="4622">
                        <c:v>33.93</c:v>
                      </c:pt>
                      <c:pt idx="4623">
                        <c:v>32.19</c:v>
                      </c:pt>
                      <c:pt idx="4624">
                        <c:v>33.29</c:v>
                      </c:pt>
                      <c:pt idx="4625">
                        <c:v>32.950000000000003</c:v>
                      </c:pt>
                      <c:pt idx="4626">
                        <c:v>32.909999999999997</c:v>
                      </c:pt>
                      <c:pt idx="4627">
                        <c:v>30.5</c:v>
                      </c:pt>
                      <c:pt idx="4628">
                        <c:v>30.6</c:v>
                      </c:pt>
                      <c:pt idx="4629">
                        <c:v>30.09</c:v>
                      </c:pt>
                      <c:pt idx="4630">
                        <c:v>27.82</c:v>
                      </c:pt>
                      <c:pt idx="4631">
                        <c:v>26.02</c:v>
                      </c:pt>
                      <c:pt idx="4632">
                        <c:v>24.37</c:v>
                      </c:pt>
                      <c:pt idx="4633">
                        <c:v>23.04</c:v>
                      </c:pt>
                      <c:pt idx="4634">
                        <c:v>24.76</c:v>
                      </c:pt>
                      <c:pt idx="4635">
                        <c:v>26.45</c:v>
                      </c:pt>
                      <c:pt idx="4636">
                        <c:v>28.09</c:v>
                      </c:pt>
                      <c:pt idx="4637">
                        <c:v>31.06</c:v>
                      </c:pt>
                      <c:pt idx="4638">
                        <c:v>38.119999999999997</c:v>
                      </c:pt>
                      <c:pt idx="4639">
                        <c:v>36.729999999999997</c:v>
                      </c:pt>
                      <c:pt idx="4640">
                        <c:v>36.07</c:v>
                      </c:pt>
                      <c:pt idx="4641">
                        <c:v>35.520000000000003</c:v>
                      </c:pt>
                      <c:pt idx="4642">
                        <c:v>34.96</c:v>
                      </c:pt>
                      <c:pt idx="4643">
                        <c:v>30.26</c:v>
                      </c:pt>
                      <c:pt idx="4644">
                        <c:v>30.04</c:v>
                      </c:pt>
                      <c:pt idx="4645">
                        <c:v>29.07</c:v>
                      </c:pt>
                      <c:pt idx="4646">
                        <c:v>30.27</c:v>
                      </c:pt>
                      <c:pt idx="4647">
                        <c:v>33.46</c:v>
                      </c:pt>
                      <c:pt idx="4648">
                        <c:v>38.08</c:v>
                      </c:pt>
                      <c:pt idx="4649">
                        <c:v>41.35</c:v>
                      </c:pt>
                      <c:pt idx="4650">
                        <c:v>46.82</c:v>
                      </c:pt>
                      <c:pt idx="4651">
                        <c:v>45.09</c:v>
                      </c:pt>
                      <c:pt idx="4652">
                        <c:v>42.93</c:v>
                      </c:pt>
                      <c:pt idx="4653">
                        <c:v>42.13</c:v>
                      </c:pt>
                      <c:pt idx="4654">
                        <c:v>38.119999999999997</c:v>
                      </c:pt>
                      <c:pt idx="4655">
                        <c:v>34.4</c:v>
                      </c:pt>
                      <c:pt idx="4656">
                        <c:v>32.340000000000003</c:v>
                      </c:pt>
                      <c:pt idx="4657">
                        <c:v>30.36</c:v>
                      </c:pt>
                      <c:pt idx="4658">
                        <c:v>29.08</c:v>
                      </c:pt>
                      <c:pt idx="4659">
                        <c:v>29.55</c:v>
                      </c:pt>
                      <c:pt idx="4660">
                        <c:v>30.41</c:v>
                      </c:pt>
                      <c:pt idx="4661">
                        <c:v>39.94</c:v>
                      </c:pt>
                      <c:pt idx="4662">
                        <c:v>44.99</c:v>
                      </c:pt>
                      <c:pt idx="4663">
                        <c:v>46</c:v>
                      </c:pt>
                      <c:pt idx="4664">
                        <c:v>43.32</c:v>
                      </c:pt>
                      <c:pt idx="4665">
                        <c:v>41.62</c:v>
                      </c:pt>
                      <c:pt idx="4666">
                        <c:v>38.94</c:v>
                      </c:pt>
                      <c:pt idx="4667">
                        <c:v>37.1</c:v>
                      </c:pt>
                      <c:pt idx="4668">
                        <c:v>35.97</c:v>
                      </c:pt>
                      <c:pt idx="4669">
                        <c:v>31.91</c:v>
                      </c:pt>
                      <c:pt idx="4670">
                        <c:v>30.34</c:v>
                      </c:pt>
                      <c:pt idx="4671">
                        <c:v>31.29</c:v>
                      </c:pt>
                      <c:pt idx="4672">
                        <c:v>36.92</c:v>
                      </c:pt>
                      <c:pt idx="4673">
                        <c:v>40.93</c:v>
                      </c:pt>
                      <c:pt idx="4674">
                        <c:v>42.96</c:v>
                      </c:pt>
                      <c:pt idx="4675">
                        <c:v>39.69</c:v>
                      </c:pt>
                      <c:pt idx="4676">
                        <c:v>39.1</c:v>
                      </c:pt>
                      <c:pt idx="4677">
                        <c:v>39.71</c:v>
                      </c:pt>
                      <c:pt idx="4678">
                        <c:v>36.65</c:v>
                      </c:pt>
                      <c:pt idx="4679">
                        <c:v>34.57</c:v>
                      </c:pt>
                      <c:pt idx="4680">
                        <c:v>31.08</c:v>
                      </c:pt>
                      <c:pt idx="4681">
                        <c:v>30.82</c:v>
                      </c:pt>
                      <c:pt idx="4682">
                        <c:v>30.01</c:v>
                      </c:pt>
                      <c:pt idx="4683">
                        <c:v>29.4</c:v>
                      </c:pt>
                      <c:pt idx="4684">
                        <c:v>29.17</c:v>
                      </c:pt>
                      <c:pt idx="4685">
                        <c:v>30.46</c:v>
                      </c:pt>
                      <c:pt idx="4686">
                        <c:v>30.82</c:v>
                      </c:pt>
                      <c:pt idx="4687">
                        <c:v>31.94</c:v>
                      </c:pt>
                      <c:pt idx="4688">
                        <c:v>33.81</c:v>
                      </c:pt>
                      <c:pt idx="4689">
                        <c:v>33.43</c:v>
                      </c:pt>
                      <c:pt idx="4690">
                        <c:v>33.06</c:v>
                      </c:pt>
                      <c:pt idx="4691">
                        <c:v>32.22</c:v>
                      </c:pt>
                      <c:pt idx="4692">
                        <c:v>30.76</c:v>
                      </c:pt>
                      <c:pt idx="4693">
                        <c:v>29.07</c:v>
                      </c:pt>
                      <c:pt idx="4694">
                        <c:v>28.64</c:v>
                      </c:pt>
                      <c:pt idx="4695">
                        <c:v>29.04</c:v>
                      </c:pt>
                      <c:pt idx="4696">
                        <c:v>30.98</c:v>
                      </c:pt>
                      <c:pt idx="4697">
                        <c:v>35.21</c:v>
                      </c:pt>
                      <c:pt idx="4698">
                        <c:v>37.54</c:v>
                      </c:pt>
                      <c:pt idx="4699">
                        <c:v>37</c:v>
                      </c:pt>
                      <c:pt idx="4700">
                        <c:v>36.9</c:v>
                      </c:pt>
                      <c:pt idx="4701">
                        <c:v>37.979999999999997</c:v>
                      </c:pt>
                      <c:pt idx="4702">
                        <c:v>36.01</c:v>
                      </c:pt>
                      <c:pt idx="4703">
                        <c:v>34.65</c:v>
                      </c:pt>
                      <c:pt idx="4704">
                        <c:v>30.05</c:v>
                      </c:pt>
                      <c:pt idx="4705">
                        <c:v>28.68</c:v>
                      </c:pt>
                      <c:pt idx="4706">
                        <c:v>27.78</c:v>
                      </c:pt>
                      <c:pt idx="4707">
                        <c:v>27.72</c:v>
                      </c:pt>
                      <c:pt idx="4708">
                        <c:v>27.4</c:v>
                      </c:pt>
                      <c:pt idx="4709">
                        <c:v>27.53</c:v>
                      </c:pt>
                      <c:pt idx="4710">
                        <c:v>27.6</c:v>
                      </c:pt>
                      <c:pt idx="4711">
                        <c:v>27.4</c:v>
                      </c:pt>
                      <c:pt idx="4712">
                        <c:v>28.49</c:v>
                      </c:pt>
                      <c:pt idx="4713">
                        <c:v>28.99</c:v>
                      </c:pt>
                      <c:pt idx="4714">
                        <c:v>28.99</c:v>
                      </c:pt>
                      <c:pt idx="4715">
                        <c:v>29.76</c:v>
                      </c:pt>
                      <c:pt idx="4716">
                        <c:v>26.95</c:v>
                      </c:pt>
                      <c:pt idx="4717">
                        <c:v>25.99</c:v>
                      </c:pt>
                      <c:pt idx="4718">
                        <c:v>25.22</c:v>
                      </c:pt>
                      <c:pt idx="4719">
                        <c:v>27.55</c:v>
                      </c:pt>
                      <c:pt idx="4720">
                        <c:v>28.57</c:v>
                      </c:pt>
                      <c:pt idx="4721">
                        <c:v>31.79</c:v>
                      </c:pt>
                      <c:pt idx="4722">
                        <c:v>35.409999999999997</c:v>
                      </c:pt>
                      <c:pt idx="4723">
                        <c:v>36.65</c:v>
                      </c:pt>
                      <c:pt idx="4724">
                        <c:v>37.14</c:v>
                      </c:pt>
                      <c:pt idx="4725">
                        <c:v>41.02</c:v>
                      </c:pt>
                      <c:pt idx="4726">
                        <c:v>38.79</c:v>
                      </c:pt>
                      <c:pt idx="4727">
                        <c:v>31.47</c:v>
                      </c:pt>
                      <c:pt idx="4728">
                        <c:v>30.11</c:v>
                      </c:pt>
                      <c:pt idx="4729">
                        <c:v>29.32</c:v>
                      </c:pt>
                      <c:pt idx="4730">
                        <c:v>27.57</c:v>
                      </c:pt>
                      <c:pt idx="4731">
                        <c:v>27.92</c:v>
                      </c:pt>
                      <c:pt idx="4732">
                        <c:v>29.21</c:v>
                      </c:pt>
                      <c:pt idx="4733">
                        <c:v>36.89</c:v>
                      </c:pt>
                      <c:pt idx="4734">
                        <c:v>42.83</c:v>
                      </c:pt>
                      <c:pt idx="4735">
                        <c:v>42.97</c:v>
                      </c:pt>
                      <c:pt idx="4736">
                        <c:v>42.3</c:v>
                      </c:pt>
                      <c:pt idx="4737">
                        <c:v>42.4</c:v>
                      </c:pt>
                      <c:pt idx="4738">
                        <c:v>42.74</c:v>
                      </c:pt>
                      <c:pt idx="4739">
                        <c:v>40.85</c:v>
                      </c:pt>
                      <c:pt idx="4740">
                        <c:v>36.950000000000003</c:v>
                      </c:pt>
                      <c:pt idx="4741">
                        <c:v>35.979999999999997</c:v>
                      </c:pt>
                      <c:pt idx="4742">
                        <c:v>35.299999999999997</c:v>
                      </c:pt>
                      <c:pt idx="4743">
                        <c:v>35.94</c:v>
                      </c:pt>
                      <c:pt idx="4744">
                        <c:v>39.94</c:v>
                      </c:pt>
                      <c:pt idx="4745">
                        <c:v>42.05</c:v>
                      </c:pt>
                      <c:pt idx="4746">
                        <c:v>44.95</c:v>
                      </c:pt>
                      <c:pt idx="4747">
                        <c:v>43.79</c:v>
                      </c:pt>
                      <c:pt idx="4748">
                        <c:v>40.98</c:v>
                      </c:pt>
                      <c:pt idx="4749">
                        <c:v>40.950000000000003</c:v>
                      </c:pt>
                      <c:pt idx="4750">
                        <c:v>35.4</c:v>
                      </c:pt>
                      <c:pt idx="4751">
                        <c:v>33.69</c:v>
                      </c:pt>
                      <c:pt idx="4752">
                        <c:v>31.18</c:v>
                      </c:pt>
                      <c:pt idx="4753">
                        <c:v>29.85</c:v>
                      </c:pt>
                      <c:pt idx="4754">
                        <c:v>29.56</c:v>
                      </c:pt>
                      <c:pt idx="4755">
                        <c:v>30.28</c:v>
                      </c:pt>
                      <c:pt idx="4756">
                        <c:v>32.01</c:v>
                      </c:pt>
                      <c:pt idx="4757">
                        <c:v>37.72</c:v>
                      </c:pt>
                      <c:pt idx="4758">
                        <c:v>40.909999999999997</c:v>
                      </c:pt>
                      <c:pt idx="4759">
                        <c:v>42.88</c:v>
                      </c:pt>
                      <c:pt idx="4760">
                        <c:v>42.43</c:v>
                      </c:pt>
                      <c:pt idx="4761">
                        <c:v>41.75</c:v>
                      </c:pt>
                      <c:pt idx="4762">
                        <c:v>38.92</c:v>
                      </c:pt>
                      <c:pt idx="4763">
                        <c:v>34.17</c:v>
                      </c:pt>
                      <c:pt idx="4764">
                        <c:v>34.119999999999997</c:v>
                      </c:pt>
                      <c:pt idx="4765">
                        <c:v>33.69</c:v>
                      </c:pt>
                      <c:pt idx="4766">
                        <c:v>34.619999999999997</c:v>
                      </c:pt>
                      <c:pt idx="4767">
                        <c:v>38.57</c:v>
                      </c:pt>
                      <c:pt idx="4768">
                        <c:v>42.97</c:v>
                      </c:pt>
                      <c:pt idx="4769">
                        <c:v>45.79</c:v>
                      </c:pt>
                      <c:pt idx="4770">
                        <c:v>46.89</c:v>
                      </c:pt>
                      <c:pt idx="4771">
                        <c:v>43.97</c:v>
                      </c:pt>
                      <c:pt idx="4772">
                        <c:v>42.99</c:v>
                      </c:pt>
                      <c:pt idx="4773">
                        <c:v>40.83</c:v>
                      </c:pt>
                      <c:pt idx="4774">
                        <c:v>33.950000000000003</c:v>
                      </c:pt>
                      <c:pt idx="4775">
                        <c:v>30.93</c:v>
                      </c:pt>
                      <c:pt idx="4776">
                        <c:v>29.59</c:v>
                      </c:pt>
                      <c:pt idx="4777">
                        <c:v>28.62</c:v>
                      </c:pt>
                      <c:pt idx="4778">
                        <c:v>27.3</c:v>
                      </c:pt>
                      <c:pt idx="4779">
                        <c:v>27.63</c:v>
                      </c:pt>
                      <c:pt idx="4780">
                        <c:v>29.03</c:v>
                      </c:pt>
                      <c:pt idx="4781">
                        <c:v>37.96</c:v>
                      </c:pt>
                      <c:pt idx="4782">
                        <c:v>42.16</c:v>
                      </c:pt>
                      <c:pt idx="4783">
                        <c:v>42.91</c:v>
                      </c:pt>
                      <c:pt idx="4784">
                        <c:v>40.08</c:v>
                      </c:pt>
                      <c:pt idx="4785">
                        <c:v>37.93</c:v>
                      </c:pt>
                      <c:pt idx="4786">
                        <c:v>34.549999999999997</c:v>
                      </c:pt>
                      <c:pt idx="4787">
                        <c:v>31.7</c:v>
                      </c:pt>
                      <c:pt idx="4788">
                        <c:v>31.71</c:v>
                      </c:pt>
                      <c:pt idx="4789">
                        <c:v>32.9</c:v>
                      </c:pt>
                      <c:pt idx="4790">
                        <c:v>36.54</c:v>
                      </c:pt>
                      <c:pt idx="4791">
                        <c:v>38.03</c:v>
                      </c:pt>
                      <c:pt idx="4792">
                        <c:v>40.520000000000003</c:v>
                      </c:pt>
                      <c:pt idx="4793">
                        <c:v>42.97</c:v>
                      </c:pt>
                      <c:pt idx="4794">
                        <c:v>44</c:v>
                      </c:pt>
                      <c:pt idx="4795">
                        <c:v>42.16</c:v>
                      </c:pt>
                      <c:pt idx="4796">
                        <c:v>40.58</c:v>
                      </c:pt>
                      <c:pt idx="4797">
                        <c:v>39.090000000000003</c:v>
                      </c:pt>
                      <c:pt idx="4798">
                        <c:v>32.97</c:v>
                      </c:pt>
                      <c:pt idx="4799">
                        <c:v>30.54</c:v>
                      </c:pt>
                      <c:pt idx="4800">
                        <c:v>31.46</c:v>
                      </c:pt>
                      <c:pt idx="4801">
                        <c:v>29.6</c:v>
                      </c:pt>
                      <c:pt idx="4802">
                        <c:v>28.1</c:v>
                      </c:pt>
                      <c:pt idx="4803">
                        <c:v>28.52</c:v>
                      </c:pt>
                      <c:pt idx="4804">
                        <c:v>30.32</c:v>
                      </c:pt>
                      <c:pt idx="4805">
                        <c:v>38.270000000000003</c:v>
                      </c:pt>
                      <c:pt idx="4806">
                        <c:v>47.26</c:v>
                      </c:pt>
                      <c:pt idx="4807">
                        <c:v>43.26</c:v>
                      </c:pt>
                      <c:pt idx="4808">
                        <c:v>43.25</c:v>
                      </c:pt>
                      <c:pt idx="4809">
                        <c:v>41.73</c:v>
                      </c:pt>
                      <c:pt idx="4810">
                        <c:v>41.93</c:v>
                      </c:pt>
                      <c:pt idx="4811">
                        <c:v>40</c:v>
                      </c:pt>
                      <c:pt idx="4812">
                        <c:v>38.36</c:v>
                      </c:pt>
                      <c:pt idx="4813">
                        <c:v>36.9</c:v>
                      </c:pt>
                      <c:pt idx="4814">
                        <c:v>35.74</c:v>
                      </c:pt>
                      <c:pt idx="4815">
                        <c:v>34.479999999999997</c:v>
                      </c:pt>
                      <c:pt idx="4816">
                        <c:v>36.97</c:v>
                      </c:pt>
                      <c:pt idx="4817">
                        <c:v>39.770000000000003</c:v>
                      </c:pt>
                      <c:pt idx="4818">
                        <c:v>41.93</c:v>
                      </c:pt>
                      <c:pt idx="4819">
                        <c:v>41.05</c:v>
                      </c:pt>
                      <c:pt idx="4820">
                        <c:v>40.11</c:v>
                      </c:pt>
                      <c:pt idx="4821">
                        <c:v>39.74</c:v>
                      </c:pt>
                      <c:pt idx="4822">
                        <c:v>34.29</c:v>
                      </c:pt>
                      <c:pt idx="4823">
                        <c:v>29.65</c:v>
                      </c:pt>
                      <c:pt idx="4824">
                        <c:v>29.1</c:v>
                      </c:pt>
                      <c:pt idx="4825">
                        <c:v>28.42</c:v>
                      </c:pt>
                      <c:pt idx="4826">
                        <c:v>27.07</c:v>
                      </c:pt>
                      <c:pt idx="4827">
                        <c:v>27.32</c:v>
                      </c:pt>
                      <c:pt idx="4828">
                        <c:v>29.99</c:v>
                      </c:pt>
                      <c:pt idx="4829">
                        <c:v>36.799999999999997</c:v>
                      </c:pt>
                      <c:pt idx="4830">
                        <c:v>40.06</c:v>
                      </c:pt>
                      <c:pt idx="4831">
                        <c:v>41.83</c:v>
                      </c:pt>
                      <c:pt idx="4832">
                        <c:v>40.869999999999997</c:v>
                      </c:pt>
                      <c:pt idx="4833">
                        <c:v>38.44</c:v>
                      </c:pt>
                      <c:pt idx="4834">
                        <c:v>39.04</c:v>
                      </c:pt>
                      <c:pt idx="4835">
                        <c:v>35.979999999999997</c:v>
                      </c:pt>
                      <c:pt idx="4836">
                        <c:v>32.94</c:v>
                      </c:pt>
                      <c:pt idx="4837">
                        <c:v>32.869999999999997</c:v>
                      </c:pt>
                      <c:pt idx="4838">
                        <c:v>32.9</c:v>
                      </c:pt>
                      <c:pt idx="4839">
                        <c:v>35.11</c:v>
                      </c:pt>
                      <c:pt idx="4840">
                        <c:v>39.01</c:v>
                      </c:pt>
                      <c:pt idx="4841">
                        <c:v>41.42</c:v>
                      </c:pt>
                      <c:pt idx="4842">
                        <c:v>42.63</c:v>
                      </c:pt>
                      <c:pt idx="4843">
                        <c:v>42.01</c:v>
                      </c:pt>
                      <c:pt idx="4844">
                        <c:v>40.57</c:v>
                      </c:pt>
                      <c:pt idx="4845">
                        <c:v>41.38</c:v>
                      </c:pt>
                      <c:pt idx="4846">
                        <c:v>36.79</c:v>
                      </c:pt>
                      <c:pt idx="4847">
                        <c:v>32.200000000000003</c:v>
                      </c:pt>
                      <c:pt idx="4848">
                        <c:v>31.57</c:v>
                      </c:pt>
                      <c:pt idx="4849">
                        <c:v>29.92</c:v>
                      </c:pt>
                      <c:pt idx="4850">
                        <c:v>28.74</c:v>
                      </c:pt>
                      <c:pt idx="4851">
                        <c:v>28.75</c:v>
                      </c:pt>
                      <c:pt idx="4852">
                        <c:v>28.54</c:v>
                      </c:pt>
                      <c:pt idx="4853">
                        <c:v>29.7</c:v>
                      </c:pt>
                      <c:pt idx="4854">
                        <c:v>30.92</c:v>
                      </c:pt>
                      <c:pt idx="4855">
                        <c:v>34.96</c:v>
                      </c:pt>
                      <c:pt idx="4856">
                        <c:v>36.47</c:v>
                      </c:pt>
                      <c:pt idx="4857">
                        <c:v>35.69</c:v>
                      </c:pt>
                      <c:pt idx="4858">
                        <c:v>34.659999999999997</c:v>
                      </c:pt>
                      <c:pt idx="4859">
                        <c:v>32.25</c:v>
                      </c:pt>
                      <c:pt idx="4860">
                        <c:v>30.02</c:v>
                      </c:pt>
                      <c:pt idx="4861">
                        <c:v>29.48</c:v>
                      </c:pt>
                      <c:pt idx="4862">
                        <c:v>29.9</c:v>
                      </c:pt>
                      <c:pt idx="4863">
                        <c:v>30.55</c:v>
                      </c:pt>
                      <c:pt idx="4864">
                        <c:v>33.25</c:v>
                      </c:pt>
                      <c:pt idx="4865">
                        <c:v>38.520000000000003</c:v>
                      </c:pt>
                      <c:pt idx="4866">
                        <c:v>39.89</c:v>
                      </c:pt>
                      <c:pt idx="4867">
                        <c:v>39</c:v>
                      </c:pt>
                      <c:pt idx="4868">
                        <c:v>38.090000000000003</c:v>
                      </c:pt>
                      <c:pt idx="4869">
                        <c:v>40</c:v>
                      </c:pt>
                      <c:pt idx="4870">
                        <c:v>36.67</c:v>
                      </c:pt>
                      <c:pt idx="4871">
                        <c:v>32.99</c:v>
                      </c:pt>
                      <c:pt idx="4872">
                        <c:v>28.78</c:v>
                      </c:pt>
                      <c:pt idx="4873">
                        <c:v>26.69</c:v>
                      </c:pt>
                      <c:pt idx="4874">
                        <c:v>24.68</c:v>
                      </c:pt>
                      <c:pt idx="4875">
                        <c:v>23.07</c:v>
                      </c:pt>
                      <c:pt idx="4876">
                        <c:v>23.96</c:v>
                      </c:pt>
                      <c:pt idx="4877">
                        <c:v>23.9</c:v>
                      </c:pt>
                      <c:pt idx="4878">
                        <c:v>25.17</c:v>
                      </c:pt>
                      <c:pt idx="4879">
                        <c:v>25.78</c:v>
                      </c:pt>
                      <c:pt idx="4880">
                        <c:v>26.67</c:v>
                      </c:pt>
                      <c:pt idx="4881">
                        <c:v>26.87</c:v>
                      </c:pt>
                      <c:pt idx="4882">
                        <c:v>27.18</c:v>
                      </c:pt>
                      <c:pt idx="4883">
                        <c:v>27.89</c:v>
                      </c:pt>
                      <c:pt idx="4884">
                        <c:v>26.3</c:v>
                      </c:pt>
                      <c:pt idx="4885">
                        <c:v>22.76</c:v>
                      </c:pt>
                      <c:pt idx="4886">
                        <c:v>20.34</c:v>
                      </c:pt>
                      <c:pt idx="4887">
                        <c:v>23.07</c:v>
                      </c:pt>
                      <c:pt idx="4888">
                        <c:v>27.05</c:v>
                      </c:pt>
                      <c:pt idx="4889">
                        <c:v>29.62</c:v>
                      </c:pt>
                      <c:pt idx="4890">
                        <c:v>37.049999999999997</c:v>
                      </c:pt>
                      <c:pt idx="4891">
                        <c:v>38.51</c:v>
                      </c:pt>
                      <c:pt idx="4892">
                        <c:v>39.42</c:v>
                      </c:pt>
                      <c:pt idx="4893">
                        <c:v>42.85</c:v>
                      </c:pt>
                      <c:pt idx="4894">
                        <c:v>39.82</c:v>
                      </c:pt>
                      <c:pt idx="4895">
                        <c:v>39.65</c:v>
                      </c:pt>
                      <c:pt idx="4896">
                        <c:v>35.619999999999997</c:v>
                      </c:pt>
                      <c:pt idx="4897">
                        <c:v>32.700000000000003</c:v>
                      </c:pt>
                      <c:pt idx="4898">
                        <c:v>31.28</c:v>
                      </c:pt>
                      <c:pt idx="4899">
                        <c:v>30.46</c:v>
                      </c:pt>
                      <c:pt idx="4900">
                        <c:v>33.24</c:v>
                      </c:pt>
                      <c:pt idx="4901">
                        <c:v>41.9</c:v>
                      </c:pt>
                      <c:pt idx="4902">
                        <c:v>44.18</c:v>
                      </c:pt>
                      <c:pt idx="4903">
                        <c:v>44.12</c:v>
                      </c:pt>
                      <c:pt idx="4904">
                        <c:v>48.23</c:v>
                      </c:pt>
                      <c:pt idx="4905">
                        <c:v>48.45</c:v>
                      </c:pt>
                      <c:pt idx="4906">
                        <c:v>47.77</c:v>
                      </c:pt>
                      <c:pt idx="4907">
                        <c:v>46.47</c:v>
                      </c:pt>
                      <c:pt idx="4908">
                        <c:v>44.91</c:v>
                      </c:pt>
                      <c:pt idx="4909">
                        <c:v>42.29</c:v>
                      </c:pt>
                      <c:pt idx="4910">
                        <c:v>40.94</c:v>
                      </c:pt>
                      <c:pt idx="4911">
                        <c:v>39.200000000000003</c:v>
                      </c:pt>
                      <c:pt idx="4912">
                        <c:v>39.700000000000003</c:v>
                      </c:pt>
                      <c:pt idx="4913">
                        <c:v>38.18</c:v>
                      </c:pt>
                      <c:pt idx="4914">
                        <c:v>38.659999999999997</c:v>
                      </c:pt>
                      <c:pt idx="4915">
                        <c:v>36.43</c:v>
                      </c:pt>
                      <c:pt idx="4916">
                        <c:v>34.729999999999997</c:v>
                      </c:pt>
                      <c:pt idx="4917">
                        <c:v>34.590000000000003</c:v>
                      </c:pt>
                      <c:pt idx="4918">
                        <c:v>30.39</c:v>
                      </c:pt>
                      <c:pt idx="4919">
                        <c:v>31.01</c:v>
                      </c:pt>
                      <c:pt idx="4920">
                        <c:v>28.96</c:v>
                      </c:pt>
                      <c:pt idx="4921">
                        <c:v>27.09</c:v>
                      </c:pt>
                      <c:pt idx="4922">
                        <c:v>27.47</c:v>
                      </c:pt>
                      <c:pt idx="4923">
                        <c:v>26.04</c:v>
                      </c:pt>
                      <c:pt idx="4924">
                        <c:v>26.21</c:v>
                      </c:pt>
                      <c:pt idx="4925">
                        <c:v>31.63</c:v>
                      </c:pt>
                      <c:pt idx="4926">
                        <c:v>37.96</c:v>
                      </c:pt>
                      <c:pt idx="4927">
                        <c:v>39.479999999999997</c:v>
                      </c:pt>
                      <c:pt idx="4928">
                        <c:v>40.06</c:v>
                      </c:pt>
                      <c:pt idx="4929">
                        <c:v>40.369999999999997</c:v>
                      </c:pt>
                      <c:pt idx="4930">
                        <c:v>40.799999999999997</c:v>
                      </c:pt>
                      <c:pt idx="4931">
                        <c:v>39.75</c:v>
                      </c:pt>
                      <c:pt idx="4932">
                        <c:v>38.94</c:v>
                      </c:pt>
                      <c:pt idx="4933">
                        <c:v>36.979999999999997</c:v>
                      </c:pt>
                      <c:pt idx="4934">
                        <c:v>36.43</c:v>
                      </c:pt>
                      <c:pt idx="4935">
                        <c:v>34.97</c:v>
                      </c:pt>
                      <c:pt idx="4936">
                        <c:v>34.99</c:v>
                      </c:pt>
                      <c:pt idx="4937">
                        <c:v>36.950000000000003</c:v>
                      </c:pt>
                      <c:pt idx="4938">
                        <c:v>35.4</c:v>
                      </c:pt>
                      <c:pt idx="4939">
                        <c:v>33.78</c:v>
                      </c:pt>
                      <c:pt idx="4940">
                        <c:v>32.96</c:v>
                      </c:pt>
                      <c:pt idx="4941">
                        <c:v>32.21</c:v>
                      </c:pt>
                      <c:pt idx="4942">
                        <c:v>29.01</c:v>
                      </c:pt>
                      <c:pt idx="4943">
                        <c:v>25.74</c:v>
                      </c:pt>
                      <c:pt idx="4944">
                        <c:v>25.24</c:v>
                      </c:pt>
                      <c:pt idx="4945">
                        <c:v>22.64</c:v>
                      </c:pt>
                      <c:pt idx="4946">
                        <c:v>21.12</c:v>
                      </c:pt>
                      <c:pt idx="4947">
                        <c:v>21.23</c:v>
                      </c:pt>
                      <c:pt idx="4948">
                        <c:v>26.16</c:v>
                      </c:pt>
                      <c:pt idx="4949">
                        <c:v>29.08</c:v>
                      </c:pt>
                      <c:pt idx="4950">
                        <c:v>34.49</c:v>
                      </c:pt>
                      <c:pt idx="4951">
                        <c:v>37.78</c:v>
                      </c:pt>
                      <c:pt idx="4952">
                        <c:v>37.92</c:v>
                      </c:pt>
                      <c:pt idx="4953">
                        <c:v>37.96</c:v>
                      </c:pt>
                      <c:pt idx="4954">
                        <c:v>38.08</c:v>
                      </c:pt>
                      <c:pt idx="4955">
                        <c:v>37.96</c:v>
                      </c:pt>
                      <c:pt idx="4956">
                        <c:v>37.729999999999997</c:v>
                      </c:pt>
                      <c:pt idx="4957">
                        <c:v>36.08</c:v>
                      </c:pt>
                      <c:pt idx="4958">
                        <c:v>35.229999999999997</c:v>
                      </c:pt>
                      <c:pt idx="4959">
                        <c:v>34.380000000000003</c:v>
                      </c:pt>
                      <c:pt idx="4960">
                        <c:v>35.270000000000003</c:v>
                      </c:pt>
                      <c:pt idx="4961">
                        <c:v>36.39</c:v>
                      </c:pt>
                      <c:pt idx="4962">
                        <c:v>37.94</c:v>
                      </c:pt>
                      <c:pt idx="4963">
                        <c:v>36.93</c:v>
                      </c:pt>
                      <c:pt idx="4964">
                        <c:v>35.93</c:v>
                      </c:pt>
                      <c:pt idx="4965">
                        <c:v>35.75</c:v>
                      </c:pt>
                      <c:pt idx="4966">
                        <c:v>30.07</c:v>
                      </c:pt>
                      <c:pt idx="4967">
                        <c:v>28.75</c:v>
                      </c:pt>
                      <c:pt idx="4968">
                        <c:v>26.7</c:v>
                      </c:pt>
                      <c:pt idx="4969">
                        <c:v>24.85</c:v>
                      </c:pt>
                      <c:pt idx="4970">
                        <c:v>23.69</c:v>
                      </c:pt>
                      <c:pt idx="4971">
                        <c:v>24.48</c:v>
                      </c:pt>
                      <c:pt idx="4972">
                        <c:v>27.02</c:v>
                      </c:pt>
                      <c:pt idx="4973">
                        <c:v>29.19</c:v>
                      </c:pt>
                      <c:pt idx="4974">
                        <c:v>35.31</c:v>
                      </c:pt>
                      <c:pt idx="4975">
                        <c:v>37.909999999999997</c:v>
                      </c:pt>
                      <c:pt idx="4976">
                        <c:v>37.89</c:v>
                      </c:pt>
                      <c:pt idx="4977">
                        <c:v>38.049999999999997</c:v>
                      </c:pt>
                      <c:pt idx="4978">
                        <c:v>38.479999999999997</c:v>
                      </c:pt>
                      <c:pt idx="4979">
                        <c:v>38.5</c:v>
                      </c:pt>
                      <c:pt idx="4980">
                        <c:v>38.03</c:v>
                      </c:pt>
                      <c:pt idx="4981">
                        <c:v>36</c:v>
                      </c:pt>
                      <c:pt idx="4982">
                        <c:v>34.520000000000003</c:v>
                      </c:pt>
                      <c:pt idx="4983">
                        <c:v>35.29</c:v>
                      </c:pt>
                      <c:pt idx="4984">
                        <c:v>35.74</c:v>
                      </c:pt>
                      <c:pt idx="4985">
                        <c:v>37.32</c:v>
                      </c:pt>
                      <c:pt idx="4986">
                        <c:v>38.979999999999997</c:v>
                      </c:pt>
                      <c:pt idx="4987">
                        <c:v>38.06</c:v>
                      </c:pt>
                      <c:pt idx="4988">
                        <c:v>36.869999999999997</c:v>
                      </c:pt>
                      <c:pt idx="4989">
                        <c:v>36.549999999999997</c:v>
                      </c:pt>
                      <c:pt idx="4990">
                        <c:v>31.62</c:v>
                      </c:pt>
                      <c:pt idx="4991">
                        <c:v>33.86</c:v>
                      </c:pt>
                      <c:pt idx="4992">
                        <c:v>29.04</c:v>
                      </c:pt>
                      <c:pt idx="4993">
                        <c:v>28.1</c:v>
                      </c:pt>
                      <c:pt idx="4994">
                        <c:v>26.8</c:v>
                      </c:pt>
                      <c:pt idx="4995">
                        <c:v>26.46</c:v>
                      </c:pt>
                      <c:pt idx="4996">
                        <c:v>27.48</c:v>
                      </c:pt>
                      <c:pt idx="4997">
                        <c:v>32.130000000000003</c:v>
                      </c:pt>
                      <c:pt idx="4998">
                        <c:v>38</c:v>
                      </c:pt>
                      <c:pt idx="4999">
                        <c:v>38.799999999999997</c:v>
                      </c:pt>
                      <c:pt idx="5000">
                        <c:v>37.049999999999997</c:v>
                      </c:pt>
                      <c:pt idx="5001">
                        <c:v>35.5</c:v>
                      </c:pt>
                      <c:pt idx="5002">
                        <c:v>31</c:v>
                      </c:pt>
                      <c:pt idx="5003">
                        <c:v>27.51</c:v>
                      </c:pt>
                      <c:pt idx="5004">
                        <c:v>25.17</c:v>
                      </c:pt>
                      <c:pt idx="5005">
                        <c:v>23.69</c:v>
                      </c:pt>
                      <c:pt idx="5006">
                        <c:v>24.34</c:v>
                      </c:pt>
                      <c:pt idx="5007">
                        <c:v>26.31</c:v>
                      </c:pt>
                      <c:pt idx="5008">
                        <c:v>28.87</c:v>
                      </c:pt>
                      <c:pt idx="5009">
                        <c:v>34.15</c:v>
                      </c:pt>
                      <c:pt idx="5010">
                        <c:v>36.96</c:v>
                      </c:pt>
                      <c:pt idx="5011">
                        <c:v>36.94</c:v>
                      </c:pt>
                      <c:pt idx="5012">
                        <c:v>36.299999999999997</c:v>
                      </c:pt>
                      <c:pt idx="5013">
                        <c:v>35.950000000000003</c:v>
                      </c:pt>
                      <c:pt idx="5014">
                        <c:v>32.24</c:v>
                      </c:pt>
                      <c:pt idx="5015">
                        <c:v>27.77</c:v>
                      </c:pt>
                      <c:pt idx="5016">
                        <c:v>23.35</c:v>
                      </c:pt>
                      <c:pt idx="5017">
                        <c:v>18.989999999999998</c:v>
                      </c:pt>
                      <c:pt idx="5018">
                        <c:v>14.17</c:v>
                      </c:pt>
                      <c:pt idx="5019">
                        <c:v>10.039999999999999</c:v>
                      </c:pt>
                      <c:pt idx="5020">
                        <c:v>11.89</c:v>
                      </c:pt>
                      <c:pt idx="5021">
                        <c:v>14.41</c:v>
                      </c:pt>
                      <c:pt idx="5022">
                        <c:v>17.11</c:v>
                      </c:pt>
                      <c:pt idx="5023">
                        <c:v>19.78</c:v>
                      </c:pt>
                      <c:pt idx="5024">
                        <c:v>18.05</c:v>
                      </c:pt>
                      <c:pt idx="5025">
                        <c:v>9.93</c:v>
                      </c:pt>
                      <c:pt idx="5026">
                        <c:v>15.78</c:v>
                      </c:pt>
                      <c:pt idx="5027">
                        <c:v>10.17</c:v>
                      </c:pt>
                      <c:pt idx="5028">
                        <c:v>9.92</c:v>
                      </c:pt>
                      <c:pt idx="5029">
                        <c:v>9.27</c:v>
                      </c:pt>
                      <c:pt idx="5030">
                        <c:v>14.05</c:v>
                      </c:pt>
                      <c:pt idx="5031">
                        <c:v>19.260000000000002</c:v>
                      </c:pt>
                      <c:pt idx="5032">
                        <c:v>25.47</c:v>
                      </c:pt>
                      <c:pt idx="5033">
                        <c:v>30.13</c:v>
                      </c:pt>
                      <c:pt idx="5034">
                        <c:v>34.450000000000003</c:v>
                      </c:pt>
                      <c:pt idx="5035">
                        <c:v>35.43</c:v>
                      </c:pt>
                      <c:pt idx="5036">
                        <c:v>35.65</c:v>
                      </c:pt>
                      <c:pt idx="5037">
                        <c:v>34.76</c:v>
                      </c:pt>
                      <c:pt idx="5038">
                        <c:v>30.6</c:v>
                      </c:pt>
                      <c:pt idx="5039">
                        <c:v>26.92</c:v>
                      </c:pt>
                      <c:pt idx="5040">
                        <c:v>21.16</c:v>
                      </c:pt>
                      <c:pt idx="5041">
                        <c:v>16.22</c:v>
                      </c:pt>
                      <c:pt idx="5042">
                        <c:v>12.79</c:v>
                      </c:pt>
                      <c:pt idx="5043">
                        <c:v>10.73</c:v>
                      </c:pt>
                      <c:pt idx="5044">
                        <c:v>10.029999999999999</c:v>
                      </c:pt>
                      <c:pt idx="5045">
                        <c:v>8.44</c:v>
                      </c:pt>
                      <c:pt idx="5046">
                        <c:v>7.67</c:v>
                      </c:pt>
                      <c:pt idx="5047">
                        <c:v>2.0499999999999998</c:v>
                      </c:pt>
                      <c:pt idx="5048">
                        <c:v>1.94</c:v>
                      </c:pt>
                      <c:pt idx="5049">
                        <c:v>-5.15</c:v>
                      </c:pt>
                      <c:pt idx="5050">
                        <c:v>-0.02</c:v>
                      </c:pt>
                      <c:pt idx="5051">
                        <c:v>-45.42</c:v>
                      </c:pt>
                      <c:pt idx="5052">
                        <c:v>-67.05</c:v>
                      </c:pt>
                      <c:pt idx="5053">
                        <c:v>-64.900000000000006</c:v>
                      </c:pt>
                      <c:pt idx="5054">
                        <c:v>-14.23</c:v>
                      </c:pt>
                      <c:pt idx="5055">
                        <c:v>-0.91</c:v>
                      </c:pt>
                      <c:pt idx="5056">
                        <c:v>5.01</c:v>
                      </c:pt>
                      <c:pt idx="5057">
                        <c:v>22.54</c:v>
                      </c:pt>
                      <c:pt idx="5058">
                        <c:v>31.77</c:v>
                      </c:pt>
                      <c:pt idx="5059">
                        <c:v>34.520000000000003</c:v>
                      </c:pt>
                      <c:pt idx="5060">
                        <c:v>35.93</c:v>
                      </c:pt>
                      <c:pt idx="5061">
                        <c:v>37.67</c:v>
                      </c:pt>
                      <c:pt idx="5062">
                        <c:v>35.869999999999997</c:v>
                      </c:pt>
                      <c:pt idx="5063">
                        <c:v>32</c:v>
                      </c:pt>
                      <c:pt idx="5064">
                        <c:v>26.55</c:v>
                      </c:pt>
                      <c:pt idx="5065">
                        <c:v>26.11</c:v>
                      </c:pt>
                      <c:pt idx="5066">
                        <c:v>24.65</c:v>
                      </c:pt>
                      <c:pt idx="5067">
                        <c:v>24.64</c:v>
                      </c:pt>
                      <c:pt idx="5068">
                        <c:v>26.57</c:v>
                      </c:pt>
                      <c:pt idx="5069">
                        <c:v>32.15</c:v>
                      </c:pt>
                      <c:pt idx="5070">
                        <c:v>36.92</c:v>
                      </c:pt>
                      <c:pt idx="5071">
                        <c:v>36.92</c:v>
                      </c:pt>
                      <c:pt idx="5072">
                        <c:v>35.450000000000003</c:v>
                      </c:pt>
                      <c:pt idx="5073">
                        <c:v>33.29</c:v>
                      </c:pt>
                      <c:pt idx="5074">
                        <c:v>33.89</c:v>
                      </c:pt>
                      <c:pt idx="5075">
                        <c:v>29.03</c:v>
                      </c:pt>
                      <c:pt idx="5076">
                        <c:v>28.07</c:v>
                      </c:pt>
                      <c:pt idx="5077">
                        <c:v>28.02</c:v>
                      </c:pt>
                      <c:pt idx="5078">
                        <c:v>28.71</c:v>
                      </c:pt>
                      <c:pt idx="5079">
                        <c:v>30.05</c:v>
                      </c:pt>
                      <c:pt idx="5080">
                        <c:v>35.51</c:v>
                      </c:pt>
                      <c:pt idx="5081">
                        <c:v>37.909999999999997</c:v>
                      </c:pt>
                      <c:pt idx="5082">
                        <c:v>38.9</c:v>
                      </c:pt>
                      <c:pt idx="5083">
                        <c:v>38.9</c:v>
                      </c:pt>
                      <c:pt idx="5084">
                        <c:v>38.07</c:v>
                      </c:pt>
                      <c:pt idx="5085">
                        <c:v>37.840000000000003</c:v>
                      </c:pt>
                      <c:pt idx="5086">
                        <c:v>32.909999999999997</c:v>
                      </c:pt>
                      <c:pt idx="5087">
                        <c:v>30.57</c:v>
                      </c:pt>
                      <c:pt idx="5088">
                        <c:v>28.01</c:v>
                      </c:pt>
                      <c:pt idx="5089">
                        <c:v>27.3</c:v>
                      </c:pt>
                      <c:pt idx="5090">
                        <c:v>26.79</c:v>
                      </c:pt>
                      <c:pt idx="5091">
                        <c:v>26.81</c:v>
                      </c:pt>
                      <c:pt idx="5092">
                        <c:v>27.54</c:v>
                      </c:pt>
                      <c:pt idx="5093">
                        <c:v>32.659999999999997</c:v>
                      </c:pt>
                      <c:pt idx="5094">
                        <c:v>37</c:v>
                      </c:pt>
                      <c:pt idx="5095">
                        <c:v>38.94</c:v>
                      </c:pt>
                      <c:pt idx="5096">
                        <c:v>38.090000000000003</c:v>
                      </c:pt>
                      <c:pt idx="5097">
                        <c:v>37.9</c:v>
                      </c:pt>
                      <c:pt idx="5098">
                        <c:v>37.08</c:v>
                      </c:pt>
                      <c:pt idx="5099">
                        <c:v>36.450000000000003</c:v>
                      </c:pt>
                      <c:pt idx="5100">
                        <c:v>35.93</c:v>
                      </c:pt>
                      <c:pt idx="5101">
                        <c:v>35.909999999999997</c:v>
                      </c:pt>
                      <c:pt idx="5102">
                        <c:v>36</c:v>
                      </c:pt>
                      <c:pt idx="5103">
                        <c:v>36.61</c:v>
                      </c:pt>
                      <c:pt idx="5104">
                        <c:v>38.47</c:v>
                      </c:pt>
                      <c:pt idx="5105">
                        <c:v>40.94</c:v>
                      </c:pt>
                      <c:pt idx="5106">
                        <c:v>41.06</c:v>
                      </c:pt>
                      <c:pt idx="5107">
                        <c:v>38.96</c:v>
                      </c:pt>
                      <c:pt idx="5108">
                        <c:v>37.04</c:v>
                      </c:pt>
                      <c:pt idx="5109">
                        <c:v>35.94</c:v>
                      </c:pt>
                      <c:pt idx="5110">
                        <c:v>31.69</c:v>
                      </c:pt>
                      <c:pt idx="5111">
                        <c:v>27.62</c:v>
                      </c:pt>
                      <c:pt idx="5112">
                        <c:v>26.59</c:v>
                      </c:pt>
                      <c:pt idx="5113">
                        <c:v>26.2</c:v>
                      </c:pt>
                      <c:pt idx="5114">
                        <c:v>25.09</c:v>
                      </c:pt>
                      <c:pt idx="5115">
                        <c:v>25.78</c:v>
                      </c:pt>
                      <c:pt idx="5116">
                        <c:v>27.25</c:v>
                      </c:pt>
                      <c:pt idx="5117">
                        <c:v>30.26</c:v>
                      </c:pt>
                      <c:pt idx="5118">
                        <c:v>35.049999999999997</c:v>
                      </c:pt>
                      <c:pt idx="5119">
                        <c:v>36.57</c:v>
                      </c:pt>
                      <c:pt idx="5120">
                        <c:v>36.47</c:v>
                      </c:pt>
                      <c:pt idx="5121">
                        <c:v>35.96</c:v>
                      </c:pt>
                      <c:pt idx="5122">
                        <c:v>35.14</c:v>
                      </c:pt>
                      <c:pt idx="5123">
                        <c:v>33.07</c:v>
                      </c:pt>
                      <c:pt idx="5124">
                        <c:v>29.9</c:v>
                      </c:pt>
                      <c:pt idx="5125">
                        <c:v>30.07</c:v>
                      </c:pt>
                      <c:pt idx="5126">
                        <c:v>31.69</c:v>
                      </c:pt>
                      <c:pt idx="5127">
                        <c:v>34.9</c:v>
                      </c:pt>
                      <c:pt idx="5128">
                        <c:v>35.99</c:v>
                      </c:pt>
                      <c:pt idx="5129">
                        <c:v>39.229999999999997</c:v>
                      </c:pt>
                      <c:pt idx="5130">
                        <c:v>40.94</c:v>
                      </c:pt>
                      <c:pt idx="5131">
                        <c:v>39.270000000000003</c:v>
                      </c:pt>
                      <c:pt idx="5132">
                        <c:v>38.15</c:v>
                      </c:pt>
                      <c:pt idx="5133">
                        <c:v>37.53</c:v>
                      </c:pt>
                      <c:pt idx="5134">
                        <c:v>34.46</c:v>
                      </c:pt>
                      <c:pt idx="5135">
                        <c:v>28.1</c:v>
                      </c:pt>
                      <c:pt idx="5136">
                        <c:v>26.47</c:v>
                      </c:pt>
                      <c:pt idx="5137">
                        <c:v>24.76</c:v>
                      </c:pt>
                      <c:pt idx="5138">
                        <c:v>23.36</c:v>
                      </c:pt>
                      <c:pt idx="5139">
                        <c:v>23.39</c:v>
                      </c:pt>
                      <c:pt idx="5140">
                        <c:v>25.08</c:v>
                      </c:pt>
                      <c:pt idx="5141">
                        <c:v>28.58</c:v>
                      </c:pt>
                      <c:pt idx="5142">
                        <c:v>34.94</c:v>
                      </c:pt>
                      <c:pt idx="5143">
                        <c:v>35.979999999999997</c:v>
                      </c:pt>
                      <c:pt idx="5144">
                        <c:v>35.979999999999997</c:v>
                      </c:pt>
                      <c:pt idx="5145">
                        <c:v>35.89</c:v>
                      </c:pt>
                      <c:pt idx="5146">
                        <c:v>34.72</c:v>
                      </c:pt>
                      <c:pt idx="5147">
                        <c:v>30.57</c:v>
                      </c:pt>
                      <c:pt idx="5148">
                        <c:v>27.13</c:v>
                      </c:pt>
                      <c:pt idx="5149">
                        <c:v>22.03</c:v>
                      </c:pt>
                      <c:pt idx="5150">
                        <c:v>20.28</c:v>
                      </c:pt>
                      <c:pt idx="5151">
                        <c:v>18.09</c:v>
                      </c:pt>
                      <c:pt idx="5152">
                        <c:v>23.99</c:v>
                      </c:pt>
                      <c:pt idx="5153">
                        <c:v>26.82</c:v>
                      </c:pt>
                      <c:pt idx="5154">
                        <c:v>29.76</c:v>
                      </c:pt>
                      <c:pt idx="5155">
                        <c:v>30.76</c:v>
                      </c:pt>
                      <c:pt idx="5156">
                        <c:v>31.85</c:v>
                      </c:pt>
                      <c:pt idx="5157">
                        <c:v>29.69</c:v>
                      </c:pt>
                      <c:pt idx="5158">
                        <c:v>25.52</c:v>
                      </c:pt>
                      <c:pt idx="5159">
                        <c:v>25.16</c:v>
                      </c:pt>
                      <c:pt idx="5160">
                        <c:v>22.7</c:v>
                      </c:pt>
                      <c:pt idx="5161">
                        <c:v>21.3</c:v>
                      </c:pt>
                      <c:pt idx="5162">
                        <c:v>19.03</c:v>
                      </c:pt>
                      <c:pt idx="5163">
                        <c:v>18.95</c:v>
                      </c:pt>
                      <c:pt idx="5164">
                        <c:v>21.48</c:v>
                      </c:pt>
                      <c:pt idx="5165">
                        <c:v>30.5</c:v>
                      </c:pt>
                      <c:pt idx="5166">
                        <c:v>34.99</c:v>
                      </c:pt>
                      <c:pt idx="5167">
                        <c:v>35.020000000000003</c:v>
                      </c:pt>
                      <c:pt idx="5168">
                        <c:v>33.590000000000003</c:v>
                      </c:pt>
                      <c:pt idx="5169">
                        <c:v>28.42</c:v>
                      </c:pt>
                      <c:pt idx="5170">
                        <c:v>21.62</c:v>
                      </c:pt>
                      <c:pt idx="5171">
                        <c:v>17.05</c:v>
                      </c:pt>
                      <c:pt idx="5172">
                        <c:v>10.35</c:v>
                      </c:pt>
                      <c:pt idx="5173">
                        <c:v>9.58</c:v>
                      </c:pt>
                      <c:pt idx="5174">
                        <c:v>10.36</c:v>
                      </c:pt>
                      <c:pt idx="5175">
                        <c:v>10.32</c:v>
                      </c:pt>
                      <c:pt idx="5176">
                        <c:v>20.04</c:v>
                      </c:pt>
                      <c:pt idx="5177">
                        <c:v>28.46</c:v>
                      </c:pt>
                      <c:pt idx="5178">
                        <c:v>35.01</c:v>
                      </c:pt>
                      <c:pt idx="5179">
                        <c:v>34.479999999999997</c:v>
                      </c:pt>
                      <c:pt idx="5180">
                        <c:v>34.93</c:v>
                      </c:pt>
                      <c:pt idx="5181">
                        <c:v>34.96</c:v>
                      </c:pt>
                      <c:pt idx="5182">
                        <c:v>31.06</c:v>
                      </c:pt>
                      <c:pt idx="5183">
                        <c:v>24.97</c:v>
                      </c:pt>
                      <c:pt idx="5184">
                        <c:v>24.97</c:v>
                      </c:pt>
                      <c:pt idx="5185">
                        <c:v>25.05</c:v>
                      </c:pt>
                      <c:pt idx="5186">
                        <c:v>24.02</c:v>
                      </c:pt>
                      <c:pt idx="5187">
                        <c:v>23.1</c:v>
                      </c:pt>
                      <c:pt idx="5188">
                        <c:v>24.74</c:v>
                      </c:pt>
                      <c:pt idx="5189">
                        <c:v>24.17</c:v>
                      </c:pt>
                      <c:pt idx="5190">
                        <c:v>27.68</c:v>
                      </c:pt>
                      <c:pt idx="5191">
                        <c:v>31</c:v>
                      </c:pt>
                      <c:pt idx="5192">
                        <c:v>32.82</c:v>
                      </c:pt>
                      <c:pt idx="5193">
                        <c:v>31.88</c:v>
                      </c:pt>
                      <c:pt idx="5194">
                        <c:v>27.21</c:v>
                      </c:pt>
                      <c:pt idx="5195">
                        <c:v>25.06</c:v>
                      </c:pt>
                      <c:pt idx="5196">
                        <c:v>23.37</c:v>
                      </c:pt>
                      <c:pt idx="5197">
                        <c:v>23.43</c:v>
                      </c:pt>
                      <c:pt idx="5198">
                        <c:v>24.55</c:v>
                      </c:pt>
                      <c:pt idx="5199">
                        <c:v>25.33</c:v>
                      </c:pt>
                      <c:pt idx="5200">
                        <c:v>27.98</c:v>
                      </c:pt>
                      <c:pt idx="5201">
                        <c:v>32.090000000000003</c:v>
                      </c:pt>
                      <c:pt idx="5202">
                        <c:v>33.96</c:v>
                      </c:pt>
                      <c:pt idx="5203">
                        <c:v>33.630000000000003</c:v>
                      </c:pt>
                      <c:pt idx="5204">
                        <c:v>33.799999999999997</c:v>
                      </c:pt>
                      <c:pt idx="5205">
                        <c:v>34.299999999999997</c:v>
                      </c:pt>
                      <c:pt idx="5206">
                        <c:v>32.74</c:v>
                      </c:pt>
                      <c:pt idx="5207">
                        <c:v>25.73</c:v>
                      </c:pt>
                      <c:pt idx="5208">
                        <c:v>20.57</c:v>
                      </c:pt>
                      <c:pt idx="5209">
                        <c:v>18.03</c:v>
                      </c:pt>
                      <c:pt idx="5210">
                        <c:v>16.59</c:v>
                      </c:pt>
                      <c:pt idx="5211">
                        <c:v>13.69</c:v>
                      </c:pt>
                      <c:pt idx="5212">
                        <c:v>10.87</c:v>
                      </c:pt>
                      <c:pt idx="5213">
                        <c:v>10.75</c:v>
                      </c:pt>
                      <c:pt idx="5214">
                        <c:v>12.6</c:v>
                      </c:pt>
                      <c:pt idx="5215">
                        <c:v>16.32</c:v>
                      </c:pt>
                      <c:pt idx="5216">
                        <c:v>18</c:v>
                      </c:pt>
                      <c:pt idx="5217">
                        <c:v>10.46</c:v>
                      </c:pt>
                      <c:pt idx="5218">
                        <c:v>13.33</c:v>
                      </c:pt>
                      <c:pt idx="5219">
                        <c:v>14.13</c:v>
                      </c:pt>
                      <c:pt idx="5220">
                        <c:v>10.83</c:v>
                      </c:pt>
                      <c:pt idx="5221">
                        <c:v>10.41</c:v>
                      </c:pt>
                      <c:pt idx="5222">
                        <c:v>10.32</c:v>
                      </c:pt>
                      <c:pt idx="5223">
                        <c:v>13.01</c:v>
                      </c:pt>
                      <c:pt idx="5224">
                        <c:v>19.57</c:v>
                      </c:pt>
                      <c:pt idx="5225">
                        <c:v>28.66</c:v>
                      </c:pt>
                      <c:pt idx="5226">
                        <c:v>32.94</c:v>
                      </c:pt>
                      <c:pt idx="5227">
                        <c:v>34.950000000000003</c:v>
                      </c:pt>
                      <c:pt idx="5228">
                        <c:v>36.049999999999997</c:v>
                      </c:pt>
                      <c:pt idx="5229">
                        <c:v>36.07</c:v>
                      </c:pt>
                      <c:pt idx="5230">
                        <c:v>34.94</c:v>
                      </c:pt>
                      <c:pt idx="5231">
                        <c:v>31.1</c:v>
                      </c:pt>
                      <c:pt idx="5232">
                        <c:v>28</c:v>
                      </c:pt>
                      <c:pt idx="5233">
                        <c:v>26.11</c:v>
                      </c:pt>
                      <c:pt idx="5234">
                        <c:v>24.8</c:v>
                      </c:pt>
                      <c:pt idx="5235">
                        <c:v>25.47</c:v>
                      </c:pt>
                      <c:pt idx="5236">
                        <c:v>28.28</c:v>
                      </c:pt>
                      <c:pt idx="5237">
                        <c:v>35.18</c:v>
                      </c:pt>
                      <c:pt idx="5238">
                        <c:v>37.93</c:v>
                      </c:pt>
                      <c:pt idx="5239">
                        <c:v>37.85</c:v>
                      </c:pt>
                      <c:pt idx="5240">
                        <c:v>36.42</c:v>
                      </c:pt>
                      <c:pt idx="5241">
                        <c:v>34.08</c:v>
                      </c:pt>
                      <c:pt idx="5242">
                        <c:v>33.14</c:v>
                      </c:pt>
                      <c:pt idx="5243">
                        <c:v>29.03</c:v>
                      </c:pt>
                      <c:pt idx="5244">
                        <c:v>26.87</c:v>
                      </c:pt>
                      <c:pt idx="5245">
                        <c:v>27.47</c:v>
                      </c:pt>
                      <c:pt idx="5246">
                        <c:v>29.04</c:v>
                      </c:pt>
                      <c:pt idx="5247">
                        <c:v>32.65</c:v>
                      </c:pt>
                      <c:pt idx="5248">
                        <c:v>36.950000000000003</c:v>
                      </c:pt>
                      <c:pt idx="5249">
                        <c:v>42.16</c:v>
                      </c:pt>
                      <c:pt idx="5250">
                        <c:v>45.11</c:v>
                      </c:pt>
                      <c:pt idx="5251">
                        <c:v>44.9</c:v>
                      </c:pt>
                      <c:pt idx="5252">
                        <c:v>39.94</c:v>
                      </c:pt>
                      <c:pt idx="5253">
                        <c:v>35.92</c:v>
                      </c:pt>
                      <c:pt idx="5254">
                        <c:v>29.94</c:v>
                      </c:pt>
                      <c:pt idx="5255">
                        <c:v>28.09</c:v>
                      </c:pt>
                      <c:pt idx="5256">
                        <c:v>26.86</c:v>
                      </c:pt>
                      <c:pt idx="5257">
                        <c:v>25.34</c:v>
                      </c:pt>
                      <c:pt idx="5258">
                        <c:v>24.59</c:v>
                      </c:pt>
                      <c:pt idx="5259">
                        <c:v>24.64</c:v>
                      </c:pt>
                      <c:pt idx="5260">
                        <c:v>26.96</c:v>
                      </c:pt>
                      <c:pt idx="5261">
                        <c:v>31</c:v>
                      </c:pt>
                      <c:pt idx="5262">
                        <c:v>35</c:v>
                      </c:pt>
                      <c:pt idx="5263">
                        <c:v>36.51</c:v>
                      </c:pt>
                      <c:pt idx="5264">
                        <c:v>37.06</c:v>
                      </c:pt>
                      <c:pt idx="5265">
                        <c:v>36.200000000000003</c:v>
                      </c:pt>
                      <c:pt idx="5266">
                        <c:v>36.380000000000003</c:v>
                      </c:pt>
                      <c:pt idx="5267">
                        <c:v>34.74</c:v>
                      </c:pt>
                      <c:pt idx="5268">
                        <c:v>31.51</c:v>
                      </c:pt>
                      <c:pt idx="5269">
                        <c:v>29.56</c:v>
                      </c:pt>
                      <c:pt idx="5270">
                        <c:v>30.95</c:v>
                      </c:pt>
                      <c:pt idx="5271">
                        <c:v>31.33</c:v>
                      </c:pt>
                      <c:pt idx="5272">
                        <c:v>32.36</c:v>
                      </c:pt>
                      <c:pt idx="5273">
                        <c:v>33.9</c:v>
                      </c:pt>
                      <c:pt idx="5274">
                        <c:v>33.909999999999997</c:v>
                      </c:pt>
                      <c:pt idx="5275">
                        <c:v>33.03</c:v>
                      </c:pt>
                      <c:pt idx="5276">
                        <c:v>32.07</c:v>
                      </c:pt>
                      <c:pt idx="5277">
                        <c:v>31.06</c:v>
                      </c:pt>
                      <c:pt idx="5278">
                        <c:v>27.97</c:v>
                      </c:pt>
                      <c:pt idx="5279">
                        <c:v>25</c:v>
                      </c:pt>
                      <c:pt idx="5280">
                        <c:v>23.63</c:v>
                      </c:pt>
                      <c:pt idx="5281">
                        <c:v>21.13</c:v>
                      </c:pt>
                      <c:pt idx="5282">
                        <c:v>19.079999999999998</c:v>
                      </c:pt>
                      <c:pt idx="5283">
                        <c:v>19.09</c:v>
                      </c:pt>
                      <c:pt idx="5284">
                        <c:v>24.57</c:v>
                      </c:pt>
                      <c:pt idx="5285">
                        <c:v>27.8</c:v>
                      </c:pt>
                      <c:pt idx="5286">
                        <c:v>31.57</c:v>
                      </c:pt>
                      <c:pt idx="5287">
                        <c:v>34.85</c:v>
                      </c:pt>
                      <c:pt idx="5288">
                        <c:v>33.15</c:v>
                      </c:pt>
                      <c:pt idx="5289">
                        <c:v>31.49</c:v>
                      </c:pt>
                      <c:pt idx="5290">
                        <c:v>31.34</c:v>
                      </c:pt>
                      <c:pt idx="5291">
                        <c:v>27.74</c:v>
                      </c:pt>
                      <c:pt idx="5292">
                        <c:v>26.56</c:v>
                      </c:pt>
                      <c:pt idx="5293">
                        <c:v>27.75</c:v>
                      </c:pt>
                      <c:pt idx="5294">
                        <c:v>29.96</c:v>
                      </c:pt>
                      <c:pt idx="5295">
                        <c:v>31.25</c:v>
                      </c:pt>
                      <c:pt idx="5296">
                        <c:v>34.92</c:v>
                      </c:pt>
                      <c:pt idx="5297">
                        <c:v>35.96</c:v>
                      </c:pt>
                      <c:pt idx="5298">
                        <c:v>40.1</c:v>
                      </c:pt>
                      <c:pt idx="5299">
                        <c:v>38.33</c:v>
                      </c:pt>
                      <c:pt idx="5300">
                        <c:v>39.42</c:v>
                      </c:pt>
                      <c:pt idx="5301">
                        <c:v>37.35</c:v>
                      </c:pt>
                      <c:pt idx="5302">
                        <c:v>34.51</c:v>
                      </c:pt>
                      <c:pt idx="5303">
                        <c:v>29.91</c:v>
                      </c:pt>
                      <c:pt idx="5304">
                        <c:v>28.24</c:v>
                      </c:pt>
                      <c:pt idx="5305">
                        <c:v>27.79</c:v>
                      </c:pt>
                      <c:pt idx="5306">
                        <c:v>26.6</c:v>
                      </c:pt>
                      <c:pt idx="5307">
                        <c:v>26.02</c:v>
                      </c:pt>
                      <c:pt idx="5308">
                        <c:v>28.44</c:v>
                      </c:pt>
                      <c:pt idx="5309">
                        <c:v>33.81</c:v>
                      </c:pt>
                      <c:pt idx="5310">
                        <c:v>36.81</c:v>
                      </c:pt>
                      <c:pt idx="5311">
                        <c:v>40.880000000000003</c:v>
                      </c:pt>
                      <c:pt idx="5312">
                        <c:v>41.95</c:v>
                      </c:pt>
                      <c:pt idx="5313">
                        <c:v>41.95</c:v>
                      </c:pt>
                      <c:pt idx="5314">
                        <c:v>41.93</c:v>
                      </c:pt>
                      <c:pt idx="5315">
                        <c:v>41.63</c:v>
                      </c:pt>
                      <c:pt idx="5316">
                        <c:v>40.950000000000003</c:v>
                      </c:pt>
                      <c:pt idx="5317">
                        <c:v>39.200000000000003</c:v>
                      </c:pt>
                      <c:pt idx="5318">
                        <c:v>37.880000000000003</c:v>
                      </c:pt>
                      <c:pt idx="5319">
                        <c:v>36.24</c:v>
                      </c:pt>
                      <c:pt idx="5320">
                        <c:v>37.049999999999997</c:v>
                      </c:pt>
                      <c:pt idx="5321">
                        <c:v>38</c:v>
                      </c:pt>
                      <c:pt idx="5322">
                        <c:v>39.61</c:v>
                      </c:pt>
                      <c:pt idx="5323">
                        <c:v>35.99</c:v>
                      </c:pt>
                      <c:pt idx="5324">
                        <c:v>35.56</c:v>
                      </c:pt>
                      <c:pt idx="5325">
                        <c:v>34.78</c:v>
                      </c:pt>
                      <c:pt idx="5326">
                        <c:v>30.97</c:v>
                      </c:pt>
                      <c:pt idx="5327">
                        <c:v>28.99</c:v>
                      </c:pt>
                      <c:pt idx="5328">
                        <c:v>28.13</c:v>
                      </c:pt>
                      <c:pt idx="5329">
                        <c:v>27.03</c:v>
                      </c:pt>
                      <c:pt idx="5330">
                        <c:v>26.29</c:v>
                      </c:pt>
                      <c:pt idx="5331">
                        <c:v>26.12</c:v>
                      </c:pt>
                      <c:pt idx="5332">
                        <c:v>28.11</c:v>
                      </c:pt>
                      <c:pt idx="5333">
                        <c:v>31.79</c:v>
                      </c:pt>
                      <c:pt idx="5334">
                        <c:v>40.75</c:v>
                      </c:pt>
                      <c:pt idx="5335">
                        <c:v>46.98</c:v>
                      </c:pt>
                      <c:pt idx="5336">
                        <c:v>49.68</c:v>
                      </c:pt>
                      <c:pt idx="5337">
                        <c:v>51.18</c:v>
                      </c:pt>
                      <c:pt idx="5338">
                        <c:v>61.36</c:v>
                      </c:pt>
                      <c:pt idx="5339">
                        <c:v>52.65</c:v>
                      </c:pt>
                      <c:pt idx="5340">
                        <c:v>46.8</c:v>
                      </c:pt>
                      <c:pt idx="5341">
                        <c:v>39.090000000000003</c:v>
                      </c:pt>
                      <c:pt idx="5342">
                        <c:v>39.01</c:v>
                      </c:pt>
                      <c:pt idx="5343">
                        <c:v>36.880000000000003</c:v>
                      </c:pt>
                      <c:pt idx="5344">
                        <c:v>37.42</c:v>
                      </c:pt>
                      <c:pt idx="5345">
                        <c:v>38.08</c:v>
                      </c:pt>
                      <c:pt idx="5346">
                        <c:v>36.21</c:v>
                      </c:pt>
                      <c:pt idx="5347">
                        <c:v>34.32</c:v>
                      </c:pt>
                      <c:pt idx="5348">
                        <c:v>34.61</c:v>
                      </c:pt>
                      <c:pt idx="5349">
                        <c:v>33.36</c:v>
                      </c:pt>
                      <c:pt idx="5350">
                        <c:v>30.71</c:v>
                      </c:pt>
                      <c:pt idx="5351">
                        <c:v>25.63</c:v>
                      </c:pt>
                      <c:pt idx="5352">
                        <c:v>23.05</c:v>
                      </c:pt>
                      <c:pt idx="5353">
                        <c:v>20.72</c:v>
                      </c:pt>
                      <c:pt idx="5354">
                        <c:v>20.059999999999999</c:v>
                      </c:pt>
                      <c:pt idx="5355">
                        <c:v>18.850000000000001</c:v>
                      </c:pt>
                      <c:pt idx="5356">
                        <c:v>17.03</c:v>
                      </c:pt>
                      <c:pt idx="5357">
                        <c:v>19.59</c:v>
                      </c:pt>
                      <c:pt idx="5358">
                        <c:v>20.91</c:v>
                      </c:pt>
                      <c:pt idx="5359">
                        <c:v>24.37</c:v>
                      </c:pt>
                      <c:pt idx="5360">
                        <c:v>25.84</c:v>
                      </c:pt>
                      <c:pt idx="5361">
                        <c:v>25.36</c:v>
                      </c:pt>
                      <c:pt idx="5362">
                        <c:v>25.5</c:v>
                      </c:pt>
                      <c:pt idx="5363">
                        <c:v>24.49</c:v>
                      </c:pt>
                      <c:pt idx="5364">
                        <c:v>19.010000000000002</c:v>
                      </c:pt>
                      <c:pt idx="5365">
                        <c:v>15.23</c:v>
                      </c:pt>
                      <c:pt idx="5366">
                        <c:v>16.41</c:v>
                      </c:pt>
                      <c:pt idx="5367">
                        <c:v>15.99</c:v>
                      </c:pt>
                      <c:pt idx="5368">
                        <c:v>18.77</c:v>
                      </c:pt>
                      <c:pt idx="5369">
                        <c:v>24.81</c:v>
                      </c:pt>
                      <c:pt idx="5370">
                        <c:v>25.44</c:v>
                      </c:pt>
                      <c:pt idx="5371">
                        <c:v>25.67</c:v>
                      </c:pt>
                      <c:pt idx="5372">
                        <c:v>25.54</c:v>
                      </c:pt>
                      <c:pt idx="5373">
                        <c:v>24.02</c:v>
                      </c:pt>
                      <c:pt idx="5374">
                        <c:v>17.93</c:v>
                      </c:pt>
                      <c:pt idx="5375">
                        <c:v>15.74</c:v>
                      </c:pt>
                      <c:pt idx="5376">
                        <c:v>15.42</c:v>
                      </c:pt>
                      <c:pt idx="5377">
                        <c:v>12.93</c:v>
                      </c:pt>
                      <c:pt idx="5378">
                        <c:v>11.64</c:v>
                      </c:pt>
                      <c:pt idx="5379">
                        <c:v>13.34</c:v>
                      </c:pt>
                      <c:pt idx="5380">
                        <c:v>11.95</c:v>
                      </c:pt>
                      <c:pt idx="5381">
                        <c:v>11.77</c:v>
                      </c:pt>
                      <c:pt idx="5382">
                        <c:v>16.07</c:v>
                      </c:pt>
                      <c:pt idx="5383">
                        <c:v>19</c:v>
                      </c:pt>
                      <c:pt idx="5384">
                        <c:v>21.02</c:v>
                      </c:pt>
                      <c:pt idx="5385">
                        <c:v>19.690000000000001</c:v>
                      </c:pt>
                      <c:pt idx="5386">
                        <c:v>21.09</c:v>
                      </c:pt>
                      <c:pt idx="5387">
                        <c:v>19.329999999999998</c:v>
                      </c:pt>
                      <c:pt idx="5388">
                        <c:v>16.07</c:v>
                      </c:pt>
                      <c:pt idx="5389">
                        <c:v>13.24</c:v>
                      </c:pt>
                      <c:pt idx="5390">
                        <c:v>11.8</c:v>
                      </c:pt>
                      <c:pt idx="5391">
                        <c:v>10.8</c:v>
                      </c:pt>
                      <c:pt idx="5392">
                        <c:v>21.89</c:v>
                      </c:pt>
                      <c:pt idx="5393">
                        <c:v>28.39</c:v>
                      </c:pt>
                      <c:pt idx="5394">
                        <c:v>33</c:v>
                      </c:pt>
                      <c:pt idx="5395">
                        <c:v>34.979999999999997</c:v>
                      </c:pt>
                      <c:pt idx="5396">
                        <c:v>36.47</c:v>
                      </c:pt>
                      <c:pt idx="5397">
                        <c:v>35.799999999999997</c:v>
                      </c:pt>
                      <c:pt idx="5398">
                        <c:v>32</c:v>
                      </c:pt>
                      <c:pt idx="5399">
                        <c:v>28.69</c:v>
                      </c:pt>
                      <c:pt idx="5400">
                        <c:v>26.37</c:v>
                      </c:pt>
                      <c:pt idx="5401">
                        <c:v>25.24</c:v>
                      </c:pt>
                      <c:pt idx="5402">
                        <c:v>25.17</c:v>
                      </c:pt>
                      <c:pt idx="5403">
                        <c:v>25.28</c:v>
                      </c:pt>
                      <c:pt idx="5404">
                        <c:v>27.64</c:v>
                      </c:pt>
                      <c:pt idx="5405">
                        <c:v>32.9</c:v>
                      </c:pt>
                      <c:pt idx="5406">
                        <c:v>37.9</c:v>
                      </c:pt>
                      <c:pt idx="5407">
                        <c:v>38.44</c:v>
                      </c:pt>
                      <c:pt idx="5408">
                        <c:v>36.64</c:v>
                      </c:pt>
                      <c:pt idx="5409">
                        <c:v>35.04</c:v>
                      </c:pt>
                      <c:pt idx="5410">
                        <c:v>34.96</c:v>
                      </c:pt>
                      <c:pt idx="5411">
                        <c:v>33.4</c:v>
                      </c:pt>
                      <c:pt idx="5412">
                        <c:v>31.93</c:v>
                      </c:pt>
                      <c:pt idx="5413">
                        <c:v>31.87</c:v>
                      </c:pt>
                      <c:pt idx="5414">
                        <c:v>33</c:v>
                      </c:pt>
                      <c:pt idx="5415">
                        <c:v>34.869999999999997</c:v>
                      </c:pt>
                      <c:pt idx="5416">
                        <c:v>37.07</c:v>
                      </c:pt>
                      <c:pt idx="5417">
                        <c:v>39.64</c:v>
                      </c:pt>
                      <c:pt idx="5418">
                        <c:v>41.96</c:v>
                      </c:pt>
                      <c:pt idx="5419">
                        <c:v>38.39</c:v>
                      </c:pt>
                      <c:pt idx="5420">
                        <c:v>37.76</c:v>
                      </c:pt>
                      <c:pt idx="5421">
                        <c:v>32.96</c:v>
                      </c:pt>
                      <c:pt idx="5422">
                        <c:v>26.82</c:v>
                      </c:pt>
                      <c:pt idx="5423">
                        <c:v>23.9</c:v>
                      </c:pt>
                      <c:pt idx="5424">
                        <c:v>23.05</c:v>
                      </c:pt>
                      <c:pt idx="5425">
                        <c:v>22.07</c:v>
                      </c:pt>
                      <c:pt idx="5426">
                        <c:v>19.3</c:v>
                      </c:pt>
                      <c:pt idx="5427">
                        <c:v>19.25</c:v>
                      </c:pt>
                      <c:pt idx="5428">
                        <c:v>21.47</c:v>
                      </c:pt>
                      <c:pt idx="5429">
                        <c:v>26.23</c:v>
                      </c:pt>
                      <c:pt idx="5430">
                        <c:v>26.96</c:v>
                      </c:pt>
                      <c:pt idx="5431">
                        <c:v>27.96</c:v>
                      </c:pt>
                      <c:pt idx="5432">
                        <c:v>26.84</c:v>
                      </c:pt>
                      <c:pt idx="5433">
                        <c:v>26.08</c:v>
                      </c:pt>
                      <c:pt idx="5434">
                        <c:v>26.69</c:v>
                      </c:pt>
                      <c:pt idx="5435">
                        <c:v>25.38</c:v>
                      </c:pt>
                      <c:pt idx="5436">
                        <c:v>23.07</c:v>
                      </c:pt>
                      <c:pt idx="5437">
                        <c:v>21.26</c:v>
                      </c:pt>
                      <c:pt idx="5438">
                        <c:v>25.18</c:v>
                      </c:pt>
                      <c:pt idx="5439">
                        <c:v>26.08</c:v>
                      </c:pt>
                      <c:pt idx="5440">
                        <c:v>31.34</c:v>
                      </c:pt>
                      <c:pt idx="5441">
                        <c:v>35.24</c:v>
                      </c:pt>
                      <c:pt idx="5442">
                        <c:v>35.299999999999997</c:v>
                      </c:pt>
                      <c:pt idx="5443">
                        <c:v>35.36</c:v>
                      </c:pt>
                      <c:pt idx="5444">
                        <c:v>34.950000000000003</c:v>
                      </c:pt>
                      <c:pt idx="5445">
                        <c:v>29.04</c:v>
                      </c:pt>
                      <c:pt idx="5446">
                        <c:v>27.1</c:v>
                      </c:pt>
                      <c:pt idx="5447">
                        <c:v>28.93</c:v>
                      </c:pt>
                      <c:pt idx="5448">
                        <c:v>27.99</c:v>
                      </c:pt>
                      <c:pt idx="5449">
                        <c:v>27.11</c:v>
                      </c:pt>
                      <c:pt idx="5450">
                        <c:v>26.79</c:v>
                      </c:pt>
                      <c:pt idx="5451">
                        <c:v>27.64</c:v>
                      </c:pt>
                      <c:pt idx="5452">
                        <c:v>28.72</c:v>
                      </c:pt>
                      <c:pt idx="5453">
                        <c:v>34.979999999999997</c:v>
                      </c:pt>
                      <c:pt idx="5454">
                        <c:v>37.61</c:v>
                      </c:pt>
                      <c:pt idx="5455">
                        <c:v>42</c:v>
                      </c:pt>
                      <c:pt idx="5456">
                        <c:v>41.91</c:v>
                      </c:pt>
                      <c:pt idx="5457">
                        <c:v>40.92</c:v>
                      </c:pt>
                      <c:pt idx="5458">
                        <c:v>40.909999999999997</c:v>
                      </c:pt>
                      <c:pt idx="5459">
                        <c:v>38.44</c:v>
                      </c:pt>
                      <c:pt idx="5460">
                        <c:v>36.07</c:v>
                      </c:pt>
                      <c:pt idx="5461">
                        <c:v>35.56</c:v>
                      </c:pt>
                      <c:pt idx="5462">
                        <c:v>34.31</c:v>
                      </c:pt>
                      <c:pt idx="5463">
                        <c:v>36.270000000000003</c:v>
                      </c:pt>
                      <c:pt idx="5464">
                        <c:v>39.94</c:v>
                      </c:pt>
                      <c:pt idx="5465">
                        <c:v>41.93</c:v>
                      </c:pt>
                      <c:pt idx="5466">
                        <c:v>43.15</c:v>
                      </c:pt>
                      <c:pt idx="5467">
                        <c:v>41.95</c:v>
                      </c:pt>
                      <c:pt idx="5468">
                        <c:v>40.1</c:v>
                      </c:pt>
                      <c:pt idx="5469">
                        <c:v>36.020000000000003</c:v>
                      </c:pt>
                      <c:pt idx="5470">
                        <c:v>32</c:v>
                      </c:pt>
                      <c:pt idx="5471">
                        <c:v>29.82</c:v>
                      </c:pt>
                      <c:pt idx="5472">
                        <c:v>28.44</c:v>
                      </c:pt>
                      <c:pt idx="5473">
                        <c:v>26.96</c:v>
                      </c:pt>
                      <c:pt idx="5474">
                        <c:v>26.83</c:v>
                      </c:pt>
                      <c:pt idx="5475">
                        <c:v>26.96</c:v>
                      </c:pt>
                      <c:pt idx="5476">
                        <c:v>28.57</c:v>
                      </c:pt>
                      <c:pt idx="5477">
                        <c:v>33.94</c:v>
                      </c:pt>
                      <c:pt idx="5478">
                        <c:v>36.9</c:v>
                      </c:pt>
                      <c:pt idx="5479">
                        <c:v>40.14</c:v>
                      </c:pt>
                      <c:pt idx="5480">
                        <c:v>39.24</c:v>
                      </c:pt>
                      <c:pt idx="5481">
                        <c:v>36.47</c:v>
                      </c:pt>
                      <c:pt idx="5482">
                        <c:v>36.020000000000003</c:v>
                      </c:pt>
                      <c:pt idx="5483">
                        <c:v>33.39</c:v>
                      </c:pt>
                      <c:pt idx="5484">
                        <c:v>31.64</c:v>
                      </c:pt>
                      <c:pt idx="5485">
                        <c:v>30</c:v>
                      </c:pt>
                      <c:pt idx="5486">
                        <c:v>30.19</c:v>
                      </c:pt>
                      <c:pt idx="5487">
                        <c:v>31.68</c:v>
                      </c:pt>
                      <c:pt idx="5488">
                        <c:v>35.32</c:v>
                      </c:pt>
                      <c:pt idx="5489">
                        <c:v>37.42</c:v>
                      </c:pt>
                      <c:pt idx="5490">
                        <c:v>38.97</c:v>
                      </c:pt>
                      <c:pt idx="5491">
                        <c:v>38.35</c:v>
                      </c:pt>
                      <c:pt idx="5492">
                        <c:v>37.619999999999997</c:v>
                      </c:pt>
                      <c:pt idx="5493">
                        <c:v>36.869999999999997</c:v>
                      </c:pt>
                      <c:pt idx="5494">
                        <c:v>31.7</c:v>
                      </c:pt>
                      <c:pt idx="5495">
                        <c:v>29.21</c:v>
                      </c:pt>
                      <c:pt idx="5496">
                        <c:v>28.29</c:v>
                      </c:pt>
                      <c:pt idx="5497">
                        <c:v>27.28</c:v>
                      </c:pt>
                      <c:pt idx="5498">
                        <c:v>26.35</c:v>
                      </c:pt>
                      <c:pt idx="5499">
                        <c:v>27.7</c:v>
                      </c:pt>
                      <c:pt idx="5500">
                        <c:v>28.61</c:v>
                      </c:pt>
                      <c:pt idx="5501">
                        <c:v>33.630000000000003</c:v>
                      </c:pt>
                      <c:pt idx="5502">
                        <c:v>38.479999999999997</c:v>
                      </c:pt>
                      <c:pt idx="5503">
                        <c:v>42.25</c:v>
                      </c:pt>
                      <c:pt idx="5504">
                        <c:v>38.880000000000003</c:v>
                      </c:pt>
                      <c:pt idx="5505">
                        <c:v>36.1</c:v>
                      </c:pt>
                      <c:pt idx="5506">
                        <c:v>36.85</c:v>
                      </c:pt>
                      <c:pt idx="5507">
                        <c:v>36.29</c:v>
                      </c:pt>
                      <c:pt idx="5508">
                        <c:v>33.17</c:v>
                      </c:pt>
                      <c:pt idx="5509">
                        <c:v>31.1</c:v>
                      </c:pt>
                      <c:pt idx="5510">
                        <c:v>31.56</c:v>
                      </c:pt>
                      <c:pt idx="5511">
                        <c:v>32.4</c:v>
                      </c:pt>
                      <c:pt idx="5512">
                        <c:v>35.71</c:v>
                      </c:pt>
                      <c:pt idx="5513">
                        <c:v>37.43</c:v>
                      </c:pt>
                      <c:pt idx="5514">
                        <c:v>38.700000000000003</c:v>
                      </c:pt>
                      <c:pt idx="5515">
                        <c:v>36.99</c:v>
                      </c:pt>
                      <c:pt idx="5516">
                        <c:v>37.020000000000003</c:v>
                      </c:pt>
                      <c:pt idx="5517">
                        <c:v>34.950000000000003</c:v>
                      </c:pt>
                      <c:pt idx="5518">
                        <c:v>29.45</c:v>
                      </c:pt>
                      <c:pt idx="5519">
                        <c:v>22.22</c:v>
                      </c:pt>
                      <c:pt idx="5520">
                        <c:v>22.01</c:v>
                      </c:pt>
                      <c:pt idx="5521">
                        <c:v>13.11</c:v>
                      </c:pt>
                      <c:pt idx="5522">
                        <c:v>10.93</c:v>
                      </c:pt>
                      <c:pt idx="5523">
                        <c:v>10.47</c:v>
                      </c:pt>
                      <c:pt idx="5524">
                        <c:v>10.93</c:v>
                      </c:pt>
                      <c:pt idx="5525">
                        <c:v>11</c:v>
                      </c:pt>
                      <c:pt idx="5526">
                        <c:v>15.93</c:v>
                      </c:pt>
                      <c:pt idx="5527">
                        <c:v>20.74</c:v>
                      </c:pt>
                      <c:pt idx="5528">
                        <c:v>18.96</c:v>
                      </c:pt>
                      <c:pt idx="5529">
                        <c:v>14.62</c:v>
                      </c:pt>
                      <c:pt idx="5530">
                        <c:v>12.42</c:v>
                      </c:pt>
                      <c:pt idx="5531">
                        <c:v>7.13</c:v>
                      </c:pt>
                      <c:pt idx="5532">
                        <c:v>-7.0000000000000007E-2</c:v>
                      </c:pt>
                      <c:pt idx="5533">
                        <c:v>-4</c:v>
                      </c:pt>
                      <c:pt idx="5534">
                        <c:v>-0.22</c:v>
                      </c:pt>
                      <c:pt idx="5535">
                        <c:v>8.16</c:v>
                      </c:pt>
                      <c:pt idx="5536">
                        <c:v>11.33</c:v>
                      </c:pt>
                      <c:pt idx="5537">
                        <c:v>22.03</c:v>
                      </c:pt>
                      <c:pt idx="5538">
                        <c:v>26.63</c:v>
                      </c:pt>
                      <c:pt idx="5539">
                        <c:v>26.63</c:v>
                      </c:pt>
                      <c:pt idx="5540">
                        <c:v>27</c:v>
                      </c:pt>
                      <c:pt idx="5541">
                        <c:v>25.33</c:v>
                      </c:pt>
                      <c:pt idx="5542">
                        <c:v>20.05</c:v>
                      </c:pt>
                      <c:pt idx="5543">
                        <c:v>10.84</c:v>
                      </c:pt>
                      <c:pt idx="5544">
                        <c:v>10.1</c:v>
                      </c:pt>
                      <c:pt idx="5545">
                        <c:v>9.77</c:v>
                      </c:pt>
                      <c:pt idx="5546">
                        <c:v>9.01</c:v>
                      </c:pt>
                      <c:pt idx="5547">
                        <c:v>5.18</c:v>
                      </c:pt>
                      <c:pt idx="5548">
                        <c:v>8.51</c:v>
                      </c:pt>
                      <c:pt idx="5549">
                        <c:v>8.17</c:v>
                      </c:pt>
                      <c:pt idx="5550">
                        <c:v>5.0599999999999996</c:v>
                      </c:pt>
                      <c:pt idx="5551">
                        <c:v>9.65</c:v>
                      </c:pt>
                      <c:pt idx="5552">
                        <c:v>5.59</c:v>
                      </c:pt>
                      <c:pt idx="5553">
                        <c:v>2.66</c:v>
                      </c:pt>
                      <c:pt idx="5554">
                        <c:v>2.1</c:v>
                      </c:pt>
                      <c:pt idx="5555">
                        <c:v>-0.01</c:v>
                      </c:pt>
                      <c:pt idx="5556">
                        <c:v>-14.35</c:v>
                      </c:pt>
                      <c:pt idx="5557">
                        <c:v>-12.93</c:v>
                      </c:pt>
                      <c:pt idx="5558">
                        <c:v>-6.37</c:v>
                      </c:pt>
                      <c:pt idx="5559">
                        <c:v>-3.57</c:v>
                      </c:pt>
                      <c:pt idx="5560">
                        <c:v>7.53</c:v>
                      </c:pt>
                      <c:pt idx="5561">
                        <c:v>14.13</c:v>
                      </c:pt>
                      <c:pt idx="5562">
                        <c:v>26.5</c:v>
                      </c:pt>
                      <c:pt idx="5563">
                        <c:v>28.5</c:v>
                      </c:pt>
                      <c:pt idx="5564">
                        <c:v>30.57</c:v>
                      </c:pt>
                      <c:pt idx="5565">
                        <c:v>29.06</c:v>
                      </c:pt>
                      <c:pt idx="5566">
                        <c:v>23.18</c:v>
                      </c:pt>
                      <c:pt idx="5567">
                        <c:v>19.55</c:v>
                      </c:pt>
                      <c:pt idx="5568">
                        <c:v>12.34</c:v>
                      </c:pt>
                      <c:pt idx="5569">
                        <c:v>10.96</c:v>
                      </c:pt>
                      <c:pt idx="5570">
                        <c:v>9.74</c:v>
                      </c:pt>
                      <c:pt idx="5571">
                        <c:v>9.9600000000000009</c:v>
                      </c:pt>
                      <c:pt idx="5572">
                        <c:v>20.34</c:v>
                      </c:pt>
                      <c:pt idx="5573">
                        <c:v>29.93</c:v>
                      </c:pt>
                      <c:pt idx="5574">
                        <c:v>35.17</c:v>
                      </c:pt>
                      <c:pt idx="5575">
                        <c:v>36.799999999999997</c:v>
                      </c:pt>
                      <c:pt idx="5576">
                        <c:v>35.54</c:v>
                      </c:pt>
                      <c:pt idx="5577">
                        <c:v>33.770000000000003</c:v>
                      </c:pt>
                      <c:pt idx="5578">
                        <c:v>31.16</c:v>
                      </c:pt>
                      <c:pt idx="5579">
                        <c:v>30.96</c:v>
                      </c:pt>
                      <c:pt idx="5580">
                        <c:v>29.62</c:v>
                      </c:pt>
                      <c:pt idx="5581">
                        <c:v>27.93</c:v>
                      </c:pt>
                      <c:pt idx="5582">
                        <c:v>29.87</c:v>
                      </c:pt>
                      <c:pt idx="5583">
                        <c:v>32.06</c:v>
                      </c:pt>
                      <c:pt idx="5584">
                        <c:v>34.71</c:v>
                      </c:pt>
                      <c:pt idx="5585">
                        <c:v>39.799999999999997</c:v>
                      </c:pt>
                      <c:pt idx="5586">
                        <c:v>41.86</c:v>
                      </c:pt>
                      <c:pt idx="5587">
                        <c:v>41.01</c:v>
                      </c:pt>
                      <c:pt idx="5588">
                        <c:v>40.31</c:v>
                      </c:pt>
                      <c:pt idx="5589">
                        <c:v>37.71</c:v>
                      </c:pt>
                      <c:pt idx="5590">
                        <c:v>32</c:v>
                      </c:pt>
                      <c:pt idx="5591">
                        <c:v>32.770000000000003</c:v>
                      </c:pt>
                      <c:pt idx="5592">
                        <c:v>30</c:v>
                      </c:pt>
                      <c:pt idx="5593">
                        <c:v>29.53</c:v>
                      </c:pt>
                      <c:pt idx="5594">
                        <c:v>27.9</c:v>
                      </c:pt>
                      <c:pt idx="5595">
                        <c:v>27.78</c:v>
                      </c:pt>
                      <c:pt idx="5596">
                        <c:v>31.78</c:v>
                      </c:pt>
                      <c:pt idx="5597">
                        <c:v>37.71</c:v>
                      </c:pt>
                      <c:pt idx="5598">
                        <c:v>42.24</c:v>
                      </c:pt>
                      <c:pt idx="5599">
                        <c:v>42.42</c:v>
                      </c:pt>
                      <c:pt idx="5600">
                        <c:v>39.99</c:v>
                      </c:pt>
                      <c:pt idx="5601">
                        <c:v>37.76</c:v>
                      </c:pt>
                      <c:pt idx="5602">
                        <c:v>36.909999999999997</c:v>
                      </c:pt>
                      <c:pt idx="5603">
                        <c:v>35.57</c:v>
                      </c:pt>
                      <c:pt idx="5604">
                        <c:v>35.36</c:v>
                      </c:pt>
                      <c:pt idx="5605">
                        <c:v>35.08</c:v>
                      </c:pt>
                      <c:pt idx="5606">
                        <c:v>36.06</c:v>
                      </c:pt>
                      <c:pt idx="5607">
                        <c:v>37.39</c:v>
                      </c:pt>
                      <c:pt idx="5608">
                        <c:v>42.02</c:v>
                      </c:pt>
                      <c:pt idx="5609">
                        <c:v>44.71</c:v>
                      </c:pt>
                      <c:pt idx="5610">
                        <c:v>48.17</c:v>
                      </c:pt>
                      <c:pt idx="5611">
                        <c:v>45.07</c:v>
                      </c:pt>
                      <c:pt idx="5612">
                        <c:v>43.38</c:v>
                      </c:pt>
                      <c:pt idx="5613">
                        <c:v>38.81</c:v>
                      </c:pt>
                      <c:pt idx="5614">
                        <c:v>34.85</c:v>
                      </c:pt>
                      <c:pt idx="5615">
                        <c:v>30.97</c:v>
                      </c:pt>
                      <c:pt idx="5616">
                        <c:v>30.93</c:v>
                      </c:pt>
                      <c:pt idx="5617">
                        <c:v>29.63</c:v>
                      </c:pt>
                      <c:pt idx="5618">
                        <c:v>28.4</c:v>
                      </c:pt>
                      <c:pt idx="5619">
                        <c:v>28.06</c:v>
                      </c:pt>
                      <c:pt idx="5620">
                        <c:v>29.76</c:v>
                      </c:pt>
                      <c:pt idx="5621">
                        <c:v>36.93</c:v>
                      </c:pt>
                      <c:pt idx="5622">
                        <c:v>40.92</c:v>
                      </c:pt>
                      <c:pt idx="5623">
                        <c:v>43.36</c:v>
                      </c:pt>
                      <c:pt idx="5624">
                        <c:v>40.72</c:v>
                      </c:pt>
                      <c:pt idx="5625">
                        <c:v>38.24</c:v>
                      </c:pt>
                      <c:pt idx="5626">
                        <c:v>37.5</c:v>
                      </c:pt>
                      <c:pt idx="5627">
                        <c:v>36.25</c:v>
                      </c:pt>
                      <c:pt idx="5628">
                        <c:v>34</c:v>
                      </c:pt>
                      <c:pt idx="5629">
                        <c:v>32.5</c:v>
                      </c:pt>
                      <c:pt idx="5630">
                        <c:v>34.1</c:v>
                      </c:pt>
                      <c:pt idx="5631">
                        <c:v>37.06</c:v>
                      </c:pt>
                      <c:pt idx="5632">
                        <c:v>40.24</c:v>
                      </c:pt>
                      <c:pt idx="5633">
                        <c:v>45.94</c:v>
                      </c:pt>
                      <c:pt idx="5634">
                        <c:v>48.05</c:v>
                      </c:pt>
                      <c:pt idx="5635">
                        <c:v>44.9</c:v>
                      </c:pt>
                      <c:pt idx="5636">
                        <c:v>41.92</c:v>
                      </c:pt>
                      <c:pt idx="5637">
                        <c:v>35.96</c:v>
                      </c:pt>
                      <c:pt idx="5638">
                        <c:v>31.29</c:v>
                      </c:pt>
                      <c:pt idx="5639">
                        <c:v>29.99</c:v>
                      </c:pt>
                      <c:pt idx="5640">
                        <c:v>29.48</c:v>
                      </c:pt>
                      <c:pt idx="5641">
                        <c:v>28.1</c:v>
                      </c:pt>
                      <c:pt idx="5642">
                        <c:v>27.73</c:v>
                      </c:pt>
                      <c:pt idx="5643">
                        <c:v>28</c:v>
                      </c:pt>
                      <c:pt idx="5644">
                        <c:v>30.27</c:v>
                      </c:pt>
                      <c:pt idx="5645">
                        <c:v>36.450000000000003</c:v>
                      </c:pt>
                      <c:pt idx="5646">
                        <c:v>39.42</c:v>
                      </c:pt>
                      <c:pt idx="5647">
                        <c:v>42.14</c:v>
                      </c:pt>
                      <c:pt idx="5648">
                        <c:v>42.09</c:v>
                      </c:pt>
                      <c:pt idx="5649">
                        <c:v>40.700000000000003</c:v>
                      </c:pt>
                      <c:pt idx="5650">
                        <c:v>39.94</c:v>
                      </c:pt>
                      <c:pt idx="5651">
                        <c:v>32.380000000000003</c:v>
                      </c:pt>
                      <c:pt idx="5652">
                        <c:v>29.63</c:v>
                      </c:pt>
                      <c:pt idx="5653">
                        <c:v>29.69</c:v>
                      </c:pt>
                      <c:pt idx="5654">
                        <c:v>29.8</c:v>
                      </c:pt>
                      <c:pt idx="5655">
                        <c:v>31.76</c:v>
                      </c:pt>
                      <c:pt idx="5656">
                        <c:v>39.700000000000003</c:v>
                      </c:pt>
                      <c:pt idx="5657">
                        <c:v>42.75</c:v>
                      </c:pt>
                      <c:pt idx="5658">
                        <c:v>44.89</c:v>
                      </c:pt>
                      <c:pt idx="5659">
                        <c:v>44.55</c:v>
                      </c:pt>
                      <c:pt idx="5660">
                        <c:v>42.91</c:v>
                      </c:pt>
                      <c:pt idx="5661">
                        <c:v>39.22</c:v>
                      </c:pt>
                      <c:pt idx="5662">
                        <c:v>33.96</c:v>
                      </c:pt>
                      <c:pt idx="5663">
                        <c:v>33.43</c:v>
                      </c:pt>
                      <c:pt idx="5664">
                        <c:v>31.31</c:v>
                      </c:pt>
                      <c:pt idx="5665">
                        <c:v>30.13</c:v>
                      </c:pt>
                      <c:pt idx="5666">
                        <c:v>29.51</c:v>
                      </c:pt>
                      <c:pt idx="5667">
                        <c:v>29.94</c:v>
                      </c:pt>
                      <c:pt idx="5668">
                        <c:v>32.28</c:v>
                      </c:pt>
                      <c:pt idx="5669">
                        <c:v>38.049999999999997</c:v>
                      </c:pt>
                      <c:pt idx="5670">
                        <c:v>42.97</c:v>
                      </c:pt>
                      <c:pt idx="5671">
                        <c:v>44.9</c:v>
                      </c:pt>
                      <c:pt idx="5672">
                        <c:v>44.67</c:v>
                      </c:pt>
                      <c:pt idx="5673">
                        <c:v>41.77</c:v>
                      </c:pt>
                      <c:pt idx="5674">
                        <c:v>39.869999999999997</c:v>
                      </c:pt>
                      <c:pt idx="5675">
                        <c:v>37.92</c:v>
                      </c:pt>
                      <c:pt idx="5676">
                        <c:v>34.979999999999997</c:v>
                      </c:pt>
                      <c:pt idx="5677">
                        <c:v>33.090000000000003</c:v>
                      </c:pt>
                      <c:pt idx="5678">
                        <c:v>33.99</c:v>
                      </c:pt>
                      <c:pt idx="5679">
                        <c:v>36.04</c:v>
                      </c:pt>
                      <c:pt idx="5680">
                        <c:v>40.409999999999997</c:v>
                      </c:pt>
                      <c:pt idx="5681">
                        <c:v>43.98</c:v>
                      </c:pt>
                      <c:pt idx="5682">
                        <c:v>45.7</c:v>
                      </c:pt>
                      <c:pt idx="5683">
                        <c:v>45.4</c:v>
                      </c:pt>
                      <c:pt idx="5684">
                        <c:v>42.91</c:v>
                      </c:pt>
                      <c:pt idx="5685">
                        <c:v>39.700000000000003</c:v>
                      </c:pt>
                      <c:pt idx="5686">
                        <c:v>35.43</c:v>
                      </c:pt>
                      <c:pt idx="5687">
                        <c:v>34.75</c:v>
                      </c:pt>
                      <c:pt idx="5688">
                        <c:v>32.21</c:v>
                      </c:pt>
                      <c:pt idx="5689">
                        <c:v>31.38</c:v>
                      </c:pt>
                      <c:pt idx="5690">
                        <c:v>30.89</c:v>
                      </c:pt>
                      <c:pt idx="5691">
                        <c:v>30.61</c:v>
                      </c:pt>
                      <c:pt idx="5692">
                        <c:v>30.29</c:v>
                      </c:pt>
                      <c:pt idx="5693">
                        <c:v>30.47</c:v>
                      </c:pt>
                      <c:pt idx="5694">
                        <c:v>31.04</c:v>
                      </c:pt>
                      <c:pt idx="5695">
                        <c:v>34.82</c:v>
                      </c:pt>
                      <c:pt idx="5696">
                        <c:v>35.96</c:v>
                      </c:pt>
                      <c:pt idx="5697">
                        <c:v>35.65</c:v>
                      </c:pt>
                      <c:pt idx="5698">
                        <c:v>34.99</c:v>
                      </c:pt>
                      <c:pt idx="5699">
                        <c:v>31.52</c:v>
                      </c:pt>
                      <c:pt idx="5700">
                        <c:v>30.78</c:v>
                      </c:pt>
                      <c:pt idx="5701">
                        <c:v>30.23</c:v>
                      </c:pt>
                      <c:pt idx="5702">
                        <c:v>31.92</c:v>
                      </c:pt>
                      <c:pt idx="5703">
                        <c:v>32.17</c:v>
                      </c:pt>
                      <c:pt idx="5704">
                        <c:v>36.82</c:v>
                      </c:pt>
                      <c:pt idx="5705">
                        <c:v>39.67</c:v>
                      </c:pt>
                      <c:pt idx="5706">
                        <c:v>42</c:v>
                      </c:pt>
                      <c:pt idx="5707">
                        <c:v>42.38</c:v>
                      </c:pt>
                      <c:pt idx="5708">
                        <c:v>39.97</c:v>
                      </c:pt>
                      <c:pt idx="5709">
                        <c:v>38.44</c:v>
                      </c:pt>
                      <c:pt idx="5710">
                        <c:v>34.9</c:v>
                      </c:pt>
                      <c:pt idx="5711">
                        <c:v>34.950000000000003</c:v>
                      </c:pt>
                      <c:pt idx="5712">
                        <c:v>31.88</c:v>
                      </c:pt>
                      <c:pt idx="5713">
                        <c:v>30.01</c:v>
                      </c:pt>
                      <c:pt idx="5714">
                        <c:v>28.71</c:v>
                      </c:pt>
                      <c:pt idx="5715">
                        <c:v>29.32</c:v>
                      </c:pt>
                      <c:pt idx="5716">
                        <c:v>28.82</c:v>
                      </c:pt>
                      <c:pt idx="5717">
                        <c:v>29.67</c:v>
                      </c:pt>
                      <c:pt idx="5718">
                        <c:v>28.46</c:v>
                      </c:pt>
                      <c:pt idx="5719">
                        <c:v>29.44</c:v>
                      </c:pt>
                      <c:pt idx="5720">
                        <c:v>26.04</c:v>
                      </c:pt>
                      <c:pt idx="5721">
                        <c:v>22.18</c:v>
                      </c:pt>
                      <c:pt idx="5722">
                        <c:v>22.06</c:v>
                      </c:pt>
                      <c:pt idx="5723">
                        <c:v>20.74</c:v>
                      </c:pt>
                      <c:pt idx="5724">
                        <c:v>25.42</c:v>
                      </c:pt>
                      <c:pt idx="5725">
                        <c:v>23.89</c:v>
                      </c:pt>
                      <c:pt idx="5726">
                        <c:v>27</c:v>
                      </c:pt>
                      <c:pt idx="5727">
                        <c:v>28.74</c:v>
                      </c:pt>
                      <c:pt idx="5728">
                        <c:v>30.63</c:v>
                      </c:pt>
                      <c:pt idx="5729">
                        <c:v>35.200000000000003</c:v>
                      </c:pt>
                      <c:pt idx="5730">
                        <c:v>38.96</c:v>
                      </c:pt>
                      <c:pt idx="5731">
                        <c:v>42.21</c:v>
                      </c:pt>
                      <c:pt idx="5732">
                        <c:v>42.43</c:v>
                      </c:pt>
                      <c:pt idx="5733">
                        <c:v>38</c:v>
                      </c:pt>
                      <c:pt idx="5734">
                        <c:v>35.979999999999997</c:v>
                      </c:pt>
                      <c:pt idx="5735">
                        <c:v>33.54</c:v>
                      </c:pt>
                      <c:pt idx="5736">
                        <c:v>30.94</c:v>
                      </c:pt>
                      <c:pt idx="5737">
                        <c:v>30.64</c:v>
                      </c:pt>
                      <c:pt idx="5738">
                        <c:v>30.4</c:v>
                      </c:pt>
                      <c:pt idx="5739">
                        <c:v>30.42</c:v>
                      </c:pt>
                      <c:pt idx="5740">
                        <c:v>31.99</c:v>
                      </c:pt>
                      <c:pt idx="5741">
                        <c:v>41.99</c:v>
                      </c:pt>
                      <c:pt idx="5742">
                        <c:v>43.98</c:v>
                      </c:pt>
                      <c:pt idx="5743">
                        <c:v>45.56</c:v>
                      </c:pt>
                      <c:pt idx="5744">
                        <c:v>44.97</c:v>
                      </c:pt>
                      <c:pt idx="5745">
                        <c:v>43.5</c:v>
                      </c:pt>
                      <c:pt idx="5746">
                        <c:v>40.06</c:v>
                      </c:pt>
                      <c:pt idx="5747">
                        <c:v>35.630000000000003</c:v>
                      </c:pt>
                      <c:pt idx="5748">
                        <c:v>32.4</c:v>
                      </c:pt>
                      <c:pt idx="5749">
                        <c:v>31.5</c:v>
                      </c:pt>
                      <c:pt idx="5750">
                        <c:v>36.950000000000003</c:v>
                      </c:pt>
                      <c:pt idx="5751">
                        <c:v>39.51</c:v>
                      </c:pt>
                      <c:pt idx="5752">
                        <c:v>44.53</c:v>
                      </c:pt>
                      <c:pt idx="5753">
                        <c:v>46.6</c:v>
                      </c:pt>
                      <c:pt idx="5754">
                        <c:v>50</c:v>
                      </c:pt>
                      <c:pt idx="5755">
                        <c:v>47.59</c:v>
                      </c:pt>
                      <c:pt idx="5756">
                        <c:v>44.26</c:v>
                      </c:pt>
                      <c:pt idx="5757">
                        <c:v>38.99</c:v>
                      </c:pt>
                      <c:pt idx="5758">
                        <c:v>32</c:v>
                      </c:pt>
                      <c:pt idx="5759">
                        <c:v>30.86</c:v>
                      </c:pt>
                      <c:pt idx="5760">
                        <c:v>30.2</c:v>
                      </c:pt>
                      <c:pt idx="5761">
                        <c:v>29.96</c:v>
                      </c:pt>
                      <c:pt idx="5762">
                        <c:v>29.31</c:v>
                      </c:pt>
                      <c:pt idx="5763">
                        <c:v>29.38</c:v>
                      </c:pt>
                      <c:pt idx="5764">
                        <c:v>30.77</c:v>
                      </c:pt>
                      <c:pt idx="5765">
                        <c:v>35</c:v>
                      </c:pt>
                      <c:pt idx="5766">
                        <c:v>42.07</c:v>
                      </c:pt>
                      <c:pt idx="5767">
                        <c:v>45.54</c:v>
                      </c:pt>
                      <c:pt idx="5768">
                        <c:v>42.99</c:v>
                      </c:pt>
                      <c:pt idx="5769">
                        <c:v>38.97</c:v>
                      </c:pt>
                      <c:pt idx="5770">
                        <c:v>35.58</c:v>
                      </c:pt>
                      <c:pt idx="5771">
                        <c:v>31.32</c:v>
                      </c:pt>
                      <c:pt idx="5772">
                        <c:v>32.1</c:v>
                      </c:pt>
                      <c:pt idx="5773">
                        <c:v>32.49</c:v>
                      </c:pt>
                      <c:pt idx="5774">
                        <c:v>33</c:v>
                      </c:pt>
                      <c:pt idx="5775">
                        <c:v>37.68</c:v>
                      </c:pt>
                      <c:pt idx="5776">
                        <c:v>45.47</c:v>
                      </c:pt>
                      <c:pt idx="5777">
                        <c:v>49.01</c:v>
                      </c:pt>
                      <c:pt idx="5778">
                        <c:v>52.47</c:v>
                      </c:pt>
                      <c:pt idx="5779">
                        <c:v>49.98</c:v>
                      </c:pt>
                      <c:pt idx="5780">
                        <c:v>45.87</c:v>
                      </c:pt>
                      <c:pt idx="5781">
                        <c:v>40.04</c:v>
                      </c:pt>
                      <c:pt idx="5782">
                        <c:v>32.82</c:v>
                      </c:pt>
                      <c:pt idx="5783">
                        <c:v>32.979999999999997</c:v>
                      </c:pt>
                      <c:pt idx="5784">
                        <c:v>30.26</c:v>
                      </c:pt>
                      <c:pt idx="5785">
                        <c:v>29.83</c:v>
                      </c:pt>
                      <c:pt idx="5786">
                        <c:v>29.56</c:v>
                      </c:pt>
                      <c:pt idx="5787">
                        <c:v>29.6</c:v>
                      </c:pt>
                      <c:pt idx="5788">
                        <c:v>30.82</c:v>
                      </c:pt>
                      <c:pt idx="5789">
                        <c:v>36.51</c:v>
                      </c:pt>
                      <c:pt idx="5790">
                        <c:v>42</c:v>
                      </c:pt>
                      <c:pt idx="5791">
                        <c:v>44.43</c:v>
                      </c:pt>
                      <c:pt idx="5792">
                        <c:v>43.97</c:v>
                      </c:pt>
                      <c:pt idx="5793">
                        <c:v>43.39</c:v>
                      </c:pt>
                      <c:pt idx="5794">
                        <c:v>39.909999999999997</c:v>
                      </c:pt>
                      <c:pt idx="5795">
                        <c:v>33</c:v>
                      </c:pt>
                      <c:pt idx="5796">
                        <c:v>32.75</c:v>
                      </c:pt>
                      <c:pt idx="5797">
                        <c:v>32.83</c:v>
                      </c:pt>
                      <c:pt idx="5798">
                        <c:v>32.14</c:v>
                      </c:pt>
                      <c:pt idx="5799">
                        <c:v>37.4</c:v>
                      </c:pt>
                      <c:pt idx="5800">
                        <c:v>40.56</c:v>
                      </c:pt>
                      <c:pt idx="5801">
                        <c:v>42.39</c:v>
                      </c:pt>
                      <c:pt idx="5802">
                        <c:v>42.4</c:v>
                      </c:pt>
                      <c:pt idx="5803">
                        <c:v>41.39</c:v>
                      </c:pt>
                      <c:pt idx="5804">
                        <c:v>37.04</c:v>
                      </c:pt>
                      <c:pt idx="5805">
                        <c:v>32.479999999999997</c:v>
                      </c:pt>
                      <c:pt idx="5806">
                        <c:v>30.89</c:v>
                      </c:pt>
                      <c:pt idx="5807">
                        <c:v>31</c:v>
                      </c:pt>
                      <c:pt idx="5808">
                        <c:v>29.97</c:v>
                      </c:pt>
                      <c:pt idx="5809">
                        <c:v>29.75</c:v>
                      </c:pt>
                      <c:pt idx="5810">
                        <c:v>28.83</c:v>
                      </c:pt>
                      <c:pt idx="5811">
                        <c:v>28.89</c:v>
                      </c:pt>
                      <c:pt idx="5812">
                        <c:v>30.06</c:v>
                      </c:pt>
                      <c:pt idx="5813">
                        <c:v>34.15</c:v>
                      </c:pt>
                      <c:pt idx="5814">
                        <c:v>39.92</c:v>
                      </c:pt>
                      <c:pt idx="5815">
                        <c:v>43.28</c:v>
                      </c:pt>
                      <c:pt idx="5816">
                        <c:v>44.92</c:v>
                      </c:pt>
                      <c:pt idx="5817">
                        <c:v>44.08</c:v>
                      </c:pt>
                      <c:pt idx="5818">
                        <c:v>44.8</c:v>
                      </c:pt>
                      <c:pt idx="5819">
                        <c:v>42.98</c:v>
                      </c:pt>
                      <c:pt idx="5820">
                        <c:v>41.97</c:v>
                      </c:pt>
                      <c:pt idx="5821">
                        <c:v>40.06</c:v>
                      </c:pt>
                      <c:pt idx="5822">
                        <c:v>41.97</c:v>
                      </c:pt>
                      <c:pt idx="5823">
                        <c:v>41.94</c:v>
                      </c:pt>
                      <c:pt idx="5824">
                        <c:v>42.05</c:v>
                      </c:pt>
                      <c:pt idx="5825">
                        <c:v>43.6</c:v>
                      </c:pt>
                      <c:pt idx="5826">
                        <c:v>43.8</c:v>
                      </c:pt>
                      <c:pt idx="5827">
                        <c:v>44.09</c:v>
                      </c:pt>
                      <c:pt idx="5828">
                        <c:v>41.92</c:v>
                      </c:pt>
                      <c:pt idx="5829">
                        <c:v>35.590000000000003</c:v>
                      </c:pt>
                      <c:pt idx="5830">
                        <c:v>33.409999999999997</c:v>
                      </c:pt>
                      <c:pt idx="5831">
                        <c:v>33.090000000000003</c:v>
                      </c:pt>
                      <c:pt idx="5832">
                        <c:v>31.07</c:v>
                      </c:pt>
                      <c:pt idx="5833">
                        <c:v>29.89</c:v>
                      </c:pt>
                      <c:pt idx="5834">
                        <c:v>29.64</c:v>
                      </c:pt>
                      <c:pt idx="5835">
                        <c:v>29.65</c:v>
                      </c:pt>
                      <c:pt idx="5836">
                        <c:v>31.71</c:v>
                      </c:pt>
                      <c:pt idx="5837">
                        <c:v>36.04</c:v>
                      </c:pt>
                      <c:pt idx="5838">
                        <c:v>43.46</c:v>
                      </c:pt>
                      <c:pt idx="5839">
                        <c:v>45.83</c:v>
                      </c:pt>
                      <c:pt idx="5840">
                        <c:v>45.12</c:v>
                      </c:pt>
                      <c:pt idx="5841">
                        <c:v>44.9</c:v>
                      </c:pt>
                      <c:pt idx="5842">
                        <c:v>45.02</c:v>
                      </c:pt>
                      <c:pt idx="5843">
                        <c:v>44.87</c:v>
                      </c:pt>
                      <c:pt idx="5844">
                        <c:v>43.09</c:v>
                      </c:pt>
                      <c:pt idx="5845">
                        <c:v>39.909999999999997</c:v>
                      </c:pt>
                      <c:pt idx="5846">
                        <c:v>38.93</c:v>
                      </c:pt>
                      <c:pt idx="5847">
                        <c:v>38.56</c:v>
                      </c:pt>
                      <c:pt idx="5848">
                        <c:v>40.36</c:v>
                      </c:pt>
                      <c:pt idx="5849">
                        <c:v>42.2</c:v>
                      </c:pt>
                      <c:pt idx="5850">
                        <c:v>43.74</c:v>
                      </c:pt>
                      <c:pt idx="5851">
                        <c:v>43.95</c:v>
                      </c:pt>
                      <c:pt idx="5852">
                        <c:v>39.4</c:v>
                      </c:pt>
                      <c:pt idx="5853">
                        <c:v>36.21</c:v>
                      </c:pt>
                      <c:pt idx="5854">
                        <c:v>34.51</c:v>
                      </c:pt>
                      <c:pt idx="5855">
                        <c:v>32.22</c:v>
                      </c:pt>
                      <c:pt idx="5856">
                        <c:v>31.73</c:v>
                      </c:pt>
                      <c:pt idx="5857">
                        <c:v>30.06</c:v>
                      </c:pt>
                      <c:pt idx="5858">
                        <c:v>29.64</c:v>
                      </c:pt>
                      <c:pt idx="5859">
                        <c:v>29.48</c:v>
                      </c:pt>
                      <c:pt idx="5860">
                        <c:v>29.99</c:v>
                      </c:pt>
                      <c:pt idx="5861">
                        <c:v>31.1</c:v>
                      </c:pt>
                      <c:pt idx="5862">
                        <c:v>32.39</c:v>
                      </c:pt>
                      <c:pt idx="5863">
                        <c:v>35.1</c:v>
                      </c:pt>
                      <c:pt idx="5864">
                        <c:v>38</c:v>
                      </c:pt>
                      <c:pt idx="5865">
                        <c:v>38.15</c:v>
                      </c:pt>
                      <c:pt idx="5866">
                        <c:v>38.03</c:v>
                      </c:pt>
                      <c:pt idx="5867">
                        <c:v>35.369999999999997</c:v>
                      </c:pt>
                      <c:pt idx="5868">
                        <c:v>33</c:v>
                      </c:pt>
                      <c:pt idx="5869">
                        <c:v>31.78</c:v>
                      </c:pt>
                      <c:pt idx="5870">
                        <c:v>30.97</c:v>
                      </c:pt>
                      <c:pt idx="5871">
                        <c:v>31.5</c:v>
                      </c:pt>
                      <c:pt idx="5872">
                        <c:v>32.99</c:v>
                      </c:pt>
                      <c:pt idx="5873">
                        <c:v>37.25</c:v>
                      </c:pt>
                      <c:pt idx="5874">
                        <c:v>40.32</c:v>
                      </c:pt>
                      <c:pt idx="5875">
                        <c:v>40.520000000000003</c:v>
                      </c:pt>
                      <c:pt idx="5876">
                        <c:v>38.020000000000003</c:v>
                      </c:pt>
                      <c:pt idx="5877">
                        <c:v>35.65</c:v>
                      </c:pt>
                      <c:pt idx="5878">
                        <c:v>31.02</c:v>
                      </c:pt>
                      <c:pt idx="5879">
                        <c:v>32.85</c:v>
                      </c:pt>
                      <c:pt idx="5880">
                        <c:v>27.84</c:v>
                      </c:pt>
                      <c:pt idx="5881">
                        <c:v>29.8</c:v>
                      </c:pt>
                      <c:pt idx="5882">
                        <c:v>28.12</c:v>
                      </c:pt>
                      <c:pt idx="5883">
                        <c:v>27.6</c:v>
                      </c:pt>
                      <c:pt idx="5884">
                        <c:v>27.64</c:v>
                      </c:pt>
                      <c:pt idx="5885">
                        <c:v>28.08</c:v>
                      </c:pt>
                      <c:pt idx="5886">
                        <c:v>27.63</c:v>
                      </c:pt>
                      <c:pt idx="5887">
                        <c:v>29.45</c:v>
                      </c:pt>
                      <c:pt idx="5888">
                        <c:v>30.25</c:v>
                      </c:pt>
                      <c:pt idx="5889">
                        <c:v>29.32</c:v>
                      </c:pt>
                      <c:pt idx="5890">
                        <c:v>30.09</c:v>
                      </c:pt>
                      <c:pt idx="5891">
                        <c:v>30.7</c:v>
                      </c:pt>
                      <c:pt idx="5892">
                        <c:v>26.26</c:v>
                      </c:pt>
                      <c:pt idx="5893">
                        <c:v>25.95</c:v>
                      </c:pt>
                      <c:pt idx="5894">
                        <c:v>25</c:v>
                      </c:pt>
                      <c:pt idx="5895">
                        <c:v>26.46</c:v>
                      </c:pt>
                      <c:pt idx="5896">
                        <c:v>29.73</c:v>
                      </c:pt>
                      <c:pt idx="5897">
                        <c:v>34.15</c:v>
                      </c:pt>
                      <c:pt idx="5898">
                        <c:v>38.880000000000003</c:v>
                      </c:pt>
                      <c:pt idx="5899">
                        <c:v>42.27</c:v>
                      </c:pt>
                      <c:pt idx="5900">
                        <c:v>39.909999999999997</c:v>
                      </c:pt>
                      <c:pt idx="5901">
                        <c:v>38.42</c:v>
                      </c:pt>
                      <c:pt idx="5902">
                        <c:v>33.43</c:v>
                      </c:pt>
                      <c:pt idx="5903">
                        <c:v>31.03</c:v>
                      </c:pt>
                      <c:pt idx="5904">
                        <c:v>29.72</c:v>
                      </c:pt>
                      <c:pt idx="5905">
                        <c:v>29.41</c:v>
                      </c:pt>
                      <c:pt idx="5906">
                        <c:v>27.77</c:v>
                      </c:pt>
                      <c:pt idx="5907">
                        <c:v>28.09</c:v>
                      </c:pt>
                      <c:pt idx="5908">
                        <c:v>30.4</c:v>
                      </c:pt>
                      <c:pt idx="5909">
                        <c:v>39.67</c:v>
                      </c:pt>
                      <c:pt idx="5910">
                        <c:v>43.92</c:v>
                      </c:pt>
                      <c:pt idx="5911">
                        <c:v>42.95</c:v>
                      </c:pt>
                      <c:pt idx="5912">
                        <c:v>42.04</c:v>
                      </c:pt>
                      <c:pt idx="5913">
                        <c:v>38.85</c:v>
                      </c:pt>
                      <c:pt idx="5914">
                        <c:v>35.17</c:v>
                      </c:pt>
                      <c:pt idx="5915">
                        <c:v>32.36</c:v>
                      </c:pt>
                      <c:pt idx="5916">
                        <c:v>32.950000000000003</c:v>
                      </c:pt>
                      <c:pt idx="5917">
                        <c:v>33.229999999999997</c:v>
                      </c:pt>
                      <c:pt idx="5918">
                        <c:v>35.26</c:v>
                      </c:pt>
                      <c:pt idx="5919">
                        <c:v>36.6</c:v>
                      </c:pt>
                      <c:pt idx="5920">
                        <c:v>39.229999999999997</c:v>
                      </c:pt>
                      <c:pt idx="5921">
                        <c:v>42.91</c:v>
                      </c:pt>
                      <c:pt idx="5922">
                        <c:v>45.48</c:v>
                      </c:pt>
                      <c:pt idx="5923">
                        <c:v>45.71</c:v>
                      </c:pt>
                      <c:pt idx="5924">
                        <c:v>42.3</c:v>
                      </c:pt>
                      <c:pt idx="5925">
                        <c:v>38.93</c:v>
                      </c:pt>
                      <c:pt idx="5926">
                        <c:v>33.22</c:v>
                      </c:pt>
                      <c:pt idx="5927">
                        <c:v>31.92</c:v>
                      </c:pt>
                      <c:pt idx="5928">
                        <c:v>29.93</c:v>
                      </c:pt>
                      <c:pt idx="5929">
                        <c:v>29.7</c:v>
                      </c:pt>
                      <c:pt idx="5930">
                        <c:v>29.62</c:v>
                      </c:pt>
                      <c:pt idx="5931">
                        <c:v>29.68</c:v>
                      </c:pt>
                      <c:pt idx="5932">
                        <c:v>31.02</c:v>
                      </c:pt>
                      <c:pt idx="5933">
                        <c:v>36.369999999999997</c:v>
                      </c:pt>
                      <c:pt idx="5934">
                        <c:v>42.39</c:v>
                      </c:pt>
                      <c:pt idx="5935">
                        <c:v>44.05</c:v>
                      </c:pt>
                      <c:pt idx="5936">
                        <c:v>42.93</c:v>
                      </c:pt>
                      <c:pt idx="5937">
                        <c:v>41.26</c:v>
                      </c:pt>
                      <c:pt idx="5938">
                        <c:v>41.76</c:v>
                      </c:pt>
                      <c:pt idx="5939">
                        <c:v>38.49</c:v>
                      </c:pt>
                      <c:pt idx="5940">
                        <c:v>37.25</c:v>
                      </c:pt>
                      <c:pt idx="5941">
                        <c:v>36.67</c:v>
                      </c:pt>
                      <c:pt idx="5942">
                        <c:v>38.43</c:v>
                      </c:pt>
                      <c:pt idx="5943">
                        <c:v>39.049999999999997</c:v>
                      </c:pt>
                      <c:pt idx="5944">
                        <c:v>40.56</c:v>
                      </c:pt>
                      <c:pt idx="5945">
                        <c:v>43.04</c:v>
                      </c:pt>
                      <c:pt idx="5946">
                        <c:v>44.22</c:v>
                      </c:pt>
                      <c:pt idx="5947">
                        <c:v>44.97</c:v>
                      </c:pt>
                      <c:pt idx="5948">
                        <c:v>40.4</c:v>
                      </c:pt>
                      <c:pt idx="5949">
                        <c:v>37.25</c:v>
                      </c:pt>
                      <c:pt idx="5950">
                        <c:v>32.97</c:v>
                      </c:pt>
                      <c:pt idx="5951">
                        <c:v>29.47</c:v>
                      </c:pt>
                      <c:pt idx="5952">
                        <c:v>29.06</c:v>
                      </c:pt>
                      <c:pt idx="5953">
                        <c:v>27.83</c:v>
                      </c:pt>
                      <c:pt idx="5954">
                        <c:v>26.19</c:v>
                      </c:pt>
                      <c:pt idx="5955">
                        <c:v>26.42</c:v>
                      </c:pt>
                      <c:pt idx="5956">
                        <c:v>29.19</c:v>
                      </c:pt>
                      <c:pt idx="5957">
                        <c:v>36.32</c:v>
                      </c:pt>
                      <c:pt idx="5958">
                        <c:v>42.02</c:v>
                      </c:pt>
                      <c:pt idx="5959">
                        <c:v>43.73</c:v>
                      </c:pt>
                      <c:pt idx="5960">
                        <c:v>43</c:v>
                      </c:pt>
                      <c:pt idx="5961">
                        <c:v>41</c:v>
                      </c:pt>
                      <c:pt idx="5962">
                        <c:v>40.07</c:v>
                      </c:pt>
                      <c:pt idx="5963">
                        <c:v>35.92</c:v>
                      </c:pt>
                      <c:pt idx="5964">
                        <c:v>29.88</c:v>
                      </c:pt>
                      <c:pt idx="5965">
                        <c:v>27.9</c:v>
                      </c:pt>
                      <c:pt idx="5966">
                        <c:v>23.81</c:v>
                      </c:pt>
                      <c:pt idx="5967">
                        <c:v>22.06</c:v>
                      </c:pt>
                      <c:pt idx="5968">
                        <c:v>26.81</c:v>
                      </c:pt>
                      <c:pt idx="5969">
                        <c:v>29.65</c:v>
                      </c:pt>
                      <c:pt idx="5970">
                        <c:v>35.92</c:v>
                      </c:pt>
                      <c:pt idx="5971">
                        <c:v>35.96</c:v>
                      </c:pt>
                      <c:pt idx="5972">
                        <c:v>30.96</c:v>
                      </c:pt>
                      <c:pt idx="5973">
                        <c:v>29.67</c:v>
                      </c:pt>
                      <c:pt idx="5974">
                        <c:v>22.07</c:v>
                      </c:pt>
                      <c:pt idx="5975">
                        <c:v>21.54</c:v>
                      </c:pt>
                      <c:pt idx="5976">
                        <c:v>14.96</c:v>
                      </c:pt>
                      <c:pt idx="5977">
                        <c:v>13.12</c:v>
                      </c:pt>
                      <c:pt idx="5978">
                        <c:v>11.76</c:v>
                      </c:pt>
                      <c:pt idx="5979">
                        <c:v>13.82</c:v>
                      </c:pt>
                      <c:pt idx="5980">
                        <c:v>22.01</c:v>
                      </c:pt>
                      <c:pt idx="5981">
                        <c:v>34.630000000000003</c:v>
                      </c:pt>
                      <c:pt idx="5982">
                        <c:v>40.68</c:v>
                      </c:pt>
                      <c:pt idx="5983">
                        <c:v>39.94</c:v>
                      </c:pt>
                      <c:pt idx="5984">
                        <c:v>39.950000000000003</c:v>
                      </c:pt>
                      <c:pt idx="5985">
                        <c:v>37.479999999999997</c:v>
                      </c:pt>
                      <c:pt idx="5986">
                        <c:v>38.979999999999997</c:v>
                      </c:pt>
                      <c:pt idx="5987">
                        <c:v>37.409999999999997</c:v>
                      </c:pt>
                      <c:pt idx="5988">
                        <c:v>36.799999999999997</c:v>
                      </c:pt>
                      <c:pt idx="5989">
                        <c:v>36.11</c:v>
                      </c:pt>
                      <c:pt idx="5990">
                        <c:v>36.729999999999997</c:v>
                      </c:pt>
                      <c:pt idx="5991">
                        <c:v>37.71</c:v>
                      </c:pt>
                      <c:pt idx="5992">
                        <c:v>40.369999999999997</c:v>
                      </c:pt>
                      <c:pt idx="5993">
                        <c:v>42.67</c:v>
                      </c:pt>
                      <c:pt idx="5994">
                        <c:v>45.22</c:v>
                      </c:pt>
                      <c:pt idx="5995">
                        <c:v>45.99</c:v>
                      </c:pt>
                      <c:pt idx="5996">
                        <c:v>41.02</c:v>
                      </c:pt>
                      <c:pt idx="5997">
                        <c:v>38.78</c:v>
                      </c:pt>
                      <c:pt idx="5998">
                        <c:v>33.99</c:v>
                      </c:pt>
                      <c:pt idx="5999">
                        <c:v>29.92</c:v>
                      </c:pt>
                      <c:pt idx="6000">
                        <c:v>27.01</c:v>
                      </c:pt>
                      <c:pt idx="6001">
                        <c:v>23.95</c:v>
                      </c:pt>
                      <c:pt idx="6002">
                        <c:v>19</c:v>
                      </c:pt>
                      <c:pt idx="6003">
                        <c:v>14.09</c:v>
                      </c:pt>
                      <c:pt idx="6004">
                        <c:v>22.24</c:v>
                      </c:pt>
                      <c:pt idx="6005">
                        <c:v>32.96</c:v>
                      </c:pt>
                      <c:pt idx="6006">
                        <c:v>35.93</c:v>
                      </c:pt>
                      <c:pt idx="6007">
                        <c:v>35.14</c:v>
                      </c:pt>
                      <c:pt idx="6008">
                        <c:v>31.02</c:v>
                      </c:pt>
                      <c:pt idx="6009">
                        <c:v>29.91</c:v>
                      </c:pt>
                      <c:pt idx="6010">
                        <c:v>22.88</c:v>
                      </c:pt>
                      <c:pt idx="6011">
                        <c:v>19.04</c:v>
                      </c:pt>
                      <c:pt idx="6012">
                        <c:v>17.989999999999998</c:v>
                      </c:pt>
                      <c:pt idx="6013">
                        <c:v>15.03</c:v>
                      </c:pt>
                      <c:pt idx="6014">
                        <c:v>22.05</c:v>
                      </c:pt>
                      <c:pt idx="6015">
                        <c:v>24.3</c:v>
                      </c:pt>
                      <c:pt idx="6016">
                        <c:v>30.36</c:v>
                      </c:pt>
                      <c:pt idx="6017">
                        <c:v>33.979999999999997</c:v>
                      </c:pt>
                      <c:pt idx="6018">
                        <c:v>35.97</c:v>
                      </c:pt>
                      <c:pt idx="6019">
                        <c:v>37.31</c:v>
                      </c:pt>
                      <c:pt idx="6020">
                        <c:v>34</c:v>
                      </c:pt>
                      <c:pt idx="6021">
                        <c:v>30.86</c:v>
                      </c:pt>
                      <c:pt idx="6022">
                        <c:v>28.87</c:v>
                      </c:pt>
                      <c:pt idx="6023">
                        <c:v>27.95</c:v>
                      </c:pt>
                      <c:pt idx="6024">
                        <c:v>21.85</c:v>
                      </c:pt>
                      <c:pt idx="6025">
                        <c:v>21.09</c:v>
                      </c:pt>
                      <c:pt idx="6026">
                        <c:v>21.03</c:v>
                      </c:pt>
                      <c:pt idx="6027">
                        <c:v>21.08</c:v>
                      </c:pt>
                      <c:pt idx="6028">
                        <c:v>25.23</c:v>
                      </c:pt>
                      <c:pt idx="6029">
                        <c:v>27.45</c:v>
                      </c:pt>
                      <c:pt idx="6030">
                        <c:v>29.93</c:v>
                      </c:pt>
                      <c:pt idx="6031">
                        <c:v>34.1</c:v>
                      </c:pt>
                      <c:pt idx="6032">
                        <c:v>37.08</c:v>
                      </c:pt>
                      <c:pt idx="6033">
                        <c:v>37.17</c:v>
                      </c:pt>
                      <c:pt idx="6034">
                        <c:v>38.68</c:v>
                      </c:pt>
                      <c:pt idx="6035">
                        <c:v>36.26</c:v>
                      </c:pt>
                      <c:pt idx="6036">
                        <c:v>33.1</c:v>
                      </c:pt>
                      <c:pt idx="6037">
                        <c:v>29.88</c:v>
                      </c:pt>
                      <c:pt idx="6038">
                        <c:v>30.85</c:v>
                      </c:pt>
                      <c:pt idx="6039">
                        <c:v>32.869999999999997</c:v>
                      </c:pt>
                      <c:pt idx="6040">
                        <c:v>34.54</c:v>
                      </c:pt>
                      <c:pt idx="6041">
                        <c:v>36.21</c:v>
                      </c:pt>
                      <c:pt idx="6042">
                        <c:v>39.08</c:v>
                      </c:pt>
                      <c:pt idx="6043">
                        <c:v>41.53</c:v>
                      </c:pt>
                      <c:pt idx="6044">
                        <c:v>38.99</c:v>
                      </c:pt>
                      <c:pt idx="6045">
                        <c:v>38.94</c:v>
                      </c:pt>
                      <c:pt idx="6046">
                        <c:v>36.81</c:v>
                      </c:pt>
                      <c:pt idx="6047">
                        <c:v>31.06</c:v>
                      </c:pt>
                      <c:pt idx="6048">
                        <c:v>29.56</c:v>
                      </c:pt>
                      <c:pt idx="6049">
                        <c:v>28.23</c:v>
                      </c:pt>
                      <c:pt idx="6050">
                        <c:v>25.9</c:v>
                      </c:pt>
                      <c:pt idx="6051">
                        <c:v>23.73</c:v>
                      </c:pt>
                      <c:pt idx="6052">
                        <c:v>23.17</c:v>
                      </c:pt>
                      <c:pt idx="6053">
                        <c:v>25.92</c:v>
                      </c:pt>
                      <c:pt idx="6054">
                        <c:v>26.08</c:v>
                      </c:pt>
                      <c:pt idx="6055">
                        <c:v>29.89</c:v>
                      </c:pt>
                      <c:pt idx="6056">
                        <c:v>30.28</c:v>
                      </c:pt>
                      <c:pt idx="6057">
                        <c:v>29.8</c:v>
                      </c:pt>
                      <c:pt idx="6058">
                        <c:v>29.42</c:v>
                      </c:pt>
                      <c:pt idx="6059">
                        <c:v>24.8</c:v>
                      </c:pt>
                      <c:pt idx="6060">
                        <c:v>17.239999999999998</c:v>
                      </c:pt>
                      <c:pt idx="6061">
                        <c:v>8.93</c:v>
                      </c:pt>
                      <c:pt idx="6062">
                        <c:v>9.85</c:v>
                      </c:pt>
                      <c:pt idx="6063">
                        <c:v>10.51</c:v>
                      </c:pt>
                      <c:pt idx="6064">
                        <c:v>13.21</c:v>
                      </c:pt>
                      <c:pt idx="6065">
                        <c:v>23.28</c:v>
                      </c:pt>
                      <c:pt idx="6066">
                        <c:v>30.63</c:v>
                      </c:pt>
                      <c:pt idx="6067">
                        <c:v>29.7</c:v>
                      </c:pt>
                      <c:pt idx="6068">
                        <c:v>22.56</c:v>
                      </c:pt>
                      <c:pt idx="6069">
                        <c:v>18.05</c:v>
                      </c:pt>
                      <c:pt idx="6070">
                        <c:v>9.4</c:v>
                      </c:pt>
                      <c:pt idx="6071">
                        <c:v>0.43</c:v>
                      </c:pt>
                      <c:pt idx="6072">
                        <c:v>0</c:v>
                      </c:pt>
                      <c:pt idx="6073">
                        <c:v>-7.0000000000000007E-2</c:v>
                      </c:pt>
                      <c:pt idx="6074">
                        <c:v>-2.3199999999999998</c:v>
                      </c:pt>
                      <c:pt idx="6075">
                        <c:v>-2.77</c:v>
                      </c:pt>
                      <c:pt idx="6076">
                        <c:v>4.2300000000000004</c:v>
                      </c:pt>
                      <c:pt idx="6077">
                        <c:v>23.29</c:v>
                      </c:pt>
                      <c:pt idx="6078">
                        <c:v>32.9</c:v>
                      </c:pt>
                      <c:pt idx="6079">
                        <c:v>36.33</c:v>
                      </c:pt>
                      <c:pt idx="6080">
                        <c:v>36.020000000000003</c:v>
                      </c:pt>
                      <c:pt idx="6081">
                        <c:v>31.49</c:v>
                      </c:pt>
                      <c:pt idx="6082">
                        <c:v>33</c:v>
                      </c:pt>
                      <c:pt idx="6083">
                        <c:v>30.07</c:v>
                      </c:pt>
                      <c:pt idx="6084">
                        <c:v>23.78</c:v>
                      </c:pt>
                      <c:pt idx="6085">
                        <c:v>23.06</c:v>
                      </c:pt>
                      <c:pt idx="6086">
                        <c:v>21.98</c:v>
                      </c:pt>
                      <c:pt idx="6087">
                        <c:v>27.52</c:v>
                      </c:pt>
                      <c:pt idx="6088">
                        <c:v>30.63</c:v>
                      </c:pt>
                      <c:pt idx="6089">
                        <c:v>33.94</c:v>
                      </c:pt>
                      <c:pt idx="6090">
                        <c:v>37.75</c:v>
                      </c:pt>
                      <c:pt idx="6091">
                        <c:v>34.69</c:v>
                      </c:pt>
                      <c:pt idx="6092">
                        <c:v>30.04</c:v>
                      </c:pt>
                      <c:pt idx="6093">
                        <c:v>19.93</c:v>
                      </c:pt>
                      <c:pt idx="6094">
                        <c:v>9.36</c:v>
                      </c:pt>
                      <c:pt idx="6095">
                        <c:v>10.75</c:v>
                      </c:pt>
                      <c:pt idx="6096">
                        <c:v>9.0299999999999994</c:v>
                      </c:pt>
                      <c:pt idx="6097">
                        <c:v>6.49</c:v>
                      </c:pt>
                      <c:pt idx="6098">
                        <c:v>5.33</c:v>
                      </c:pt>
                      <c:pt idx="6099">
                        <c:v>8.7100000000000009</c:v>
                      </c:pt>
                      <c:pt idx="6100">
                        <c:v>14.9</c:v>
                      </c:pt>
                      <c:pt idx="6101">
                        <c:v>34.909999999999997</c:v>
                      </c:pt>
                      <c:pt idx="6102">
                        <c:v>40</c:v>
                      </c:pt>
                      <c:pt idx="6103">
                        <c:v>42.46</c:v>
                      </c:pt>
                      <c:pt idx="6104">
                        <c:v>39.979999999999997</c:v>
                      </c:pt>
                      <c:pt idx="6105">
                        <c:v>37.049999999999997</c:v>
                      </c:pt>
                      <c:pt idx="6106">
                        <c:v>36.65</c:v>
                      </c:pt>
                      <c:pt idx="6107">
                        <c:v>33.450000000000003</c:v>
                      </c:pt>
                      <c:pt idx="6108">
                        <c:v>30.49</c:v>
                      </c:pt>
                      <c:pt idx="6109">
                        <c:v>28.58</c:v>
                      </c:pt>
                      <c:pt idx="6110">
                        <c:v>29.62</c:v>
                      </c:pt>
                      <c:pt idx="6111">
                        <c:v>30.69</c:v>
                      </c:pt>
                      <c:pt idx="6112">
                        <c:v>35.25</c:v>
                      </c:pt>
                      <c:pt idx="6113">
                        <c:v>41.49</c:v>
                      </c:pt>
                      <c:pt idx="6114">
                        <c:v>45.89</c:v>
                      </c:pt>
                      <c:pt idx="6115">
                        <c:v>45.52</c:v>
                      </c:pt>
                      <c:pt idx="6116">
                        <c:v>36.94</c:v>
                      </c:pt>
                      <c:pt idx="6117">
                        <c:v>34.11</c:v>
                      </c:pt>
                      <c:pt idx="6118">
                        <c:v>28.1</c:v>
                      </c:pt>
                      <c:pt idx="6119">
                        <c:v>19.02</c:v>
                      </c:pt>
                      <c:pt idx="6120">
                        <c:v>12.08</c:v>
                      </c:pt>
                      <c:pt idx="6121">
                        <c:v>10.71</c:v>
                      </c:pt>
                      <c:pt idx="6122">
                        <c:v>5.48</c:v>
                      </c:pt>
                      <c:pt idx="6123">
                        <c:v>8.33</c:v>
                      </c:pt>
                      <c:pt idx="6124">
                        <c:v>14.01</c:v>
                      </c:pt>
                      <c:pt idx="6125">
                        <c:v>23.01</c:v>
                      </c:pt>
                      <c:pt idx="6126">
                        <c:v>28.72</c:v>
                      </c:pt>
                      <c:pt idx="6127">
                        <c:v>23.07</c:v>
                      </c:pt>
                      <c:pt idx="6128">
                        <c:v>15.92</c:v>
                      </c:pt>
                      <c:pt idx="6129">
                        <c:v>13.41</c:v>
                      </c:pt>
                      <c:pt idx="6130">
                        <c:v>12.73</c:v>
                      </c:pt>
                      <c:pt idx="6131">
                        <c:v>10.74</c:v>
                      </c:pt>
                      <c:pt idx="6132">
                        <c:v>12.06</c:v>
                      </c:pt>
                      <c:pt idx="6133">
                        <c:v>10.1</c:v>
                      </c:pt>
                      <c:pt idx="6134">
                        <c:v>9.18</c:v>
                      </c:pt>
                      <c:pt idx="6135">
                        <c:v>9.16</c:v>
                      </c:pt>
                      <c:pt idx="6136">
                        <c:v>9.1199999999999992</c:v>
                      </c:pt>
                      <c:pt idx="6137">
                        <c:v>16.239999999999998</c:v>
                      </c:pt>
                      <c:pt idx="6138">
                        <c:v>16.03</c:v>
                      </c:pt>
                      <c:pt idx="6139">
                        <c:v>16.07</c:v>
                      </c:pt>
                      <c:pt idx="6140">
                        <c:v>12.06</c:v>
                      </c:pt>
                      <c:pt idx="6141">
                        <c:v>10.67</c:v>
                      </c:pt>
                      <c:pt idx="6142">
                        <c:v>8.6</c:v>
                      </c:pt>
                      <c:pt idx="6143">
                        <c:v>-11.04</c:v>
                      </c:pt>
                      <c:pt idx="6144">
                        <c:v>-4.92</c:v>
                      </c:pt>
                      <c:pt idx="6145">
                        <c:v>-7.91</c:v>
                      </c:pt>
                      <c:pt idx="6146">
                        <c:v>-7.1</c:v>
                      </c:pt>
                      <c:pt idx="6147">
                        <c:v>-1.7</c:v>
                      </c:pt>
                      <c:pt idx="6148">
                        <c:v>9.42</c:v>
                      </c:pt>
                      <c:pt idx="6149">
                        <c:v>31.08</c:v>
                      </c:pt>
                      <c:pt idx="6150">
                        <c:v>35.47</c:v>
                      </c:pt>
                      <c:pt idx="6151">
                        <c:v>36.979999999999997</c:v>
                      </c:pt>
                      <c:pt idx="6152">
                        <c:v>35.03</c:v>
                      </c:pt>
                      <c:pt idx="6153">
                        <c:v>34.46</c:v>
                      </c:pt>
                      <c:pt idx="6154">
                        <c:v>34.369999999999997</c:v>
                      </c:pt>
                      <c:pt idx="6155">
                        <c:v>30.55</c:v>
                      </c:pt>
                      <c:pt idx="6156">
                        <c:v>29.73</c:v>
                      </c:pt>
                      <c:pt idx="6157">
                        <c:v>25.86</c:v>
                      </c:pt>
                      <c:pt idx="6158">
                        <c:v>27.27</c:v>
                      </c:pt>
                      <c:pt idx="6159">
                        <c:v>27.94</c:v>
                      </c:pt>
                      <c:pt idx="6160">
                        <c:v>32.14</c:v>
                      </c:pt>
                      <c:pt idx="6161">
                        <c:v>34.909999999999997</c:v>
                      </c:pt>
                      <c:pt idx="6162">
                        <c:v>35.880000000000003</c:v>
                      </c:pt>
                      <c:pt idx="6163">
                        <c:v>36.090000000000003</c:v>
                      </c:pt>
                      <c:pt idx="6164">
                        <c:v>34.450000000000003</c:v>
                      </c:pt>
                      <c:pt idx="6165">
                        <c:v>26.66</c:v>
                      </c:pt>
                      <c:pt idx="6166">
                        <c:v>19.03</c:v>
                      </c:pt>
                      <c:pt idx="6167">
                        <c:v>20.53</c:v>
                      </c:pt>
                      <c:pt idx="6168">
                        <c:v>12.28</c:v>
                      </c:pt>
                      <c:pt idx="6169">
                        <c:v>14</c:v>
                      </c:pt>
                      <c:pt idx="6170">
                        <c:v>16.690000000000001</c:v>
                      </c:pt>
                      <c:pt idx="6171">
                        <c:v>22.07</c:v>
                      </c:pt>
                      <c:pt idx="6172">
                        <c:v>29.6</c:v>
                      </c:pt>
                      <c:pt idx="6173">
                        <c:v>40.24</c:v>
                      </c:pt>
                      <c:pt idx="6174">
                        <c:v>44.3</c:v>
                      </c:pt>
                      <c:pt idx="6175">
                        <c:v>44.8</c:v>
                      </c:pt>
                      <c:pt idx="6176">
                        <c:v>40.96</c:v>
                      </c:pt>
                      <c:pt idx="6177">
                        <c:v>39.979999999999997</c:v>
                      </c:pt>
                      <c:pt idx="6178">
                        <c:v>38.96</c:v>
                      </c:pt>
                      <c:pt idx="6179">
                        <c:v>36.69</c:v>
                      </c:pt>
                      <c:pt idx="6180">
                        <c:v>33.049999999999997</c:v>
                      </c:pt>
                      <c:pt idx="6181">
                        <c:v>36.4</c:v>
                      </c:pt>
                      <c:pt idx="6182">
                        <c:v>36.130000000000003</c:v>
                      </c:pt>
                      <c:pt idx="6183">
                        <c:v>38.65</c:v>
                      </c:pt>
                      <c:pt idx="6184">
                        <c:v>42.51</c:v>
                      </c:pt>
                      <c:pt idx="6185">
                        <c:v>45.47</c:v>
                      </c:pt>
                      <c:pt idx="6186">
                        <c:v>48</c:v>
                      </c:pt>
                      <c:pt idx="6187">
                        <c:v>47.95</c:v>
                      </c:pt>
                      <c:pt idx="6188">
                        <c:v>42.05</c:v>
                      </c:pt>
                      <c:pt idx="6189">
                        <c:v>37.909999999999997</c:v>
                      </c:pt>
                      <c:pt idx="6190">
                        <c:v>31.4</c:v>
                      </c:pt>
                      <c:pt idx="6191">
                        <c:v>33.950000000000003</c:v>
                      </c:pt>
                      <c:pt idx="6192">
                        <c:v>32</c:v>
                      </c:pt>
                      <c:pt idx="6193">
                        <c:v>31.57</c:v>
                      </c:pt>
                      <c:pt idx="6194">
                        <c:v>31.01</c:v>
                      </c:pt>
                      <c:pt idx="6195">
                        <c:v>30.82</c:v>
                      </c:pt>
                      <c:pt idx="6196">
                        <c:v>31.44</c:v>
                      </c:pt>
                      <c:pt idx="6197">
                        <c:v>31.94</c:v>
                      </c:pt>
                      <c:pt idx="6198">
                        <c:v>34.700000000000003</c:v>
                      </c:pt>
                      <c:pt idx="6199">
                        <c:v>40.380000000000003</c:v>
                      </c:pt>
                      <c:pt idx="6200">
                        <c:v>40.92</c:v>
                      </c:pt>
                      <c:pt idx="6201">
                        <c:v>40.630000000000003</c:v>
                      </c:pt>
                      <c:pt idx="6202">
                        <c:v>35.450000000000003</c:v>
                      </c:pt>
                      <c:pt idx="6203">
                        <c:v>37.93</c:v>
                      </c:pt>
                      <c:pt idx="6204">
                        <c:v>35.29</c:v>
                      </c:pt>
                      <c:pt idx="6205">
                        <c:v>32.99</c:v>
                      </c:pt>
                      <c:pt idx="6206">
                        <c:v>33.9</c:v>
                      </c:pt>
                      <c:pt idx="6207">
                        <c:v>35.5</c:v>
                      </c:pt>
                      <c:pt idx="6208">
                        <c:v>40.03</c:v>
                      </c:pt>
                      <c:pt idx="6209">
                        <c:v>44.64</c:v>
                      </c:pt>
                      <c:pt idx="6210">
                        <c:v>48.01</c:v>
                      </c:pt>
                      <c:pt idx="6211">
                        <c:v>46.7</c:v>
                      </c:pt>
                      <c:pt idx="6212">
                        <c:v>43.54</c:v>
                      </c:pt>
                      <c:pt idx="6213">
                        <c:v>40.33</c:v>
                      </c:pt>
                      <c:pt idx="6214">
                        <c:v>35.01</c:v>
                      </c:pt>
                      <c:pt idx="6215">
                        <c:v>32.270000000000003</c:v>
                      </c:pt>
                      <c:pt idx="6216">
                        <c:v>30.4</c:v>
                      </c:pt>
                      <c:pt idx="6217">
                        <c:v>30.06</c:v>
                      </c:pt>
                      <c:pt idx="6218">
                        <c:v>29.43</c:v>
                      </c:pt>
                      <c:pt idx="6219">
                        <c:v>29.18</c:v>
                      </c:pt>
                      <c:pt idx="6220">
                        <c:v>29.38</c:v>
                      </c:pt>
                      <c:pt idx="6221">
                        <c:v>29.98</c:v>
                      </c:pt>
                      <c:pt idx="6222">
                        <c:v>30.09</c:v>
                      </c:pt>
                      <c:pt idx="6223">
                        <c:v>32.04</c:v>
                      </c:pt>
                      <c:pt idx="6224">
                        <c:v>32.590000000000003</c:v>
                      </c:pt>
                      <c:pt idx="6225">
                        <c:v>32.159999999999997</c:v>
                      </c:pt>
                      <c:pt idx="6226">
                        <c:v>32.65</c:v>
                      </c:pt>
                      <c:pt idx="6227">
                        <c:v>32.049999999999997</c:v>
                      </c:pt>
                      <c:pt idx="6228">
                        <c:v>30.31</c:v>
                      </c:pt>
                      <c:pt idx="6229">
                        <c:v>30.01</c:v>
                      </c:pt>
                      <c:pt idx="6230">
                        <c:v>29.72</c:v>
                      </c:pt>
                      <c:pt idx="6231">
                        <c:v>30.05</c:v>
                      </c:pt>
                      <c:pt idx="6232">
                        <c:v>32.15</c:v>
                      </c:pt>
                      <c:pt idx="6233">
                        <c:v>41</c:v>
                      </c:pt>
                      <c:pt idx="6234">
                        <c:v>45.09</c:v>
                      </c:pt>
                      <c:pt idx="6235">
                        <c:v>46.95</c:v>
                      </c:pt>
                      <c:pt idx="6236">
                        <c:v>42.38</c:v>
                      </c:pt>
                      <c:pt idx="6237">
                        <c:v>38.270000000000003</c:v>
                      </c:pt>
                      <c:pt idx="6238">
                        <c:v>33.090000000000003</c:v>
                      </c:pt>
                      <c:pt idx="6239">
                        <c:v>32.770000000000003</c:v>
                      </c:pt>
                      <c:pt idx="6240">
                        <c:v>32.08</c:v>
                      </c:pt>
                      <c:pt idx="6241">
                        <c:v>32.1</c:v>
                      </c:pt>
                      <c:pt idx="6242">
                        <c:v>31.42</c:v>
                      </c:pt>
                      <c:pt idx="6243">
                        <c:v>32</c:v>
                      </c:pt>
                      <c:pt idx="6244">
                        <c:v>32.6</c:v>
                      </c:pt>
                      <c:pt idx="6245">
                        <c:v>43.89</c:v>
                      </c:pt>
                      <c:pt idx="6246">
                        <c:v>51.06</c:v>
                      </c:pt>
                      <c:pt idx="6247">
                        <c:v>53.23</c:v>
                      </c:pt>
                      <c:pt idx="6248">
                        <c:v>51.71</c:v>
                      </c:pt>
                      <c:pt idx="6249">
                        <c:v>51.59</c:v>
                      </c:pt>
                      <c:pt idx="6250">
                        <c:v>45.04</c:v>
                      </c:pt>
                      <c:pt idx="6251">
                        <c:v>41.09</c:v>
                      </c:pt>
                      <c:pt idx="6252">
                        <c:v>37.909999999999997</c:v>
                      </c:pt>
                      <c:pt idx="6253">
                        <c:v>36.090000000000003</c:v>
                      </c:pt>
                      <c:pt idx="6254">
                        <c:v>41.88</c:v>
                      </c:pt>
                      <c:pt idx="6255">
                        <c:v>43.92</c:v>
                      </c:pt>
                      <c:pt idx="6256">
                        <c:v>45.61</c:v>
                      </c:pt>
                      <c:pt idx="6257">
                        <c:v>49.41</c:v>
                      </c:pt>
                      <c:pt idx="6258">
                        <c:v>52.89</c:v>
                      </c:pt>
                      <c:pt idx="6259">
                        <c:v>53.14</c:v>
                      </c:pt>
                      <c:pt idx="6260">
                        <c:v>44.58</c:v>
                      </c:pt>
                      <c:pt idx="6261">
                        <c:v>40.549999999999997</c:v>
                      </c:pt>
                      <c:pt idx="6262">
                        <c:v>33.200000000000003</c:v>
                      </c:pt>
                      <c:pt idx="6263">
                        <c:v>33.1</c:v>
                      </c:pt>
                      <c:pt idx="6264">
                        <c:v>32.130000000000003</c:v>
                      </c:pt>
                      <c:pt idx="6265">
                        <c:v>31.28</c:v>
                      </c:pt>
                      <c:pt idx="6266">
                        <c:v>30.8</c:v>
                      </c:pt>
                      <c:pt idx="6267">
                        <c:v>31.07</c:v>
                      </c:pt>
                      <c:pt idx="6268">
                        <c:v>33.22</c:v>
                      </c:pt>
                      <c:pt idx="6269">
                        <c:v>40</c:v>
                      </c:pt>
                      <c:pt idx="6270">
                        <c:v>50.02</c:v>
                      </c:pt>
                      <c:pt idx="6271">
                        <c:v>53.76</c:v>
                      </c:pt>
                      <c:pt idx="6272">
                        <c:v>51.1</c:v>
                      </c:pt>
                      <c:pt idx="6273">
                        <c:v>49.99</c:v>
                      </c:pt>
                      <c:pt idx="6274">
                        <c:v>49.37</c:v>
                      </c:pt>
                      <c:pt idx="6275">
                        <c:v>44.9</c:v>
                      </c:pt>
                      <c:pt idx="6276">
                        <c:v>43.9</c:v>
                      </c:pt>
                      <c:pt idx="6277">
                        <c:v>39.799999999999997</c:v>
                      </c:pt>
                      <c:pt idx="6278">
                        <c:v>38.36</c:v>
                      </c:pt>
                      <c:pt idx="6279">
                        <c:v>38.94</c:v>
                      </c:pt>
                      <c:pt idx="6280">
                        <c:v>42.98</c:v>
                      </c:pt>
                      <c:pt idx="6281">
                        <c:v>46.26</c:v>
                      </c:pt>
                      <c:pt idx="6282">
                        <c:v>50.01</c:v>
                      </c:pt>
                      <c:pt idx="6283">
                        <c:v>47.96</c:v>
                      </c:pt>
                      <c:pt idx="6284">
                        <c:v>40</c:v>
                      </c:pt>
                      <c:pt idx="6285">
                        <c:v>37.340000000000003</c:v>
                      </c:pt>
                      <c:pt idx="6286">
                        <c:v>35.74</c:v>
                      </c:pt>
                      <c:pt idx="6287">
                        <c:v>29.97</c:v>
                      </c:pt>
                      <c:pt idx="6288">
                        <c:v>29.49</c:v>
                      </c:pt>
                      <c:pt idx="6289">
                        <c:v>28.47</c:v>
                      </c:pt>
                      <c:pt idx="6290">
                        <c:v>25.99</c:v>
                      </c:pt>
                      <c:pt idx="6291">
                        <c:v>26.56</c:v>
                      </c:pt>
                      <c:pt idx="6292">
                        <c:v>31.05</c:v>
                      </c:pt>
                      <c:pt idx="6293">
                        <c:v>39.49</c:v>
                      </c:pt>
                      <c:pt idx="6294">
                        <c:v>46.99</c:v>
                      </c:pt>
                      <c:pt idx="6295">
                        <c:v>47.93</c:v>
                      </c:pt>
                      <c:pt idx="6296">
                        <c:v>44.99</c:v>
                      </c:pt>
                      <c:pt idx="6297">
                        <c:v>46.84</c:v>
                      </c:pt>
                      <c:pt idx="6298">
                        <c:v>43.88</c:v>
                      </c:pt>
                      <c:pt idx="6299">
                        <c:v>37</c:v>
                      </c:pt>
                      <c:pt idx="6300">
                        <c:v>35.47</c:v>
                      </c:pt>
                      <c:pt idx="6301">
                        <c:v>37.51</c:v>
                      </c:pt>
                      <c:pt idx="6302">
                        <c:v>34.07</c:v>
                      </c:pt>
                      <c:pt idx="6303">
                        <c:v>40</c:v>
                      </c:pt>
                      <c:pt idx="6304">
                        <c:v>43.94</c:v>
                      </c:pt>
                      <c:pt idx="6305">
                        <c:v>48.93</c:v>
                      </c:pt>
                      <c:pt idx="6306">
                        <c:v>52.02</c:v>
                      </c:pt>
                      <c:pt idx="6307">
                        <c:v>51.03</c:v>
                      </c:pt>
                      <c:pt idx="6308">
                        <c:v>43.91</c:v>
                      </c:pt>
                      <c:pt idx="6309">
                        <c:v>39.44</c:v>
                      </c:pt>
                      <c:pt idx="6310">
                        <c:v>34.61</c:v>
                      </c:pt>
                      <c:pt idx="6311">
                        <c:v>32.61</c:v>
                      </c:pt>
                      <c:pt idx="6312">
                        <c:v>30.8</c:v>
                      </c:pt>
                      <c:pt idx="6313">
                        <c:v>29.66</c:v>
                      </c:pt>
                      <c:pt idx="6314">
                        <c:v>29.49</c:v>
                      </c:pt>
                      <c:pt idx="6315">
                        <c:v>29.98</c:v>
                      </c:pt>
                      <c:pt idx="6316">
                        <c:v>32.11</c:v>
                      </c:pt>
                      <c:pt idx="6317">
                        <c:v>40</c:v>
                      </c:pt>
                      <c:pt idx="6318">
                        <c:v>47.97</c:v>
                      </c:pt>
                      <c:pt idx="6319">
                        <c:v>50.97</c:v>
                      </c:pt>
                      <c:pt idx="6320">
                        <c:v>47.03</c:v>
                      </c:pt>
                      <c:pt idx="6321">
                        <c:v>43.47</c:v>
                      </c:pt>
                      <c:pt idx="6322">
                        <c:v>39.479999999999997</c:v>
                      </c:pt>
                      <c:pt idx="6323">
                        <c:v>35.9</c:v>
                      </c:pt>
                      <c:pt idx="6324">
                        <c:v>35.270000000000003</c:v>
                      </c:pt>
                      <c:pt idx="6325">
                        <c:v>34.549999999999997</c:v>
                      </c:pt>
                      <c:pt idx="6326">
                        <c:v>34.4</c:v>
                      </c:pt>
                      <c:pt idx="6327">
                        <c:v>37.520000000000003</c:v>
                      </c:pt>
                      <c:pt idx="6328">
                        <c:v>43.48</c:v>
                      </c:pt>
                      <c:pt idx="6329">
                        <c:v>48.73</c:v>
                      </c:pt>
                      <c:pt idx="6330">
                        <c:v>52.77</c:v>
                      </c:pt>
                      <c:pt idx="6331">
                        <c:v>50.75</c:v>
                      </c:pt>
                      <c:pt idx="6332">
                        <c:v>42.2</c:v>
                      </c:pt>
                      <c:pt idx="6333">
                        <c:v>38.33</c:v>
                      </c:pt>
                      <c:pt idx="6334">
                        <c:v>34.729999999999997</c:v>
                      </c:pt>
                      <c:pt idx="6335">
                        <c:v>32.24</c:v>
                      </c:pt>
                      <c:pt idx="6336">
                        <c:v>31.67</c:v>
                      </c:pt>
                      <c:pt idx="6337">
                        <c:v>30.4</c:v>
                      </c:pt>
                      <c:pt idx="6338">
                        <c:v>30.02</c:v>
                      </c:pt>
                      <c:pt idx="6339">
                        <c:v>30.3</c:v>
                      </c:pt>
                      <c:pt idx="6340">
                        <c:v>31.9</c:v>
                      </c:pt>
                      <c:pt idx="6341">
                        <c:v>40.06</c:v>
                      </c:pt>
                      <c:pt idx="6342">
                        <c:v>48.18</c:v>
                      </c:pt>
                      <c:pt idx="6343">
                        <c:v>49.8</c:v>
                      </c:pt>
                      <c:pt idx="6344">
                        <c:v>49.71</c:v>
                      </c:pt>
                      <c:pt idx="6345">
                        <c:v>47.17</c:v>
                      </c:pt>
                      <c:pt idx="6346">
                        <c:v>45.34</c:v>
                      </c:pt>
                      <c:pt idx="6347">
                        <c:v>40.340000000000003</c:v>
                      </c:pt>
                      <c:pt idx="6348">
                        <c:v>38.07</c:v>
                      </c:pt>
                      <c:pt idx="6349">
                        <c:v>36.58</c:v>
                      </c:pt>
                      <c:pt idx="6350">
                        <c:v>36.57</c:v>
                      </c:pt>
                      <c:pt idx="6351">
                        <c:v>37.31</c:v>
                      </c:pt>
                      <c:pt idx="6352">
                        <c:v>43.27</c:v>
                      </c:pt>
                      <c:pt idx="6353">
                        <c:v>45.92</c:v>
                      </c:pt>
                      <c:pt idx="6354">
                        <c:v>48.92</c:v>
                      </c:pt>
                      <c:pt idx="6355">
                        <c:v>47.21</c:v>
                      </c:pt>
                      <c:pt idx="6356">
                        <c:v>43.3</c:v>
                      </c:pt>
                      <c:pt idx="6357">
                        <c:v>39.51</c:v>
                      </c:pt>
                      <c:pt idx="6358">
                        <c:v>37.950000000000003</c:v>
                      </c:pt>
                      <c:pt idx="6359">
                        <c:v>34.67</c:v>
                      </c:pt>
                      <c:pt idx="6360">
                        <c:v>31.99</c:v>
                      </c:pt>
                      <c:pt idx="6361">
                        <c:v>31.94</c:v>
                      </c:pt>
                      <c:pt idx="6362">
                        <c:v>31.91</c:v>
                      </c:pt>
                      <c:pt idx="6363">
                        <c:v>31.43</c:v>
                      </c:pt>
                      <c:pt idx="6364">
                        <c:v>31.81</c:v>
                      </c:pt>
                      <c:pt idx="6365">
                        <c:v>33.4</c:v>
                      </c:pt>
                      <c:pt idx="6366">
                        <c:v>39.03</c:v>
                      </c:pt>
                      <c:pt idx="6367">
                        <c:v>41.54</c:v>
                      </c:pt>
                      <c:pt idx="6368">
                        <c:v>42.93</c:v>
                      </c:pt>
                      <c:pt idx="6369">
                        <c:v>41.91</c:v>
                      </c:pt>
                      <c:pt idx="6370">
                        <c:v>39.9</c:v>
                      </c:pt>
                      <c:pt idx="6371">
                        <c:v>31.91</c:v>
                      </c:pt>
                      <c:pt idx="6372">
                        <c:v>32.17</c:v>
                      </c:pt>
                      <c:pt idx="6373">
                        <c:v>32.119999999999997</c:v>
                      </c:pt>
                      <c:pt idx="6374">
                        <c:v>32</c:v>
                      </c:pt>
                      <c:pt idx="6375">
                        <c:v>32.770000000000003</c:v>
                      </c:pt>
                      <c:pt idx="6376">
                        <c:v>37.22</c:v>
                      </c:pt>
                      <c:pt idx="6377">
                        <c:v>42.44</c:v>
                      </c:pt>
                      <c:pt idx="6378">
                        <c:v>45.2</c:v>
                      </c:pt>
                      <c:pt idx="6379">
                        <c:v>44.93</c:v>
                      </c:pt>
                      <c:pt idx="6380">
                        <c:v>39.08</c:v>
                      </c:pt>
                      <c:pt idx="6381">
                        <c:v>35.79</c:v>
                      </c:pt>
                      <c:pt idx="6382">
                        <c:v>31.72</c:v>
                      </c:pt>
                      <c:pt idx="6383">
                        <c:v>31.76</c:v>
                      </c:pt>
                      <c:pt idx="6384">
                        <c:v>30.51</c:v>
                      </c:pt>
                      <c:pt idx="6385">
                        <c:v>31.03</c:v>
                      </c:pt>
                      <c:pt idx="6386">
                        <c:v>30.77</c:v>
                      </c:pt>
                      <c:pt idx="6387">
                        <c:v>30.55</c:v>
                      </c:pt>
                      <c:pt idx="6388">
                        <c:v>31.06</c:v>
                      </c:pt>
                      <c:pt idx="6389">
                        <c:v>31.82</c:v>
                      </c:pt>
                      <c:pt idx="6390">
                        <c:v>32.090000000000003</c:v>
                      </c:pt>
                      <c:pt idx="6391">
                        <c:v>34.9</c:v>
                      </c:pt>
                      <c:pt idx="6392">
                        <c:v>35.57</c:v>
                      </c:pt>
                      <c:pt idx="6393">
                        <c:v>35.25</c:v>
                      </c:pt>
                      <c:pt idx="6394">
                        <c:v>35.61</c:v>
                      </c:pt>
                      <c:pt idx="6395">
                        <c:v>35.21</c:v>
                      </c:pt>
                      <c:pt idx="6396">
                        <c:v>32.71</c:v>
                      </c:pt>
                      <c:pt idx="6397">
                        <c:v>31.52</c:v>
                      </c:pt>
                      <c:pt idx="6398">
                        <c:v>31.37</c:v>
                      </c:pt>
                      <c:pt idx="6399">
                        <c:v>31.62</c:v>
                      </c:pt>
                      <c:pt idx="6400">
                        <c:v>35.340000000000003</c:v>
                      </c:pt>
                      <c:pt idx="6401">
                        <c:v>42.39</c:v>
                      </c:pt>
                      <c:pt idx="6402">
                        <c:v>46.94</c:v>
                      </c:pt>
                      <c:pt idx="6403">
                        <c:v>44.99</c:v>
                      </c:pt>
                      <c:pt idx="6404">
                        <c:v>42.2</c:v>
                      </c:pt>
                      <c:pt idx="6405">
                        <c:v>41.08</c:v>
                      </c:pt>
                      <c:pt idx="6406">
                        <c:v>32.450000000000003</c:v>
                      </c:pt>
                      <c:pt idx="6407">
                        <c:v>32.97</c:v>
                      </c:pt>
                      <c:pt idx="6408">
                        <c:v>31.69</c:v>
                      </c:pt>
                      <c:pt idx="6409">
                        <c:v>31.1</c:v>
                      </c:pt>
                      <c:pt idx="6410">
                        <c:v>31.02</c:v>
                      </c:pt>
                      <c:pt idx="6411">
                        <c:v>30.5</c:v>
                      </c:pt>
                      <c:pt idx="6412">
                        <c:v>32.49</c:v>
                      </c:pt>
                      <c:pt idx="6413">
                        <c:v>44.42</c:v>
                      </c:pt>
                      <c:pt idx="6414">
                        <c:v>52.44</c:v>
                      </c:pt>
                      <c:pt idx="6415">
                        <c:v>53.77</c:v>
                      </c:pt>
                      <c:pt idx="6416">
                        <c:v>52.4</c:v>
                      </c:pt>
                      <c:pt idx="6417">
                        <c:v>51.1</c:v>
                      </c:pt>
                      <c:pt idx="6418">
                        <c:v>48.95</c:v>
                      </c:pt>
                      <c:pt idx="6419">
                        <c:v>44.93</c:v>
                      </c:pt>
                      <c:pt idx="6420">
                        <c:v>42.4</c:v>
                      </c:pt>
                      <c:pt idx="6421">
                        <c:v>40.51</c:v>
                      </c:pt>
                      <c:pt idx="6422">
                        <c:v>42.01</c:v>
                      </c:pt>
                      <c:pt idx="6423">
                        <c:v>43.93</c:v>
                      </c:pt>
                      <c:pt idx="6424">
                        <c:v>46.13</c:v>
                      </c:pt>
                      <c:pt idx="6425">
                        <c:v>49.81</c:v>
                      </c:pt>
                      <c:pt idx="6426">
                        <c:v>52</c:v>
                      </c:pt>
                      <c:pt idx="6427">
                        <c:v>50.44</c:v>
                      </c:pt>
                      <c:pt idx="6428">
                        <c:v>41.96</c:v>
                      </c:pt>
                      <c:pt idx="6429">
                        <c:v>34.9</c:v>
                      </c:pt>
                      <c:pt idx="6430">
                        <c:v>34.85</c:v>
                      </c:pt>
                      <c:pt idx="6431">
                        <c:v>35.369999999999997</c:v>
                      </c:pt>
                      <c:pt idx="6432">
                        <c:v>32.42</c:v>
                      </c:pt>
                      <c:pt idx="6433">
                        <c:v>31.36</c:v>
                      </c:pt>
                      <c:pt idx="6434">
                        <c:v>31.33</c:v>
                      </c:pt>
                      <c:pt idx="6435">
                        <c:v>31.88</c:v>
                      </c:pt>
                      <c:pt idx="6436">
                        <c:v>33.61</c:v>
                      </c:pt>
                      <c:pt idx="6437">
                        <c:v>42.52</c:v>
                      </c:pt>
                      <c:pt idx="6438">
                        <c:v>51.78</c:v>
                      </c:pt>
                      <c:pt idx="6439">
                        <c:v>55.2</c:v>
                      </c:pt>
                      <c:pt idx="6440">
                        <c:v>50.81</c:v>
                      </c:pt>
                      <c:pt idx="6441">
                        <c:v>46.03</c:v>
                      </c:pt>
                      <c:pt idx="6442">
                        <c:v>41.1</c:v>
                      </c:pt>
                      <c:pt idx="6443">
                        <c:v>36.090000000000003</c:v>
                      </c:pt>
                      <c:pt idx="6444">
                        <c:v>35.130000000000003</c:v>
                      </c:pt>
                      <c:pt idx="6445">
                        <c:v>34.83</c:v>
                      </c:pt>
                      <c:pt idx="6446">
                        <c:v>35.9</c:v>
                      </c:pt>
                      <c:pt idx="6447">
                        <c:v>39.53</c:v>
                      </c:pt>
                      <c:pt idx="6448">
                        <c:v>46.05</c:v>
                      </c:pt>
                      <c:pt idx="6449">
                        <c:v>49.93</c:v>
                      </c:pt>
                      <c:pt idx="6450">
                        <c:v>54.66</c:v>
                      </c:pt>
                      <c:pt idx="6451">
                        <c:v>49.42</c:v>
                      </c:pt>
                      <c:pt idx="6452">
                        <c:v>36.340000000000003</c:v>
                      </c:pt>
                      <c:pt idx="6453">
                        <c:v>33.93</c:v>
                      </c:pt>
                      <c:pt idx="6454">
                        <c:v>35.43</c:v>
                      </c:pt>
                      <c:pt idx="6455">
                        <c:v>33.409999999999997</c:v>
                      </c:pt>
                      <c:pt idx="6456">
                        <c:v>32.119999999999997</c:v>
                      </c:pt>
                      <c:pt idx="6457">
                        <c:v>32.03</c:v>
                      </c:pt>
                      <c:pt idx="6458">
                        <c:v>31.56</c:v>
                      </c:pt>
                      <c:pt idx="6459">
                        <c:v>32.14</c:v>
                      </c:pt>
                      <c:pt idx="6460">
                        <c:v>33.700000000000003</c:v>
                      </c:pt>
                      <c:pt idx="6461">
                        <c:v>45.07</c:v>
                      </c:pt>
                      <c:pt idx="6462">
                        <c:v>54.4</c:v>
                      </c:pt>
                      <c:pt idx="6463">
                        <c:v>57</c:v>
                      </c:pt>
                      <c:pt idx="6464">
                        <c:v>51.59</c:v>
                      </c:pt>
                      <c:pt idx="6465">
                        <c:v>46.1</c:v>
                      </c:pt>
                      <c:pt idx="6466">
                        <c:v>41.16</c:v>
                      </c:pt>
                      <c:pt idx="6467">
                        <c:v>34.43</c:v>
                      </c:pt>
                      <c:pt idx="6468">
                        <c:v>34.9</c:v>
                      </c:pt>
                      <c:pt idx="6469">
                        <c:v>34.42</c:v>
                      </c:pt>
                      <c:pt idx="6470">
                        <c:v>35.96</c:v>
                      </c:pt>
                      <c:pt idx="6471">
                        <c:v>38.94</c:v>
                      </c:pt>
                      <c:pt idx="6472">
                        <c:v>45.08</c:v>
                      </c:pt>
                      <c:pt idx="6473">
                        <c:v>49.99</c:v>
                      </c:pt>
                      <c:pt idx="6474">
                        <c:v>54.86</c:v>
                      </c:pt>
                      <c:pt idx="6475">
                        <c:v>47.99</c:v>
                      </c:pt>
                      <c:pt idx="6476">
                        <c:v>42.95</c:v>
                      </c:pt>
                      <c:pt idx="6477">
                        <c:v>38.43</c:v>
                      </c:pt>
                      <c:pt idx="6478">
                        <c:v>32.94</c:v>
                      </c:pt>
                      <c:pt idx="6479">
                        <c:v>32.08</c:v>
                      </c:pt>
                      <c:pt idx="6480">
                        <c:v>31.77</c:v>
                      </c:pt>
                      <c:pt idx="6481">
                        <c:v>31.58</c:v>
                      </c:pt>
                      <c:pt idx="6482">
                        <c:v>31.01</c:v>
                      </c:pt>
                      <c:pt idx="6483">
                        <c:v>31.05</c:v>
                      </c:pt>
                      <c:pt idx="6484">
                        <c:v>33.4</c:v>
                      </c:pt>
                      <c:pt idx="6485">
                        <c:v>40.200000000000003</c:v>
                      </c:pt>
                      <c:pt idx="6486">
                        <c:v>49.21</c:v>
                      </c:pt>
                      <c:pt idx="6487">
                        <c:v>49.43</c:v>
                      </c:pt>
                      <c:pt idx="6488">
                        <c:v>47.08</c:v>
                      </c:pt>
                      <c:pt idx="6489">
                        <c:v>45.27</c:v>
                      </c:pt>
                      <c:pt idx="6490">
                        <c:v>44.35</c:v>
                      </c:pt>
                      <c:pt idx="6491">
                        <c:v>39.200000000000003</c:v>
                      </c:pt>
                      <c:pt idx="6492">
                        <c:v>39.200000000000003</c:v>
                      </c:pt>
                      <c:pt idx="6493">
                        <c:v>38.450000000000003</c:v>
                      </c:pt>
                      <c:pt idx="6494">
                        <c:v>41.67</c:v>
                      </c:pt>
                      <c:pt idx="6495">
                        <c:v>44.12</c:v>
                      </c:pt>
                      <c:pt idx="6496">
                        <c:v>46.93</c:v>
                      </c:pt>
                      <c:pt idx="6497">
                        <c:v>47.51</c:v>
                      </c:pt>
                      <c:pt idx="6498">
                        <c:v>49.78</c:v>
                      </c:pt>
                      <c:pt idx="6499">
                        <c:v>47.49</c:v>
                      </c:pt>
                      <c:pt idx="6500">
                        <c:v>38.5</c:v>
                      </c:pt>
                      <c:pt idx="6501">
                        <c:v>34.96</c:v>
                      </c:pt>
                      <c:pt idx="6502">
                        <c:v>32.96</c:v>
                      </c:pt>
                      <c:pt idx="6503">
                        <c:v>33.85</c:v>
                      </c:pt>
                      <c:pt idx="6504">
                        <c:v>32.880000000000003</c:v>
                      </c:pt>
                      <c:pt idx="6505">
                        <c:v>31.5</c:v>
                      </c:pt>
                      <c:pt idx="6506">
                        <c:v>31.1</c:v>
                      </c:pt>
                      <c:pt idx="6507">
                        <c:v>30.97</c:v>
                      </c:pt>
                      <c:pt idx="6508">
                        <c:v>31.91</c:v>
                      </c:pt>
                      <c:pt idx="6509">
                        <c:v>40.67</c:v>
                      </c:pt>
                      <c:pt idx="6510">
                        <c:v>49.91</c:v>
                      </c:pt>
                      <c:pt idx="6511">
                        <c:v>51.2</c:v>
                      </c:pt>
                      <c:pt idx="6512">
                        <c:v>49.99</c:v>
                      </c:pt>
                      <c:pt idx="6513">
                        <c:v>47.99</c:v>
                      </c:pt>
                      <c:pt idx="6514">
                        <c:v>47.08</c:v>
                      </c:pt>
                      <c:pt idx="6515">
                        <c:v>38.65</c:v>
                      </c:pt>
                      <c:pt idx="6516">
                        <c:v>39.130000000000003</c:v>
                      </c:pt>
                      <c:pt idx="6517">
                        <c:v>36.86</c:v>
                      </c:pt>
                      <c:pt idx="6518">
                        <c:v>38.450000000000003</c:v>
                      </c:pt>
                      <c:pt idx="6519">
                        <c:v>41.23</c:v>
                      </c:pt>
                      <c:pt idx="6520">
                        <c:v>45.17</c:v>
                      </c:pt>
                      <c:pt idx="6521">
                        <c:v>47.93</c:v>
                      </c:pt>
                      <c:pt idx="6522">
                        <c:v>47.99</c:v>
                      </c:pt>
                      <c:pt idx="6523">
                        <c:v>39.1</c:v>
                      </c:pt>
                      <c:pt idx="6524">
                        <c:v>32.21</c:v>
                      </c:pt>
                      <c:pt idx="6525">
                        <c:v>36.94</c:v>
                      </c:pt>
                      <c:pt idx="6526">
                        <c:v>30.6</c:v>
                      </c:pt>
                      <c:pt idx="6527">
                        <c:v>23.88</c:v>
                      </c:pt>
                      <c:pt idx="6528">
                        <c:v>26.09</c:v>
                      </c:pt>
                      <c:pt idx="6529">
                        <c:v>26.65</c:v>
                      </c:pt>
                      <c:pt idx="6530">
                        <c:v>28.73</c:v>
                      </c:pt>
                      <c:pt idx="6531">
                        <c:v>29.03</c:v>
                      </c:pt>
                      <c:pt idx="6532">
                        <c:v>30.02</c:v>
                      </c:pt>
                      <c:pt idx="6533">
                        <c:v>31.96</c:v>
                      </c:pt>
                      <c:pt idx="6534">
                        <c:v>38.6</c:v>
                      </c:pt>
                      <c:pt idx="6535">
                        <c:v>39</c:v>
                      </c:pt>
                      <c:pt idx="6536">
                        <c:v>42.49</c:v>
                      </c:pt>
                      <c:pt idx="6537">
                        <c:v>42.57</c:v>
                      </c:pt>
                      <c:pt idx="6538">
                        <c:v>43.2</c:v>
                      </c:pt>
                      <c:pt idx="6539">
                        <c:v>38.75</c:v>
                      </c:pt>
                      <c:pt idx="6540">
                        <c:v>32.82</c:v>
                      </c:pt>
                      <c:pt idx="6541">
                        <c:v>31.84</c:v>
                      </c:pt>
                      <c:pt idx="6542">
                        <c:v>33</c:v>
                      </c:pt>
                      <c:pt idx="6543">
                        <c:v>37.520000000000003</c:v>
                      </c:pt>
                      <c:pt idx="6544">
                        <c:v>41.77</c:v>
                      </c:pt>
                      <c:pt idx="6545">
                        <c:v>45.06</c:v>
                      </c:pt>
                      <c:pt idx="6546">
                        <c:v>48.25</c:v>
                      </c:pt>
                      <c:pt idx="6547">
                        <c:v>45.01</c:v>
                      </c:pt>
                      <c:pt idx="6548">
                        <c:v>37.49</c:v>
                      </c:pt>
                      <c:pt idx="6549">
                        <c:v>32.18</c:v>
                      </c:pt>
                      <c:pt idx="6550">
                        <c:v>29.06</c:v>
                      </c:pt>
                      <c:pt idx="6551">
                        <c:v>12.95</c:v>
                      </c:pt>
                      <c:pt idx="6552">
                        <c:v>14.84</c:v>
                      </c:pt>
                      <c:pt idx="6553">
                        <c:v>19.05</c:v>
                      </c:pt>
                      <c:pt idx="6554">
                        <c:v>22.15</c:v>
                      </c:pt>
                      <c:pt idx="6555">
                        <c:v>22.9</c:v>
                      </c:pt>
                      <c:pt idx="6556">
                        <c:v>23.1</c:v>
                      </c:pt>
                      <c:pt idx="6557">
                        <c:v>25.66</c:v>
                      </c:pt>
                      <c:pt idx="6558">
                        <c:v>27.4</c:v>
                      </c:pt>
                      <c:pt idx="6559">
                        <c:v>32.71</c:v>
                      </c:pt>
                      <c:pt idx="6560">
                        <c:v>38.11</c:v>
                      </c:pt>
                      <c:pt idx="6561">
                        <c:v>38.39</c:v>
                      </c:pt>
                      <c:pt idx="6562">
                        <c:v>38.58</c:v>
                      </c:pt>
                      <c:pt idx="6563">
                        <c:v>38.29</c:v>
                      </c:pt>
                      <c:pt idx="6564">
                        <c:v>29.68</c:v>
                      </c:pt>
                      <c:pt idx="6565">
                        <c:v>26.09</c:v>
                      </c:pt>
                      <c:pt idx="6566">
                        <c:v>26.64</c:v>
                      </c:pt>
                      <c:pt idx="6567">
                        <c:v>27.84</c:v>
                      </c:pt>
                      <c:pt idx="6568">
                        <c:v>37</c:v>
                      </c:pt>
                      <c:pt idx="6569">
                        <c:v>46.13</c:v>
                      </c:pt>
                      <c:pt idx="6570">
                        <c:v>49.9</c:v>
                      </c:pt>
                      <c:pt idx="6571">
                        <c:v>45.98</c:v>
                      </c:pt>
                      <c:pt idx="6572">
                        <c:v>31.95</c:v>
                      </c:pt>
                      <c:pt idx="6573">
                        <c:v>26.08</c:v>
                      </c:pt>
                      <c:pt idx="6574">
                        <c:v>13.94</c:v>
                      </c:pt>
                      <c:pt idx="6575">
                        <c:v>18.64</c:v>
                      </c:pt>
                      <c:pt idx="6576">
                        <c:v>12.9</c:v>
                      </c:pt>
                      <c:pt idx="6577">
                        <c:v>5.72</c:v>
                      </c:pt>
                      <c:pt idx="6578">
                        <c:v>0.34</c:v>
                      </c:pt>
                      <c:pt idx="6579">
                        <c:v>2.9</c:v>
                      </c:pt>
                      <c:pt idx="6580">
                        <c:v>9.3699999999999992</c:v>
                      </c:pt>
                      <c:pt idx="6581">
                        <c:v>13.98</c:v>
                      </c:pt>
                      <c:pt idx="6582">
                        <c:v>21.32</c:v>
                      </c:pt>
                      <c:pt idx="6583">
                        <c:v>21.38</c:v>
                      </c:pt>
                      <c:pt idx="6584">
                        <c:v>21.38</c:v>
                      </c:pt>
                      <c:pt idx="6585">
                        <c:v>20.29</c:v>
                      </c:pt>
                      <c:pt idx="6586">
                        <c:v>25.29</c:v>
                      </c:pt>
                      <c:pt idx="6587">
                        <c:v>22.1</c:v>
                      </c:pt>
                      <c:pt idx="6588">
                        <c:v>14.82</c:v>
                      </c:pt>
                      <c:pt idx="6589">
                        <c:v>14.6</c:v>
                      </c:pt>
                      <c:pt idx="6590">
                        <c:v>19.3</c:v>
                      </c:pt>
                      <c:pt idx="6591">
                        <c:v>19.899999999999999</c:v>
                      </c:pt>
                      <c:pt idx="6592">
                        <c:v>31.29</c:v>
                      </c:pt>
                      <c:pt idx="6593">
                        <c:v>31.23</c:v>
                      </c:pt>
                      <c:pt idx="6594">
                        <c:v>36.04</c:v>
                      </c:pt>
                      <c:pt idx="6595">
                        <c:v>29.28</c:v>
                      </c:pt>
                      <c:pt idx="6596">
                        <c:v>22.68</c:v>
                      </c:pt>
                      <c:pt idx="6597">
                        <c:v>15.18</c:v>
                      </c:pt>
                      <c:pt idx="6598">
                        <c:v>9.39</c:v>
                      </c:pt>
                      <c:pt idx="6599">
                        <c:v>13.26</c:v>
                      </c:pt>
                      <c:pt idx="6600">
                        <c:v>13.95</c:v>
                      </c:pt>
                      <c:pt idx="6601">
                        <c:v>12.31</c:v>
                      </c:pt>
                      <c:pt idx="6602">
                        <c:v>15.09</c:v>
                      </c:pt>
                      <c:pt idx="6603">
                        <c:v>19.510000000000002</c:v>
                      </c:pt>
                      <c:pt idx="6604">
                        <c:v>21.58</c:v>
                      </c:pt>
                      <c:pt idx="6605">
                        <c:v>28.28</c:v>
                      </c:pt>
                      <c:pt idx="6606">
                        <c:v>31.41</c:v>
                      </c:pt>
                      <c:pt idx="6607">
                        <c:v>35.950000000000003</c:v>
                      </c:pt>
                      <c:pt idx="6608">
                        <c:v>34.9</c:v>
                      </c:pt>
                      <c:pt idx="6609">
                        <c:v>32.03</c:v>
                      </c:pt>
                      <c:pt idx="6610">
                        <c:v>32.69</c:v>
                      </c:pt>
                      <c:pt idx="6611">
                        <c:v>24.87</c:v>
                      </c:pt>
                      <c:pt idx="6612">
                        <c:v>17.91</c:v>
                      </c:pt>
                      <c:pt idx="6613">
                        <c:v>11.09</c:v>
                      </c:pt>
                      <c:pt idx="6614">
                        <c:v>12.47</c:v>
                      </c:pt>
                      <c:pt idx="6615">
                        <c:v>16.63</c:v>
                      </c:pt>
                      <c:pt idx="6616">
                        <c:v>27.62</c:v>
                      </c:pt>
                      <c:pt idx="6617">
                        <c:v>33.06</c:v>
                      </c:pt>
                      <c:pt idx="6618">
                        <c:v>39.54</c:v>
                      </c:pt>
                      <c:pt idx="6619">
                        <c:v>30.63</c:v>
                      </c:pt>
                      <c:pt idx="6620">
                        <c:v>30.66</c:v>
                      </c:pt>
                      <c:pt idx="6621">
                        <c:v>30.09</c:v>
                      </c:pt>
                      <c:pt idx="6622">
                        <c:v>22.08</c:v>
                      </c:pt>
                      <c:pt idx="6623">
                        <c:v>18.09</c:v>
                      </c:pt>
                      <c:pt idx="6624">
                        <c:v>18.649999999999999</c:v>
                      </c:pt>
                      <c:pt idx="6625">
                        <c:v>20.88</c:v>
                      </c:pt>
                      <c:pt idx="6626">
                        <c:v>18.059999999999999</c:v>
                      </c:pt>
                      <c:pt idx="6627">
                        <c:v>22.63</c:v>
                      </c:pt>
                      <c:pt idx="6628">
                        <c:v>30</c:v>
                      </c:pt>
                      <c:pt idx="6629">
                        <c:v>45.22</c:v>
                      </c:pt>
                      <c:pt idx="6630">
                        <c:v>54.61</c:v>
                      </c:pt>
                      <c:pt idx="6631">
                        <c:v>55.93</c:v>
                      </c:pt>
                      <c:pt idx="6632">
                        <c:v>44.2</c:v>
                      </c:pt>
                      <c:pt idx="6633">
                        <c:v>35.340000000000003</c:v>
                      </c:pt>
                      <c:pt idx="6634">
                        <c:v>31.17</c:v>
                      </c:pt>
                      <c:pt idx="6635">
                        <c:v>22.8</c:v>
                      </c:pt>
                      <c:pt idx="6636">
                        <c:v>19.96</c:v>
                      </c:pt>
                      <c:pt idx="6637">
                        <c:v>22.77</c:v>
                      </c:pt>
                      <c:pt idx="6638">
                        <c:v>25</c:v>
                      </c:pt>
                      <c:pt idx="6639">
                        <c:v>25.06</c:v>
                      </c:pt>
                      <c:pt idx="6640">
                        <c:v>33.06</c:v>
                      </c:pt>
                      <c:pt idx="6641">
                        <c:v>33.799999999999997</c:v>
                      </c:pt>
                      <c:pt idx="6642">
                        <c:v>35.93</c:v>
                      </c:pt>
                      <c:pt idx="6643">
                        <c:v>30.26</c:v>
                      </c:pt>
                      <c:pt idx="6644">
                        <c:v>22.1</c:v>
                      </c:pt>
                      <c:pt idx="6645">
                        <c:v>20.62</c:v>
                      </c:pt>
                      <c:pt idx="6646">
                        <c:v>0.49</c:v>
                      </c:pt>
                      <c:pt idx="6647">
                        <c:v>4.09</c:v>
                      </c:pt>
                      <c:pt idx="6648">
                        <c:v>2.09</c:v>
                      </c:pt>
                      <c:pt idx="6649">
                        <c:v>1.8</c:v>
                      </c:pt>
                      <c:pt idx="6650">
                        <c:v>8.91</c:v>
                      </c:pt>
                      <c:pt idx="6651">
                        <c:v>12.46</c:v>
                      </c:pt>
                      <c:pt idx="6652">
                        <c:v>16.98</c:v>
                      </c:pt>
                      <c:pt idx="6653">
                        <c:v>31.31</c:v>
                      </c:pt>
                      <c:pt idx="6654">
                        <c:v>35.840000000000003</c:v>
                      </c:pt>
                      <c:pt idx="6655">
                        <c:v>41.92</c:v>
                      </c:pt>
                      <c:pt idx="6656">
                        <c:v>31.04</c:v>
                      </c:pt>
                      <c:pt idx="6657">
                        <c:v>24.98</c:v>
                      </c:pt>
                      <c:pt idx="6658">
                        <c:v>20.440000000000001</c:v>
                      </c:pt>
                      <c:pt idx="6659">
                        <c:v>9.7100000000000009</c:v>
                      </c:pt>
                      <c:pt idx="6660">
                        <c:v>12.18</c:v>
                      </c:pt>
                      <c:pt idx="6661">
                        <c:v>10.81</c:v>
                      </c:pt>
                      <c:pt idx="6662">
                        <c:v>10.84</c:v>
                      </c:pt>
                      <c:pt idx="6663">
                        <c:v>10.89</c:v>
                      </c:pt>
                      <c:pt idx="6664">
                        <c:v>14.68</c:v>
                      </c:pt>
                      <c:pt idx="6665">
                        <c:v>25</c:v>
                      </c:pt>
                      <c:pt idx="6666">
                        <c:v>29.96</c:v>
                      </c:pt>
                      <c:pt idx="6667">
                        <c:v>26.08</c:v>
                      </c:pt>
                      <c:pt idx="6668">
                        <c:v>27.96</c:v>
                      </c:pt>
                      <c:pt idx="6669">
                        <c:v>10.84</c:v>
                      </c:pt>
                      <c:pt idx="6670">
                        <c:v>11.81</c:v>
                      </c:pt>
                      <c:pt idx="6671">
                        <c:v>0.95</c:v>
                      </c:pt>
                      <c:pt idx="6672">
                        <c:v>9.8800000000000008</c:v>
                      </c:pt>
                      <c:pt idx="6673">
                        <c:v>3.23</c:v>
                      </c:pt>
                      <c:pt idx="6674">
                        <c:v>0.43</c:v>
                      </c:pt>
                      <c:pt idx="6675">
                        <c:v>4.46</c:v>
                      </c:pt>
                      <c:pt idx="6676">
                        <c:v>10.78</c:v>
                      </c:pt>
                      <c:pt idx="6677">
                        <c:v>31.08</c:v>
                      </c:pt>
                      <c:pt idx="6678">
                        <c:v>37.869999999999997</c:v>
                      </c:pt>
                      <c:pt idx="6679">
                        <c:v>34.94</c:v>
                      </c:pt>
                      <c:pt idx="6680">
                        <c:v>33.979999999999997</c:v>
                      </c:pt>
                      <c:pt idx="6681">
                        <c:v>32.950000000000003</c:v>
                      </c:pt>
                      <c:pt idx="6682">
                        <c:v>32.950000000000003</c:v>
                      </c:pt>
                      <c:pt idx="6683">
                        <c:v>32.130000000000003</c:v>
                      </c:pt>
                      <c:pt idx="6684">
                        <c:v>30.35</c:v>
                      </c:pt>
                      <c:pt idx="6685">
                        <c:v>29.45</c:v>
                      </c:pt>
                      <c:pt idx="6686">
                        <c:v>29.28</c:v>
                      </c:pt>
                      <c:pt idx="6687">
                        <c:v>32.409999999999997</c:v>
                      </c:pt>
                      <c:pt idx="6688">
                        <c:v>36.9</c:v>
                      </c:pt>
                      <c:pt idx="6689">
                        <c:v>46.92</c:v>
                      </c:pt>
                      <c:pt idx="6690">
                        <c:v>48.52</c:v>
                      </c:pt>
                      <c:pt idx="6691">
                        <c:v>42.04</c:v>
                      </c:pt>
                      <c:pt idx="6692">
                        <c:v>35.1</c:v>
                      </c:pt>
                      <c:pt idx="6693">
                        <c:v>30.6</c:v>
                      </c:pt>
                      <c:pt idx="6694">
                        <c:v>26.87</c:v>
                      </c:pt>
                      <c:pt idx="6695">
                        <c:v>13.85</c:v>
                      </c:pt>
                      <c:pt idx="6696">
                        <c:v>11.85</c:v>
                      </c:pt>
                      <c:pt idx="6697">
                        <c:v>10.72</c:v>
                      </c:pt>
                      <c:pt idx="6698">
                        <c:v>11.04</c:v>
                      </c:pt>
                      <c:pt idx="6699">
                        <c:v>9</c:v>
                      </c:pt>
                      <c:pt idx="6700">
                        <c:v>8.94</c:v>
                      </c:pt>
                      <c:pt idx="6701">
                        <c:v>10.94</c:v>
                      </c:pt>
                      <c:pt idx="6702">
                        <c:v>12.21</c:v>
                      </c:pt>
                      <c:pt idx="6703">
                        <c:v>24.92</c:v>
                      </c:pt>
                      <c:pt idx="6704">
                        <c:v>17.39</c:v>
                      </c:pt>
                      <c:pt idx="6705">
                        <c:v>10.77</c:v>
                      </c:pt>
                      <c:pt idx="6706">
                        <c:v>11.21</c:v>
                      </c:pt>
                      <c:pt idx="6707">
                        <c:v>3.57</c:v>
                      </c:pt>
                      <c:pt idx="6708">
                        <c:v>0</c:v>
                      </c:pt>
                      <c:pt idx="6709">
                        <c:v>-0.95</c:v>
                      </c:pt>
                      <c:pt idx="6710">
                        <c:v>-1.35</c:v>
                      </c:pt>
                      <c:pt idx="6711">
                        <c:v>-0.94</c:v>
                      </c:pt>
                      <c:pt idx="6712">
                        <c:v>0.89</c:v>
                      </c:pt>
                      <c:pt idx="6713">
                        <c:v>8.3000000000000007</c:v>
                      </c:pt>
                      <c:pt idx="6714">
                        <c:v>10.119999999999999</c:v>
                      </c:pt>
                      <c:pt idx="6715">
                        <c:v>2.5299999999999998</c:v>
                      </c:pt>
                      <c:pt idx="6716">
                        <c:v>3.08</c:v>
                      </c:pt>
                      <c:pt idx="6717">
                        <c:v>2.59</c:v>
                      </c:pt>
                      <c:pt idx="6718">
                        <c:v>0.47</c:v>
                      </c:pt>
                      <c:pt idx="6719">
                        <c:v>-0.96</c:v>
                      </c:pt>
                      <c:pt idx="6720">
                        <c:v>-2.37</c:v>
                      </c:pt>
                      <c:pt idx="6721">
                        <c:v>-0.03</c:v>
                      </c:pt>
                      <c:pt idx="6722">
                        <c:v>-0.96</c:v>
                      </c:pt>
                      <c:pt idx="6723">
                        <c:v>-0.08</c:v>
                      </c:pt>
                      <c:pt idx="6724">
                        <c:v>8.76</c:v>
                      </c:pt>
                      <c:pt idx="6725">
                        <c:v>2.52</c:v>
                      </c:pt>
                      <c:pt idx="6726">
                        <c:v>12.19</c:v>
                      </c:pt>
                      <c:pt idx="6727">
                        <c:v>27.97</c:v>
                      </c:pt>
                      <c:pt idx="6728">
                        <c:v>29.67</c:v>
                      </c:pt>
                      <c:pt idx="6729">
                        <c:v>32.479999999999997</c:v>
                      </c:pt>
                      <c:pt idx="6730">
                        <c:v>38.28</c:v>
                      </c:pt>
                      <c:pt idx="6731">
                        <c:v>30.21</c:v>
                      </c:pt>
                      <c:pt idx="6732">
                        <c:v>28.03</c:v>
                      </c:pt>
                      <c:pt idx="6733">
                        <c:v>26.26</c:v>
                      </c:pt>
                      <c:pt idx="6734">
                        <c:v>21.85</c:v>
                      </c:pt>
                      <c:pt idx="6735">
                        <c:v>27.44</c:v>
                      </c:pt>
                      <c:pt idx="6736">
                        <c:v>32.46</c:v>
                      </c:pt>
                      <c:pt idx="6737">
                        <c:v>40.049999999999997</c:v>
                      </c:pt>
                      <c:pt idx="6738">
                        <c:v>47.97</c:v>
                      </c:pt>
                      <c:pt idx="6739">
                        <c:v>43.92</c:v>
                      </c:pt>
                      <c:pt idx="6740">
                        <c:v>40.94</c:v>
                      </c:pt>
                      <c:pt idx="6741">
                        <c:v>40.950000000000003</c:v>
                      </c:pt>
                      <c:pt idx="6742">
                        <c:v>35.25</c:v>
                      </c:pt>
                      <c:pt idx="6743">
                        <c:v>32.06</c:v>
                      </c:pt>
                      <c:pt idx="6744">
                        <c:v>30.64</c:v>
                      </c:pt>
                      <c:pt idx="6745">
                        <c:v>30.02</c:v>
                      </c:pt>
                      <c:pt idx="6746">
                        <c:v>30.09</c:v>
                      </c:pt>
                      <c:pt idx="6747">
                        <c:v>30.01</c:v>
                      </c:pt>
                      <c:pt idx="6748">
                        <c:v>32</c:v>
                      </c:pt>
                      <c:pt idx="6749">
                        <c:v>42.98</c:v>
                      </c:pt>
                      <c:pt idx="6750">
                        <c:v>51.48</c:v>
                      </c:pt>
                      <c:pt idx="6751">
                        <c:v>54.75</c:v>
                      </c:pt>
                      <c:pt idx="6752">
                        <c:v>51.14</c:v>
                      </c:pt>
                      <c:pt idx="6753">
                        <c:v>51.14</c:v>
                      </c:pt>
                      <c:pt idx="6754">
                        <c:v>47.12</c:v>
                      </c:pt>
                      <c:pt idx="6755">
                        <c:v>41.21</c:v>
                      </c:pt>
                      <c:pt idx="6756">
                        <c:v>39.94</c:v>
                      </c:pt>
                      <c:pt idx="6757">
                        <c:v>40.06</c:v>
                      </c:pt>
                      <c:pt idx="6758">
                        <c:v>41.41</c:v>
                      </c:pt>
                      <c:pt idx="6759">
                        <c:v>43.79</c:v>
                      </c:pt>
                      <c:pt idx="6760">
                        <c:v>50.52</c:v>
                      </c:pt>
                      <c:pt idx="6761">
                        <c:v>59.83</c:v>
                      </c:pt>
                      <c:pt idx="6762">
                        <c:v>62.01</c:v>
                      </c:pt>
                      <c:pt idx="6763">
                        <c:v>46.36</c:v>
                      </c:pt>
                      <c:pt idx="6764">
                        <c:v>38.58</c:v>
                      </c:pt>
                      <c:pt idx="6765">
                        <c:v>37.22</c:v>
                      </c:pt>
                      <c:pt idx="6766">
                        <c:v>32.93</c:v>
                      </c:pt>
                      <c:pt idx="6767">
                        <c:v>30.22</c:v>
                      </c:pt>
                      <c:pt idx="6768">
                        <c:v>29.96</c:v>
                      </c:pt>
                      <c:pt idx="6769">
                        <c:v>30.19</c:v>
                      </c:pt>
                      <c:pt idx="6770">
                        <c:v>30</c:v>
                      </c:pt>
                      <c:pt idx="6771">
                        <c:v>30.74</c:v>
                      </c:pt>
                      <c:pt idx="6772">
                        <c:v>31.79</c:v>
                      </c:pt>
                      <c:pt idx="6773">
                        <c:v>37.78</c:v>
                      </c:pt>
                      <c:pt idx="6774">
                        <c:v>48.85</c:v>
                      </c:pt>
                      <c:pt idx="6775">
                        <c:v>56.94</c:v>
                      </c:pt>
                      <c:pt idx="6776">
                        <c:v>55.61</c:v>
                      </c:pt>
                      <c:pt idx="6777">
                        <c:v>43.07</c:v>
                      </c:pt>
                      <c:pt idx="6778">
                        <c:v>42.36</c:v>
                      </c:pt>
                      <c:pt idx="6779">
                        <c:v>40</c:v>
                      </c:pt>
                      <c:pt idx="6780">
                        <c:v>38.299999999999997</c:v>
                      </c:pt>
                      <c:pt idx="6781">
                        <c:v>37.24</c:v>
                      </c:pt>
                      <c:pt idx="6782">
                        <c:v>35.89</c:v>
                      </c:pt>
                      <c:pt idx="6783">
                        <c:v>35.369999999999997</c:v>
                      </c:pt>
                      <c:pt idx="6784">
                        <c:v>36.82</c:v>
                      </c:pt>
                      <c:pt idx="6785">
                        <c:v>39.9</c:v>
                      </c:pt>
                      <c:pt idx="6786">
                        <c:v>42.92</c:v>
                      </c:pt>
                      <c:pt idx="6787">
                        <c:v>35.46</c:v>
                      </c:pt>
                      <c:pt idx="6788">
                        <c:v>33.03</c:v>
                      </c:pt>
                      <c:pt idx="6789">
                        <c:v>30.51</c:v>
                      </c:pt>
                      <c:pt idx="6790">
                        <c:v>22.76</c:v>
                      </c:pt>
                      <c:pt idx="6791">
                        <c:v>22.04</c:v>
                      </c:pt>
                      <c:pt idx="6792">
                        <c:v>21.31</c:v>
                      </c:pt>
                      <c:pt idx="6793">
                        <c:v>22.79</c:v>
                      </c:pt>
                      <c:pt idx="6794">
                        <c:v>23.09</c:v>
                      </c:pt>
                      <c:pt idx="6795">
                        <c:v>27.05</c:v>
                      </c:pt>
                      <c:pt idx="6796">
                        <c:v>29.83</c:v>
                      </c:pt>
                      <c:pt idx="6797">
                        <c:v>38.93</c:v>
                      </c:pt>
                      <c:pt idx="6798">
                        <c:v>47</c:v>
                      </c:pt>
                      <c:pt idx="6799">
                        <c:v>49.93</c:v>
                      </c:pt>
                      <c:pt idx="6800">
                        <c:v>43.81</c:v>
                      </c:pt>
                      <c:pt idx="6801">
                        <c:v>41</c:v>
                      </c:pt>
                      <c:pt idx="6802">
                        <c:v>38.909999999999997</c:v>
                      </c:pt>
                      <c:pt idx="6803">
                        <c:v>31.89</c:v>
                      </c:pt>
                      <c:pt idx="6804">
                        <c:v>31.81</c:v>
                      </c:pt>
                      <c:pt idx="6805">
                        <c:v>30.54</c:v>
                      </c:pt>
                      <c:pt idx="6806">
                        <c:v>31.7</c:v>
                      </c:pt>
                      <c:pt idx="6807">
                        <c:v>36.35</c:v>
                      </c:pt>
                      <c:pt idx="6808">
                        <c:v>41.18</c:v>
                      </c:pt>
                      <c:pt idx="6809">
                        <c:v>42.98</c:v>
                      </c:pt>
                      <c:pt idx="6810">
                        <c:v>46.49</c:v>
                      </c:pt>
                      <c:pt idx="6811">
                        <c:v>39.9</c:v>
                      </c:pt>
                      <c:pt idx="6812">
                        <c:v>31.93</c:v>
                      </c:pt>
                      <c:pt idx="6813">
                        <c:v>29.58</c:v>
                      </c:pt>
                      <c:pt idx="6814">
                        <c:v>22.09</c:v>
                      </c:pt>
                      <c:pt idx="6815">
                        <c:v>13.32</c:v>
                      </c:pt>
                      <c:pt idx="6816">
                        <c:v>12.66</c:v>
                      </c:pt>
                      <c:pt idx="6817">
                        <c:v>12.67</c:v>
                      </c:pt>
                      <c:pt idx="6818">
                        <c:v>9.6999999999999993</c:v>
                      </c:pt>
                      <c:pt idx="6819">
                        <c:v>10.28</c:v>
                      </c:pt>
                      <c:pt idx="6820">
                        <c:v>11.17</c:v>
                      </c:pt>
                      <c:pt idx="6821">
                        <c:v>28.04</c:v>
                      </c:pt>
                      <c:pt idx="6822">
                        <c:v>38.090000000000003</c:v>
                      </c:pt>
                      <c:pt idx="6823">
                        <c:v>36.99</c:v>
                      </c:pt>
                      <c:pt idx="6824">
                        <c:v>30.54</c:v>
                      </c:pt>
                      <c:pt idx="6825">
                        <c:v>21.49</c:v>
                      </c:pt>
                      <c:pt idx="6826">
                        <c:v>17.52</c:v>
                      </c:pt>
                      <c:pt idx="6827">
                        <c:v>12.78</c:v>
                      </c:pt>
                      <c:pt idx="6828">
                        <c:v>13.54</c:v>
                      </c:pt>
                      <c:pt idx="6829">
                        <c:v>15.12</c:v>
                      </c:pt>
                      <c:pt idx="6830">
                        <c:v>21.62</c:v>
                      </c:pt>
                      <c:pt idx="6831">
                        <c:v>26.04</c:v>
                      </c:pt>
                      <c:pt idx="6832">
                        <c:v>34.93</c:v>
                      </c:pt>
                      <c:pt idx="6833">
                        <c:v>42.05</c:v>
                      </c:pt>
                      <c:pt idx="6834">
                        <c:v>46.32</c:v>
                      </c:pt>
                      <c:pt idx="6835">
                        <c:v>40.98</c:v>
                      </c:pt>
                      <c:pt idx="6836">
                        <c:v>42.94</c:v>
                      </c:pt>
                      <c:pt idx="6837">
                        <c:v>38.96</c:v>
                      </c:pt>
                      <c:pt idx="6838">
                        <c:v>31.37</c:v>
                      </c:pt>
                      <c:pt idx="6839">
                        <c:v>30.53</c:v>
                      </c:pt>
                      <c:pt idx="6840">
                        <c:v>29.38</c:v>
                      </c:pt>
                      <c:pt idx="6841">
                        <c:v>28.34</c:v>
                      </c:pt>
                      <c:pt idx="6842">
                        <c:v>28.46</c:v>
                      </c:pt>
                      <c:pt idx="6843">
                        <c:v>29.03</c:v>
                      </c:pt>
                      <c:pt idx="6844">
                        <c:v>31.47</c:v>
                      </c:pt>
                      <c:pt idx="6845">
                        <c:v>43.08</c:v>
                      </c:pt>
                      <c:pt idx="6846">
                        <c:v>59.93</c:v>
                      </c:pt>
                      <c:pt idx="6847">
                        <c:v>64.819999999999993</c:v>
                      </c:pt>
                      <c:pt idx="6848">
                        <c:v>50.81</c:v>
                      </c:pt>
                      <c:pt idx="6849">
                        <c:v>46.46</c:v>
                      </c:pt>
                      <c:pt idx="6850">
                        <c:v>44.4</c:v>
                      </c:pt>
                      <c:pt idx="6851">
                        <c:v>38.03</c:v>
                      </c:pt>
                      <c:pt idx="6852">
                        <c:v>33.49</c:v>
                      </c:pt>
                      <c:pt idx="6853">
                        <c:v>31.29</c:v>
                      </c:pt>
                      <c:pt idx="6854">
                        <c:v>34.72</c:v>
                      </c:pt>
                      <c:pt idx="6855">
                        <c:v>36.99</c:v>
                      </c:pt>
                      <c:pt idx="6856">
                        <c:v>46.45</c:v>
                      </c:pt>
                      <c:pt idx="6857">
                        <c:v>55.9</c:v>
                      </c:pt>
                      <c:pt idx="6858">
                        <c:v>49.9</c:v>
                      </c:pt>
                      <c:pt idx="6859">
                        <c:v>39.270000000000003</c:v>
                      </c:pt>
                      <c:pt idx="6860">
                        <c:v>35.21</c:v>
                      </c:pt>
                      <c:pt idx="6861">
                        <c:v>31.66</c:v>
                      </c:pt>
                      <c:pt idx="6862">
                        <c:v>29.63</c:v>
                      </c:pt>
                      <c:pt idx="6863">
                        <c:v>28</c:v>
                      </c:pt>
                      <c:pt idx="6864">
                        <c:v>26.99</c:v>
                      </c:pt>
                      <c:pt idx="6865">
                        <c:v>27.41</c:v>
                      </c:pt>
                      <c:pt idx="6866">
                        <c:v>26.4</c:v>
                      </c:pt>
                      <c:pt idx="6867">
                        <c:v>26.17</c:v>
                      </c:pt>
                      <c:pt idx="6868">
                        <c:v>26.1</c:v>
                      </c:pt>
                      <c:pt idx="6869">
                        <c:v>28</c:v>
                      </c:pt>
                      <c:pt idx="6870">
                        <c:v>33.99</c:v>
                      </c:pt>
                      <c:pt idx="6871">
                        <c:v>39.42</c:v>
                      </c:pt>
                      <c:pt idx="6872">
                        <c:v>35.950000000000003</c:v>
                      </c:pt>
                      <c:pt idx="6873">
                        <c:v>28.04</c:v>
                      </c:pt>
                      <c:pt idx="6874">
                        <c:v>22.86</c:v>
                      </c:pt>
                      <c:pt idx="6875">
                        <c:v>26.07</c:v>
                      </c:pt>
                      <c:pt idx="6876">
                        <c:v>12.67</c:v>
                      </c:pt>
                      <c:pt idx="6877">
                        <c:v>13.31</c:v>
                      </c:pt>
                      <c:pt idx="6878">
                        <c:v>26.42</c:v>
                      </c:pt>
                      <c:pt idx="6879">
                        <c:v>31.44</c:v>
                      </c:pt>
                      <c:pt idx="6880">
                        <c:v>40.020000000000003</c:v>
                      </c:pt>
                      <c:pt idx="6881">
                        <c:v>49.71</c:v>
                      </c:pt>
                      <c:pt idx="6882">
                        <c:v>52.51</c:v>
                      </c:pt>
                      <c:pt idx="6883">
                        <c:v>43.97</c:v>
                      </c:pt>
                      <c:pt idx="6884">
                        <c:v>40.03</c:v>
                      </c:pt>
                      <c:pt idx="6885">
                        <c:v>39.07</c:v>
                      </c:pt>
                      <c:pt idx="6886">
                        <c:v>31.43</c:v>
                      </c:pt>
                      <c:pt idx="6887">
                        <c:v>34.26</c:v>
                      </c:pt>
                      <c:pt idx="6888">
                        <c:v>31.56</c:v>
                      </c:pt>
                      <c:pt idx="6889">
                        <c:v>30.41</c:v>
                      </c:pt>
                      <c:pt idx="6890">
                        <c:v>29.27</c:v>
                      </c:pt>
                      <c:pt idx="6891">
                        <c:v>29.04</c:v>
                      </c:pt>
                      <c:pt idx="6892">
                        <c:v>28.91</c:v>
                      </c:pt>
                      <c:pt idx="6893">
                        <c:v>31.18</c:v>
                      </c:pt>
                      <c:pt idx="6894">
                        <c:v>35.9</c:v>
                      </c:pt>
                      <c:pt idx="6895">
                        <c:v>34.22</c:v>
                      </c:pt>
                      <c:pt idx="6896">
                        <c:v>33.24</c:v>
                      </c:pt>
                      <c:pt idx="6897">
                        <c:v>31.58</c:v>
                      </c:pt>
                      <c:pt idx="6898">
                        <c:v>30.97</c:v>
                      </c:pt>
                      <c:pt idx="6899">
                        <c:v>22.77</c:v>
                      </c:pt>
                      <c:pt idx="6900">
                        <c:v>17.07</c:v>
                      </c:pt>
                      <c:pt idx="6901">
                        <c:v>22.44</c:v>
                      </c:pt>
                      <c:pt idx="6902">
                        <c:v>26.63</c:v>
                      </c:pt>
                      <c:pt idx="6903">
                        <c:v>28.03</c:v>
                      </c:pt>
                      <c:pt idx="6904">
                        <c:v>39.380000000000003</c:v>
                      </c:pt>
                      <c:pt idx="6905">
                        <c:v>45.05</c:v>
                      </c:pt>
                      <c:pt idx="6906">
                        <c:v>45.04</c:v>
                      </c:pt>
                      <c:pt idx="6907">
                        <c:v>31.75</c:v>
                      </c:pt>
                      <c:pt idx="6908">
                        <c:v>31.73</c:v>
                      </c:pt>
                      <c:pt idx="6909">
                        <c:v>29.09</c:v>
                      </c:pt>
                      <c:pt idx="6910">
                        <c:v>18.399999999999999</c:v>
                      </c:pt>
                      <c:pt idx="6911">
                        <c:v>22.99</c:v>
                      </c:pt>
                      <c:pt idx="6912">
                        <c:v>21.26</c:v>
                      </c:pt>
                      <c:pt idx="6913">
                        <c:v>21.86</c:v>
                      </c:pt>
                      <c:pt idx="6914">
                        <c:v>21.79</c:v>
                      </c:pt>
                      <c:pt idx="6915">
                        <c:v>22.93</c:v>
                      </c:pt>
                      <c:pt idx="6916">
                        <c:v>28.9</c:v>
                      </c:pt>
                      <c:pt idx="6917">
                        <c:v>42</c:v>
                      </c:pt>
                      <c:pt idx="6918">
                        <c:v>55.34</c:v>
                      </c:pt>
                      <c:pt idx="6919">
                        <c:v>51.65</c:v>
                      </c:pt>
                      <c:pt idx="6920">
                        <c:v>43.12</c:v>
                      </c:pt>
                      <c:pt idx="6921">
                        <c:v>37.299999999999997</c:v>
                      </c:pt>
                      <c:pt idx="6922">
                        <c:v>33.159999999999997</c:v>
                      </c:pt>
                      <c:pt idx="6923">
                        <c:v>32.26</c:v>
                      </c:pt>
                      <c:pt idx="6924">
                        <c:v>31.68</c:v>
                      </c:pt>
                      <c:pt idx="6925">
                        <c:v>40.56</c:v>
                      </c:pt>
                      <c:pt idx="6926">
                        <c:v>42.5</c:v>
                      </c:pt>
                      <c:pt idx="6927">
                        <c:v>44.62</c:v>
                      </c:pt>
                      <c:pt idx="6928">
                        <c:v>50.9</c:v>
                      </c:pt>
                      <c:pt idx="6929">
                        <c:v>63.47</c:v>
                      </c:pt>
                      <c:pt idx="6930">
                        <c:v>66.73</c:v>
                      </c:pt>
                      <c:pt idx="6931">
                        <c:v>45.95</c:v>
                      </c:pt>
                      <c:pt idx="6932">
                        <c:v>39.049999999999997</c:v>
                      </c:pt>
                      <c:pt idx="6933">
                        <c:v>34.07</c:v>
                      </c:pt>
                      <c:pt idx="6934">
                        <c:v>31.11</c:v>
                      </c:pt>
                      <c:pt idx="6935">
                        <c:v>28.95</c:v>
                      </c:pt>
                      <c:pt idx="6936">
                        <c:v>27.02</c:v>
                      </c:pt>
                      <c:pt idx="6937">
                        <c:v>26.99</c:v>
                      </c:pt>
                      <c:pt idx="6938">
                        <c:v>27.04</c:v>
                      </c:pt>
                      <c:pt idx="6939">
                        <c:v>28.06</c:v>
                      </c:pt>
                      <c:pt idx="6940">
                        <c:v>30.57</c:v>
                      </c:pt>
                      <c:pt idx="6941">
                        <c:v>34.99</c:v>
                      </c:pt>
                      <c:pt idx="6942">
                        <c:v>46.16</c:v>
                      </c:pt>
                      <c:pt idx="6943">
                        <c:v>44.97</c:v>
                      </c:pt>
                      <c:pt idx="6944">
                        <c:v>36.950000000000003</c:v>
                      </c:pt>
                      <c:pt idx="6945">
                        <c:v>33.46</c:v>
                      </c:pt>
                      <c:pt idx="6946">
                        <c:v>31.34</c:v>
                      </c:pt>
                      <c:pt idx="6947">
                        <c:v>29.24</c:v>
                      </c:pt>
                      <c:pt idx="6948">
                        <c:v>30.22</c:v>
                      </c:pt>
                      <c:pt idx="6949">
                        <c:v>29.72</c:v>
                      </c:pt>
                      <c:pt idx="6950">
                        <c:v>32.799999999999997</c:v>
                      </c:pt>
                      <c:pt idx="6951">
                        <c:v>35.47</c:v>
                      </c:pt>
                      <c:pt idx="6952">
                        <c:v>47.92</c:v>
                      </c:pt>
                      <c:pt idx="6953">
                        <c:v>63.36</c:v>
                      </c:pt>
                      <c:pt idx="6954">
                        <c:v>67.92</c:v>
                      </c:pt>
                      <c:pt idx="6955">
                        <c:v>47.38</c:v>
                      </c:pt>
                      <c:pt idx="6956">
                        <c:v>43.61</c:v>
                      </c:pt>
                      <c:pt idx="6957">
                        <c:v>39.99</c:v>
                      </c:pt>
                      <c:pt idx="6958">
                        <c:v>36.79</c:v>
                      </c:pt>
                      <c:pt idx="6959">
                        <c:v>33.22</c:v>
                      </c:pt>
                      <c:pt idx="6960">
                        <c:v>34.020000000000003</c:v>
                      </c:pt>
                      <c:pt idx="6961">
                        <c:v>34.020000000000003</c:v>
                      </c:pt>
                      <c:pt idx="6962">
                        <c:v>31.89</c:v>
                      </c:pt>
                      <c:pt idx="6963">
                        <c:v>31.81</c:v>
                      </c:pt>
                      <c:pt idx="6964">
                        <c:v>36.03</c:v>
                      </c:pt>
                      <c:pt idx="6965">
                        <c:v>49.87</c:v>
                      </c:pt>
                      <c:pt idx="6966">
                        <c:v>66</c:v>
                      </c:pt>
                      <c:pt idx="6967">
                        <c:v>69.94</c:v>
                      </c:pt>
                      <c:pt idx="6968">
                        <c:v>67.91</c:v>
                      </c:pt>
                      <c:pt idx="6969">
                        <c:v>64.42</c:v>
                      </c:pt>
                      <c:pt idx="6970">
                        <c:v>63.08</c:v>
                      </c:pt>
                      <c:pt idx="6971">
                        <c:v>47.93</c:v>
                      </c:pt>
                      <c:pt idx="6972">
                        <c:v>45.97</c:v>
                      </c:pt>
                      <c:pt idx="6973">
                        <c:v>46.07</c:v>
                      </c:pt>
                      <c:pt idx="6974">
                        <c:v>55.84</c:v>
                      </c:pt>
                      <c:pt idx="6975">
                        <c:v>62.65</c:v>
                      </c:pt>
                      <c:pt idx="6976">
                        <c:v>65.66</c:v>
                      </c:pt>
                      <c:pt idx="6977">
                        <c:v>73.41</c:v>
                      </c:pt>
                      <c:pt idx="6978">
                        <c:v>83.02</c:v>
                      </c:pt>
                      <c:pt idx="6979">
                        <c:v>66.84</c:v>
                      </c:pt>
                      <c:pt idx="6980">
                        <c:v>54.27</c:v>
                      </c:pt>
                      <c:pt idx="6981">
                        <c:v>40.450000000000003</c:v>
                      </c:pt>
                      <c:pt idx="6982">
                        <c:v>36.94</c:v>
                      </c:pt>
                      <c:pt idx="6983">
                        <c:v>34.28</c:v>
                      </c:pt>
                      <c:pt idx="6984">
                        <c:v>34.26</c:v>
                      </c:pt>
                      <c:pt idx="6985">
                        <c:v>33.590000000000003</c:v>
                      </c:pt>
                      <c:pt idx="6986">
                        <c:v>33.74</c:v>
                      </c:pt>
                      <c:pt idx="6987">
                        <c:v>34</c:v>
                      </c:pt>
                      <c:pt idx="6988">
                        <c:v>34.89</c:v>
                      </c:pt>
                      <c:pt idx="6989">
                        <c:v>53.71</c:v>
                      </c:pt>
                      <c:pt idx="6990">
                        <c:v>67.66</c:v>
                      </c:pt>
                      <c:pt idx="6991">
                        <c:v>68.540000000000006</c:v>
                      </c:pt>
                      <c:pt idx="6992">
                        <c:v>67.819999999999993</c:v>
                      </c:pt>
                      <c:pt idx="6993">
                        <c:v>62.07</c:v>
                      </c:pt>
                      <c:pt idx="6994">
                        <c:v>49.97</c:v>
                      </c:pt>
                      <c:pt idx="6995">
                        <c:v>46.57</c:v>
                      </c:pt>
                      <c:pt idx="6996">
                        <c:v>41.55</c:v>
                      </c:pt>
                      <c:pt idx="6997">
                        <c:v>40.53</c:v>
                      </c:pt>
                      <c:pt idx="6998">
                        <c:v>43.63</c:v>
                      </c:pt>
                      <c:pt idx="6999">
                        <c:v>49.91</c:v>
                      </c:pt>
                      <c:pt idx="7000">
                        <c:v>58.01</c:v>
                      </c:pt>
                      <c:pt idx="7001">
                        <c:v>61.27</c:v>
                      </c:pt>
                      <c:pt idx="7002">
                        <c:v>54.3</c:v>
                      </c:pt>
                      <c:pt idx="7003">
                        <c:v>41.55</c:v>
                      </c:pt>
                      <c:pt idx="7004">
                        <c:v>34.6</c:v>
                      </c:pt>
                      <c:pt idx="7005">
                        <c:v>34.869999999999997</c:v>
                      </c:pt>
                      <c:pt idx="7006">
                        <c:v>31.04</c:v>
                      </c:pt>
                      <c:pt idx="7007">
                        <c:v>29.62</c:v>
                      </c:pt>
                      <c:pt idx="7008">
                        <c:v>29.02</c:v>
                      </c:pt>
                      <c:pt idx="7009">
                        <c:v>29.06</c:v>
                      </c:pt>
                      <c:pt idx="7010">
                        <c:v>29.88</c:v>
                      </c:pt>
                      <c:pt idx="7011">
                        <c:v>30</c:v>
                      </c:pt>
                      <c:pt idx="7012">
                        <c:v>31.01</c:v>
                      </c:pt>
                      <c:pt idx="7013">
                        <c:v>39.909999999999997</c:v>
                      </c:pt>
                      <c:pt idx="7014">
                        <c:v>47.05</c:v>
                      </c:pt>
                      <c:pt idx="7015">
                        <c:v>51.28</c:v>
                      </c:pt>
                      <c:pt idx="7016">
                        <c:v>47</c:v>
                      </c:pt>
                      <c:pt idx="7017">
                        <c:v>43.14</c:v>
                      </c:pt>
                      <c:pt idx="7018">
                        <c:v>41.28</c:v>
                      </c:pt>
                      <c:pt idx="7019">
                        <c:v>37.590000000000003</c:v>
                      </c:pt>
                      <c:pt idx="7020">
                        <c:v>33.06</c:v>
                      </c:pt>
                      <c:pt idx="7021">
                        <c:v>32.89</c:v>
                      </c:pt>
                      <c:pt idx="7022">
                        <c:v>32.61</c:v>
                      </c:pt>
                      <c:pt idx="7023">
                        <c:v>33.04</c:v>
                      </c:pt>
                      <c:pt idx="7024">
                        <c:v>44.61</c:v>
                      </c:pt>
                      <c:pt idx="7025">
                        <c:v>47.86</c:v>
                      </c:pt>
                      <c:pt idx="7026">
                        <c:v>46.94</c:v>
                      </c:pt>
                      <c:pt idx="7027">
                        <c:v>38.979999999999997</c:v>
                      </c:pt>
                      <c:pt idx="7028">
                        <c:v>41.84</c:v>
                      </c:pt>
                      <c:pt idx="7029">
                        <c:v>35.86</c:v>
                      </c:pt>
                      <c:pt idx="7030">
                        <c:v>32.74</c:v>
                      </c:pt>
                      <c:pt idx="7031">
                        <c:v>35</c:v>
                      </c:pt>
                      <c:pt idx="7032">
                        <c:v>32.520000000000003</c:v>
                      </c:pt>
                      <c:pt idx="7033">
                        <c:v>32.049999999999997</c:v>
                      </c:pt>
                      <c:pt idx="7034">
                        <c:v>30.84</c:v>
                      </c:pt>
                      <c:pt idx="7035">
                        <c:v>29.35</c:v>
                      </c:pt>
                      <c:pt idx="7036">
                        <c:v>30.3</c:v>
                      </c:pt>
                      <c:pt idx="7037">
                        <c:v>31.16</c:v>
                      </c:pt>
                      <c:pt idx="7038">
                        <c:v>35.880000000000003</c:v>
                      </c:pt>
                      <c:pt idx="7039">
                        <c:v>41.91</c:v>
                      </c:pt>
                      <c:pt idx="7040">
                        <c:v>46.07</c:v>
                      </c:pt>
                      <c:pt idx="7041">
                        <c:v>47.71</c:v>
                      </c:pt>
                      <c:pt idx="7042">
                        <c:v>45.98</c:v>
                      </c:pt>
                      <c:pt idx="7043">
                        <c:v>35</c:v>
                      </c:pt>
                      <c:pt idx="7044">
                        <c:v>31.02</c:v>
                      </c:pt>
                      <c:pt idx="7045">
                        <c:v>32.090000000000003</c:v>
                      </c:pt>
                      <c:pt idx="7046">
                        <c:v>32</c:v>
                      </c:pt>
                      <c:pt idx="7047">
                        <c:v>32.090000000000003</c:v>
                      </c:pt>
                      <c:pt idx="7048">
                        <c:v>36.56</c:v>
                      </c:pt>
                      <c:pt idx="7049">
                        <c:v>40.200000000000003</c:v>
                      </c:pt>
                      <c:pt idx="7050">
                        <c:v>40.71</c:v>
                      </c:pt>
                      <c:pt idx="7051">
                        <c:v>31.75</c:v>
                      </c:pt>
                      <c:pt idx="7052">
                        <c:v>28.59</c:v>
                      </c:pt>
                      <c:pt idx="7053">
                        <c:v>27.5</c:v>
                      </c:pt>
                      <c:pt idx="7054">
                        <c:v>15.48</c:v>
                      </c:pt>
                      <c:pt idx="7055">
                        <c:v>19.100000000000001</c:v>
                      </c:pt>
                      <c:pt idx="7056">
                        <c:v>19.03</c:v>
                      </c:pt>
                      <c:pt idx="7057">
                        <c:v>16.899999999999999</c:v>
                      </c:pt>
                      <c:pt idx="7058">
                        <c:v>12.98</c:v>
                      </c:pt>
                      <c:pt idx="7059">
                        <c:v>9.24</c:v>
                      </c:pt>
                      <c:pt idx="7060">
                        <c:v>5.23</c:v>
                      </c:pt>
                      <c:pt idx="7061">
                        <c:v>9.86</c:v>
                      </c:pt>
                      <c:pt idx="7062">
                        <c:v>9.85</c:v>
                      </c:pt>
                      <c:pt idx="7063">
                        <c:v>13.04</c:v>
                      </c:pt>
                      <c:pt idx="7064">
                        <c:v>12.9</c:v>
                      </c:pt>
                      <c:pt idx="7065">
                        <c:v>13.09</c:v>
                      </c:pt>
                      <c:pt idx="7066">
                        <c:v>14.3</c:v>
                      </c:pt>
                      <c:pt idx="7067">
                        <c:v>13.58</c:v>
                      </c:pt>
                      <c:pt idx="7068">
                        <c:v>13.44</c:v>
                      </c:pt>
                      <c:pt idx="7069">
                        <c:v>13.5</c:v>
                      </c:pt>
                      <c:pt idx="7070">
                        <c:v>23.39</c:v>
                      </c:pt>
                      <c:pt idx="7071">
                        <c:v>28.65</c:v>
                      </c:pt>
                      <c:pt idx="7072">
                        <c:v>34.450000000000003</c:v>
                      </c:pt>
                      <c:pt idx="7073">
                        <c:v>49.9</c:v>
                      </c:pt>
                      <c:pt idx="7074">
                        <c:v>49.97</c:v>
                      </c:pt>
                      <c:pt idx="7075">
                        <c:v>44.92</c:v>
                      </c:pt>
                      <c:pt idx="7076">
                        <c:v>35.880000000000003</c:v>
                      </c:pt>
                      <c:pt idx="7077">
                        <c:v>32.24</c:v>
                      </c:pt>
                      <c:pt idx="7078">
                        <c:v>29.05</c:v>
                      </c:pt>
                      <c:pt idx="7079">
                        <c:v>28.61</c:v>
                      </c:pt>
                      <c:pt idx="7080">
                        <c:v>27.86</c:v>
                      </c:pt>
                      <c:pt idx="7081">
                        <c:v>26.43</c:v>
                      </c:pt>
                      <c:pt idx="7082">
                        <c:v>23.07</c:v>
                      </c:pt>
                      <c:pt idx="7083">
                        <c:v>22.22</c:v>
                      </c:pt>
                      <c:pt idx="7084">
                        <c:v>30.33</c:v>
                      </c:pt>
                      <c:pt idx="7085">
                        <c:v>42.36</c:v>
                      </c:pt>
                      <c:pt idx="7086">
                        <c:v>50.21</c:v>
                      </c:pt>
                      <c:pt idx="7087">
                        <c:v>50</c:v>
                      </c:pt>
                      <c:pt idx="7088">
                        <c:v>45.39</c:v>
                      </c:pt>
                      <c:pt idx="7089">
                        <c:v>46.02</c:v>
                      </c:pt>
                      <c:pt idx="7090">
                        <c:v>46.1</c:v>
                      </c:pt>
                      <c:pt idx="7091">
                        <c:v>43.16</c:v>
                      </c:pt>
                      <c:pt idx="7092">
                        <c:v>46.34</c:v>
                      </c:pt>
                      <c:pt idx="7093">
                        <c:v>46.74</c:v>
                      </c:pt>
                      <c:pt idx="7094">
                        <c:v>46.01</c:v>
                      </c:pt>
                      <c:pt idx="7095">
                        <c:v>46.08</c:v>
                      </c:pt>
                      <c:pt idx="7096">
                        <c:v>49.66</c:v>
                      </c:pt>
                      <c:pt idx="7097">
                        <c:v>54.2</c:v>
                      </c:pt>
                      <c:pt idx="7098">
                        <c:v>53.91</c:v>
                      </c:pt>
                      <c:pt idx="7099">
                        <c:v>50.12</c:v>
                      </c:pt>
                      <c:pt idx="7100">
                        <c:v>45.48</c:v>
                      </c:pt>
                      <c:pt idx="7101">
                        <c:v>37.700000000000003</c:v>
                      </c:pt>
                      <c:pt idx="7102">
                        <c:v>36</c:v>
                      </c:pt>
                      <c:pt idx="7103">
                        <c:v>31.68</c:v>
                      </c:pt>
                      <c:pt idx="7104">
                        <c:v>32.409999999999997</c:v>
                      </c:pt>
                      <c:pt idx="7105">
                        <c:v>32.090000000000003</c:v>
                      </c:pt>
                      <c:pt idx="7106">
                        <c:v>31.67</c:v>
                      </c:pt>
                      <c:pt idx="7107">
                        <c:v>32.07</c:v>
                      </c:pt>
                      <c:pt idx="7108">
                        <c:v>34.299999999999997</c:v>
                      </c:pt>
                      <c:pt idx="7109">
                        <c:v>43.56</c:v>
                      </c:pt>
                      <c:pt idx="7110">
                        <c:v>46.59</c:v>
                      </c:pt>
                      <c:pt idx="7111">
                        <c:v>53.91</c:v>
                      </c:pt>
                      <c:pt idx="7112">
                        <c:v>48.42</c:v>
                      </c:pt>
                      <c:pt idx="7113">
                        <c:v>49.08</c:v>
                      </c:pt>
                      <c:pt idx="7114">
                        <c:v>45.39</c:v>
                      </c:pt>
                      <c:pt idx="7115">
                        <c:v>38.58</c:v>
                      </c:pt>
                      <c:pt idx="7116">
                        <c:v>38.229999999999997</c:v>
                      </c:pt>
                      <c:pt idx="7117">
                        <c:v>36.99</c:v>
                      </c:pt>
                      <c:pt idx="7118">
                        <c:v>36.99</c:v>
                      </c:pt>
                      <c:pt idx="7119">
                        <c:v>36.1</c:v>
                      </c:pt>
                      <c:pt idx="7120">
                        <c:v>39.68</c:v>
                      </c:pt>
                      <c:pt idx="7121">
                        <c:v>44.9</c:v>
                      </c:pt>
                      <c:pt idx="7122">
                        <c:v>39.56</c:v>
                      </c:pt>
                      <c:pt idx="7123">
                        <c:v>33</c:v>
                      </c:pt>
                      <c:pt idx="7124">
                        <c:v>32.6</c:v>
                      </c:pt>
                      <c:pt idx="7125">
                        <c:v>30.18</c:v>
                      </c:pt>
                      <c:pt idx="7126">
                        <c:v>27.02</c:v>
                      </c:pt>
                      <c:pt idx="7127">
                        <c:v>15.78</c:v>
                      </c:pt>
                      <c:pt idx="7128">
                        <c:v>15.05</c:v>
                      </c:pt>
                      <c:pt idx="7129">
                        <c:v>12.79</c:v>
                      </c:pt>
                      <c:pt idx="7130">
                        <c:v>13.99</c:v>
                      </c:pt>
                      <c:pt idx="7131">
                        <c:v>17.03</c:v>
                      </c:pt>
                      <c:pt idx="7132">
                        <c:v>26.35</c:v>
                      </c:pt>
                      <c:pt idx="7133">
                        <c:v>34.67</c:v>
                      </c:pt>
                      <c:pt idx="7134">
                        <c:v>44.84</c:v>
                      </c:pt>
                      <c:pt idx="7135">
                        <c:v>45</c:v>
                      </c:pt>
                      <c:pt idx="7136">
                        <c:v>43.94</c:v>
                      </c:pt>
                      <c:pt idx="7137">
                        <c:v>37.11</c:v>
                      </c:pt>
                      <c:pt idx="7138">
                        <c:v>31.57</c:v>
                      </c:pt>
                      <c:pt idx="7139">
                        <c:v>29.79</c:v>
                      </c:pt>
                      <c:pt idx="7140">
                        <c:v>29.66</c:v>
                      </c:pt>
                      <c:pt idx="7141">
                        <c:v>30</c:v>
                      </c:pt>
                      <c:pt idx="7142">
                        <c:v>31.05</c:v>
                      </c:pt>
                      <c:pt idx="7143">
                        <c:v>34.03</c:v>
                      </c:pt>
                      <c:pt idx="7144">
                        <c:v>44.74</c:v>
                      </c:pt>
                      <c:pt idx="7145">
                        <c:v>50.56</c:v>
                      </c:pt>
                      <c:pt idx="7146">
                        <c:v>56.85</c:v>
                      </c:pt>
                      <c:pt idx="7147">
                        <c:v>46.19</c:v>
                      </c:pt>
                      <c:pt idx="7148">
                        <c:v>45.92</c:v>
                      </c:pt>
                      <c:pt idx="7149">
                        <c:v>40.58</c:v>
                      </c:pt>
                      <c:pt idx="7150">
                        <c:v>33.090000000000003</c:v>
                      </c:pt>
                      <c:pt idx="7151">
                        <c:v>31.67</c:v>
                      </c:pt>
                      <c:pt idx="7152">
                        <c:v>32.18</c:v>
                      </c:pt>
                      <c:pt idx="7153">
                        <c:v>32.21</c:v>
                      </c:pt>
                      <c:pt idx="7154">
                        <c:v>32.25</c:v>
                      </c:pt>
                      <c:pt idx="7155">
                        <c:v>32.25</c:v>
                      </c:pt>
                      <c:pt idx="7156">
                        <c:v>35.36</c:v>
                      </c:pt>
                      <c:pt idx="7157">
                        <c:v>45.25</c:v>
                      </c:pt>
                      <c:pt idx="7158">
                        <c:v>55.93</c:v>
                      </c:pt>
                      <c:pt idx="7159">
                        <c:v>56.93</c:v>
                      </c:pt>
                      <c:pt idx="7160">
                        <c:v>51.9</c:v>
                      </c:pt>
                      <c:pt idx="7161">
                        <c:v>46.01</c:v>
                      </c:pt>
                      <c:pt idx="7162">
                        <c:v>43.25</c:v>
                      </c:pt>
                      <c:pt idx="7163">
                        <c:v>38.299999999999997</c:v>
                      </c:pt>
                      <c:pt idx="7164">
                        <c:v>32.380000000000003</c:v>
                      </c:pt>
                      <c:pt idx="7165">
                        <c:v>33.07</c:v>
                      </c:pt>
                      <c:pt idx="7166">
                        <c:v>36.97</c:v>
                      </c:pt>
                      <c:pt idx="7167">
                        <c:v>45.42</c:v>
                      </c:pt>
                      <c:pt idx="7168">
                        <c:v>48.91</c:v>
                      </c:pt>
                      <c:pt idx="7169">
                        <c:v>50.03</c:v>
                      </c:pt>
                      <c:pt idx="7170">
                        <c:v>50.93</c:v>
                      </c:pt>
                      <c:pt idx="7171">
                        <c:v>40.99</c:v>
                      </c:pt>
                      <c:pt idx="7172">
                        <c:v>34.97</c:v>
                      </c:pt>
                      <c:pt idx="7173">
                        <c:v>32.340000000000003</c:v>
                      </c:pt>
                      <c:pt idx="7174">
                        <c:v>30.92</c:v>
                      </c:pt>
                      <c:pt idx="7175">
                        <c:v>22.48</c:v>
                      </c:pt>
                      <c:pt idx="7176">
                        <c:v>21.71</c:v>
                      </c:pt>
                      <c:pt idx="7177">
                        <c:v>12.9</c:v>
                      </c:pt>
                      <c:pt idx="7178">
                        <c:v>12.81</c:v>
                      </c:pt>
                      <c:pt idx="7179">
                        <c:v>19.04</c:v>
                      </c:pt>
                      <c:pt idx="7180">
                        <c:v>24.01</c:v>
                      </c:pt>
                      <c:pt idx="7181">
                        <c:v>32</c:v>
                      </c:pt>
                      <c:pt idx="7182">
                        <c:v>36.79</c:v>
                      </c:pt>
                      <c:pt idx="7183">
                        <c:v>38.909999999999997</c:v>
                      </c:pt>
                      <c:pt idx="7184">
                        <c:v>38.69</c:v>
                      </c:pt>
                      <c:pt idx="7185">
                        <c:v>38.36</c:v>
                      </c:pt>
                      <c:pt idx="7186">
                        <c:v>33.520000000000003</c:v>
                      </c:pt>
                      <c:pt idx="7187">
                        <c:v>28.51</c:v>
                      </c:pt>
                      <c:pt idx="7188">
                        <c:v>25.97</c:v>
                      </c:pt>
                      <c:pt idx="7189">
                        <c:v>27.09</c:v>
                      </c:pt>
                      <c:pt idx="7190">
                        <c:v>26.99</c:v>
                      </c:pt>
                      <c:pt idx="7191">
                        <c:v>30.01</c:v>
                      </c:pt>
                      <c:pt idx="7192">
                        <c:v>37.799999999999997</c:v>
                      </c:pt>
                      <c:pt idx="7193">
                        <c:v>44.93</c:v>
                      </c:pt>
                      <c:pt idx="7194">
                        <c:v>46.93</c:v>
                      </c:pt>
                      <c:pt idx="7195">
                        <c:v>44.18</c:v>
                      </c:pt>
                      <c:pt idx="7196">
                        <c:v>35.99</c:v>
                      </c:pt>
                      <c:pt idx="7197">
                        <c:v>32.04</c:v>
                      </c:pt>
                      <c:pt idx="7198">
                        <c:v>19.170000000000002</c:v>
                      </c:pt>
                      <c:pt idx="7199">
                        <c:v>16.04</c:v>
                      </c:pt>
                      <c:pt idx="7200">
                        <c:v>9.41</c:v>
                      </c:pt>
                      <c:pt idx="7201">
                        <c:v>0.03</c:v>
                      </c:pt>
                      <c:pt idx="7202">
                        <c:v>-9.69</c:v>
                      </c:pt>
                      <c:pt idx="7203">
                        <c:v>-13.02</c:v>
                      </c:pt>
                      <c:pt idx="7204">
                        <c:v>-15.01</c:v>
                      </c:pt>
                      <c:pt idx="7205">
                        <c:v>-9.6</c:v>
                      </c:pt>
                      <c:pt idx="7206">
                        <c:v>0.12</c:v>
                      </c:pt>
                      <c:pt idx="7207">
                        <c:v>0.12</c:v>
                      </c:pt>
                      <c:pt idx="7208">
                        <c:v>5.41</c:v>
                      </c:pt>
                      <c:pt idx="7209">
                        <c:v>0.27</c:v>
                      </c:pt>
                      <c:pt idx="7210">
                        <c:v>0.11</c:v>
                      </c:pt>
                      <c:pt idx="7211">
                        <c:v>-0.1</c:v>
                      </c:pt>
                      <c:pt idx="7212">
                        <c:v>-13.38</c:v>
                      </c:pt>
                      <c:pt idx="7213">
                        <c:v>-31.42</c:v>
                      </c:pt>
                      <c:pt idx="7214">
                        <c:v>-17.03</c:v>
                      </c:pt>
                      <c:pt idx="7215">
                        <c:v>-4.0199999999999996</c:v>
                      </c:pt>
                      <c:pt idx="7216">
                        <c:v>0.08</c:v>
                      </c:pt>
                      <c:pt idx="7217">
                        <c:v>7.56</c:v>
                      </c:pt>
                      <c:pt idx="7218">
                        <c:v>8.89</c:v>
                      </c:pt>
                      <c:pt idx="7219">
                        <c:v>0.23</c:v>
                      </c:pt>
                      <c:pt idx="7220">
                        <c:v>-38.19</c:v>
                      </c:pt>
                      <c:pt idx="7221">
                        <c:v>-49.98</c:v>
                      </c:pt>
                      <c:pt idx="7222">
                        <c:v>-70.09</c:v>
                      </c:pt>
                      <c:pt idx="7223">
                        <c:v>-79.94</c:v>
                      </c:pt>
                      <c:pt idx="7224">
                        <c:v>-83</c:v>
                      </c:pt>
                      <c:pt idx="7225">
                        <c:v>-83.06</c:v>
                      </c:pt>
                      <c:pt idx="7226">
                        <c:v>-83</c:v>
                      </c:pt>
                      <c:pt idx="7227">
                        <c:v>-83.03</c:v>
                      </c:pt>
                      <c:pt idx="7228">
                        <c:v>-83.04</c:v>
                      </c:pt>
                      <c:pt idx="7229">
                        <c:v>-83.02</c:v>
                      </c:pt>
                      <c:pt idx="7230">
                        <c:v>-83.01</c:v>
                      </c:pt>
                      <c:pt idx="7231">
                        <c:v>-80</c:v>
                      </c:pt>
                      <c:pt idx="7232">
                        <c:v>-79.959999999999994</c:v>
                      </c:pt>
                      <c:pt idx="7233">
                        <c:v>-76.02</c:v>
                      </c:pt>
                      <c:pt idx="7234">
                        <c:v>-67.08</c:v>
                      </c:pt>
                      <c:pt idx="7235">
                        <c:v>-81.95</c:v>
                      </c:pt>
                      <c:pt idx="7236">
                        <c:v>-67.069999999999993</c:v>
                      </c:pt>
                      <c:pt idx="7237">
                        <c:v>-80.069999999999993</c:v>
                      </c:pt>
                      <c:pt idx="7238">
                        <c:v>-79.95</c:v>
                      </c:pt>
                      <c:pt idx="7239">
                        <c:v>-76.06</c:v>
                      </c:pt>
                      <c:pt idx="7240">
                        <c:v>-0.92</c:v>
                      </c:pt>
                      <c:pt idx="7241">
                        <c:v>8.51</c:v>
                      </c:pt>
                      <c:pt idx="7242">
                        <c:v>27.62</c:v>
                      </c:pt>
                      <c:pt idx="7243">
                        <c:v>29.77</c:v>
                      </c:pt>
                      <c:pt idx="7244">
                        <c:v>22.06</c:v>
                      </c:pt>
                      <c:pt idx="7245">
                        <c:v>17</c:v>
                      </c:pt>
                      <c:pt idx="7246">
                        <c:v>12.44</c:v>
                      </c:pt>
                      <c:pt idx="7247">
                        <c:v>-70.05</c:v>
                      </c:pt>
                      <c:pt idx="7248">
                        <c:v>0.75</c:v>
                      </c:pt>
                      <c:pt idx="7249">
                        <c:v>0.01</c:v>
                      </c:pt>
                      <c:pt idx="7250">
                        <c:v>0.08</c:v>
                      </c:pt>
                      <c:pt idx="7251">
                        <c:v>4.05</c:v>
                      </c:pt>
                      <c:pt idx="7252">
                        <c:v>2.95</c:v>
                      </c:pt>
                      <c:pt idx="7253">
                        <c:v>18.09</c:v>
                      </c:pt>
                      <c:pt idx="7254">
                        <c:v>28.42</c:v>
                      </c:pt>
                      <c:pt idx="7255">
                        <c:v>36.43</c:v>
                      </c:pt>
                      <c:pt idx="7256">
                        <c:v>33.479999999999997</c:v>
                      </c:pt>
                      <c:pt idx="7257">
                        <c:v>30.38</c:v>
                      </c:pt>
                      <c:pt idx="7258">
                        <c:v>29.74</c:v>
                      </c:pt>
                      <c:pt idx="7259">
                        <c:v>29.46</c:v>
                      </c:pt>
                      <c:pt idx="7260">
                        <c:v>29.7</c:v>
                      </c:pt>
                      <c:pt idx="7261">
                        <c:v>29.98</c:v>
                      </c:pt>
                      <c:pt idx="7262">
                        <c:v>36.36</c:v>
                      </c:pt>
                      <c:pt idx="7263">
                        <c:v>43.99</c:v>
                      </c:pt>
                      <c:pt idx="7264">
                        <c:v>46.34</c:v>
                      </c:pt>
                      <c:pt idx="7265">
                        <c:v>61</c:v>
                      </c:pt>
                      <c:pt idx="7266">
                        <c:v>70.09</c:v>
                      </c:pt>
                      <c:pt idx="7267">
                        <c:v>51.98</c:v>
                      </c:pt>
                      <c:pt idx="7268">
                        <c:v>48.13</c:v>
                      </c:pt>
                      <c:pt idx="7269">
                        <c:v>47.18</c:v>
                      </c:pt>
                      <c:pt idx="7270">
                        <c:v>46.05</c:v>
                      </c:pt>
                      <c:pt idx="7271">
                        <c:v>41.97</c:v>
                      </c:pt>
                      <c:pt idx="7272">
                        <c:v>30.08</c:v>
                      </c:pt>
                      <c:pt idx="7273">
                        <c:v>30.89</c:v>
                      </c:pt>
                      <c:pt idx="7274">
                        <c:v>30.01</c:v>
                      </c:pt>
                      <c:pt idx="7275">
                        <c:v>29.09</c:v>
                      </c:pt>
                      <c:pt idx="7276">
                        <c:v>30.29</c:v>
                      </c:pt>
                      <c:pt idx="7277">
                        <c:v>32.24</c:v>
                      </c:pt>
                      <c:pt idx="7278">
                        <c:v>38.94</c:v>
                      </c:pt>
                      <c:pt idx="7279">
                        <c:v>37.9</c:v>
                      </c:pt>
                      <c:pt idx="7280">
                        <c:v>41.09</c:v>
                      </c:pt>
                      <c:pt idx="7281">
                        <c:v>39.92</c:v>
                      </c:pt>
                      <c:pt idx="7282">
                        <c:v>37.979999999999997</c:v>
                      </c:pt>
                      <c:pt idx="7283">
                        <c:v>39.97</c:v>
                      </c:pt>
                      <c:pt idx="7284">
                        <c:v>36.950000000000003</c:v>
                      </c:pt>
                      <c:pt idx="7285">
                        <c:v>34.14</c:v>
                      </c:pt>
                      <c:pt idx="7286">
                        <c:v>35.65</c:v>
                      </c:pt>
                      <c:pt idx="7287">
                        <c:v>38.99</c:v>
                      </c:pt>
                      <c:pt idx="7288">
                        <c:v>42.45</c:v>
                      </c:pt>
                      <c:pt idx="7289">
                        <c:v>46.92</c:v>
                      </c:pt>
                      <c:pt idx="7290">
                        <c:v>47.36</c:v>
                      </c:pt>
                      <c:pt idx="7291">
                        <c:v>44.31</c:v>
                      </c:pt>
                      <c:pt idx="7292">
                        <c:v>39</c:v>
                      </c:pt>
                      <c:pt idx="7293">
                        <c:v>37.1</c:v>
                      </c:pt>
                      <c:pt idx="7294">
                        <c:v>34.979999999999997</c:v>
                      </c:pt>
                      <c:pt idx="7295">
                        <c:v>30.82</c:v>
                      </c:pt>
                      <c:pt idx="7296">
                        <c:v>26.91</c:v>
                      </c:pt>
                      <c:pt idx="7297">
                        <c:v>23.06</c:v>
                      </c:pt>
                      <c:pt idx="7298">
                        <c:v>22.27</c:v>
                      </c:pt>
                      <c:pt idx="7299">
                        <c:v>22.97</c:v>
                      </c:pt>
                      <c:pt idx="7300">
                        <c:v>26.66</c:v>
                      </c:pt>
                      <c:pt idx="7301">
                        <c:v>27.03</c:v>
                      </c:pt>
                      <c:pt idx="7302">
                        <c:v>29.07</c:v>
                      </c:pt>
                      <c:pt idx="7303">
                        <c:v>31</c:v>
                      </c:pt>
                      <c:pt idx="7304">
                        <c:v>36.06</c:v>
                      </c:pt>
                      <c:pt idx="7305">
                        <c:v>35.159999999999997</c:v>
                      </c:pt>
                      <c:pt idx="7306">
                        <c:v>32.369999999999997</c:v>
                      </c:pt>
                      <c:pt idx="7307">
                        <c:v>33.08</c:v>
                      </c:pt>
                      <c:pt idx="7308">
                        <c:v>29.79</c:v>
                      </c:pt>
                      <c:pt idx="7309">
                        <c:v>29.06</c:v>
                      </c:pt>
                      <c:pt idx="7310">
                        <c:v>29.18</c:v>
                      </c:pt>
                      <c:pt idx="7311">
                        <c:v>30.01</c:v>
                      </c:pt>
                      <c:pt idx="7312">
                        <c:v>36.93</c:v>
                      </c:pt>
                      <c:pt idx="7313">
                        <c:v>42.49</c:v>
                      </c:pt>
                      <c:pt idx="7314">
                        <c:v>43.93</c:v>
                      </c:pt>
                      <c:pt idx="7315">
                        <c:v>41.97</c:v>
                      </c:pt>
                      <c:pt idx="7316">
                        <c:v>36.520000000000003</c:v>
                      </c:pt>
                      <c:pt idx="7317">
                        <c:v>30.07</c:v>
                      </c:pt>
                      <c:pt idx="7318">
                        <c:v>27.02</c:v>
                      </c:pt>
                      <c:pt idx="7319">
                        <c:v>18.97</c:v>
                      </c:pt>
                      <c:pt idx="7320">
                        <c:v>20.18</c:v>
                      </c:pt>
                      <c:pt idx="7321">
                        <c:v>12.62</c:v>
                      </c:pt>
                      <c:pt idx="7322">
                        <c:v>12.61</c:v>
                      </c:pt>
                      <c:pt idx="7323">
                        <c:v>10.96</c:v>
                      </c:pt>
                      <c:pt idx="7324">
                        <c:v>14.04</c:v>
                      </c:pt>
                      <c:pt idx="7325">
                        <c:v>25.97</c:v>
                      </c:pt>
                      <c:pt idx="7326">
                        <c:v>35.049999999999997</c:v>
                      </c:pt>
                      <c:pt idx="7327">
                        <c:v>45.9</c:v>
                      </c:pt>
                      <c:pt idx="7328">
                        <c:v>43.83</c:v>
                      </c:pt>
                      <c:pt idx="7329">
                        <c:v>35.590000000000003</c:v>
                      </c:pt>
                      <c:pt idx="7330">
                        <c:v>32.33</c:v>
                      </c:pt>
                      <c:pt idx="7331">
                        <c:v>32.36</c:v>
                      </c:pt>
                      <c:pt idx="7332">
                        <c:v>31.32</c:v>
                      </c:pt>
                      <c:pt idx="7333">
                        <c:v>32.49</c:v>
                      </c:pt>
                      <c:pt idx="7334">
                        <c:v>33.94</c:v>
                      </c:pt>
                      <c:pt idx="7335">
                        <c:v>39.1</c:v>
                      </c:pt>
                      <c:pt idx="7336">
                        <c:v>45.95</c:v>
                      </c:pt>
                      <c:pt idx="7337">
                        <c:v>51.91</c:v>
                      </c:pt>
                      <c:pt idx="7338">
                        <c:v>51.92</c:v>
                      </c:pt>
                      <c:pt idx="7339">
                        <c:v>50.07</c:v>
                      </c:pt>
                      <c:pt idx="7340">
                        <c:v>46.01</c:v>
                      </c:pt>
                      <c:pt idx="7341">
                        <c:v>42.06</c:v>
                      </c:pt>
                      <c:pt idx="7342">
                        <c:v>36.119999999999997</c:v>
                      </c:pt>
                      <c:pt idx="7343">
                        <c:v>35.450000000000003</c:v>
                      </c:pt>
                      <c:pt idx="7344">
                        <c:v>36.07</c:v>
                      </c:pt>
                      <c:pt idx="7345">
                        <c:v>36.090000000000003</c:v>
                      </c:pt>
                      <c:pt idx="7346">
                        <c:v>36.130000000000003</c:v>
                      </c:pt>
                      <c:pt idx="7347">
                        <c:v>36.090000000000003</c:v>
                      </c:pt>
                      <c:pt idx="7348">
                        <c:v>38.24</c:v>
                      </c:pt>
                      <c:pt idx="7349">
                        <c:v>40.659999999999997</c:v>
                      </c:pt>
                      <c:pt idx="7350">
                        <c:v>52.97</c:v>
                      </c:pt>
                      <c:pt idx="7351">
                        <c:v>61.74</c:v>
                      </c:pt>
                      <c:pt idx="7352">
                        <c:v>65.8</c:v>
                      </c:pt>
                      <c:pt idx="7353">
                        <c:v>62.18</c:v>
                      </c:pt>
                      <c:pt idx="7354">
                        <c:v>58.69</c:v>
                      </c:pt>
                      <c:pt idx="7355">
                        <c:v>58.67</c:v>
                      </c:pt>
                      <c:pt idx="7356">
                        <c:v>54.55</c:v>
                      </c:pt>
                      <c:pt idx="7357">
                        <c:v>51.5</c:v>
                      </c:pt>
                      <c:pt idx="7358">
                        <c:v>51.17</c:v>
                      </c:pt>
                      <c:pt idx="7359">
                        <c:v>56.64</c:v>
                      </c:pt>
                      <c:pt idx="7360">
                        <c:v>60.88</c:v>
                      </c:pt>
                      <c:pt idx="7361">
                        <c:v>66</c:v>
                      </c:pt>
                      <c:pt idx="7362">
                        <c:v>68.680000000000007</c:v>
                      </c:pt>
                      <c:pt idx="7363">
                        <c:v>58.63</c:v>
                      </c:pt>
                      <c:pt idx="7364">
                        <c:v>49.01</c:v>
                      </c:pt>
                      <c:pt idx="7365">
                        <c:v>39.01</c:v>
                      </c:pt>
                      <c:pt idx="7366">
                        <c:v>36.11</c:v>
                      </c:pt>
                      <c:pt idx="7367">
                        <c:v>34.97</c:v>
                      </c:pt>
                      <c:pt idx="7368">
                        <c:v>36.159999999999997</c:v>
                      </c:pt>
                      <c:pt idx="7369">
                        <c:v>35.06</c:v>
                      </c:pt>
                      <c:pt idx="7370">
                        <c:v>34.42</c:v>
                      </c:pt>
                      <c:pt idx="7371">
                        <c:v>33.61</c:v>
                      </c:pt>
                      <c:pt idx="7372">
                        <c:v>33.4</c:v>
                      </c:pt>
                      <c:pt idx="7373">
                        <c:v>33.22</c:v>
                      </c:pt>
                      <c:pt idx="7374">
                        <c:v>33.729999999999997</c:v>
                      </c:pt>
                      <c:pt idx="7375">
                        <c:v>37.630000000000003</c:v>
                      </c:pt>
                      <c:pt idx="7376">
                        <c:v>42.99</c:v>
                      </c:pt>
                      <c:pt idx="7377">
                        <c:v>40.39</c:v>
                      </c:pt>
                      <c:pt idx="7378">
                        <c:v>39.840000000000003</c:v>
                      </c:pt>
                      <c:pt idx="7379">
                        <c:v>37.020000000000003</c:v>
                      </c:pt>
                      <c:pt idx="7380">
                        <c:v>36.1</c:v>
                      </c:pt>
                      <c:pt idx="7381">
                        <c:v>34.33</c:v>
                      </c:pt>
                      <c:pt idx="7382">
                        <c:v>34.340000000000003</c:v>
                      </c:pt>
                      <c:pt idx="7383">
                        <c:v>35.04</c:v>
                      </c:pt>
                      <c:pt idx="7384">
                        <c:v>37.03</c:v>
                      </c:pt>
                      <c:pt idx="7385">
                        <c:v>43.94</c:v>
                      </c:pt>
                      <c:pt idx="7386">
                        <c:v>35.51</c:v>
                      </c:pt>
                      <c:pt idx="7387">
                        <c:v>32.25</c:v>
                      </c:pt>
                      <c:pt idx="7388">
                        <c:v>28.83</c:v>
                      </c:pt>
                      <c:pt idx="7389">
                        <c:v>26.77</c:v>
                      </c:pt>
                      <c:pt idx="7390">
                        <c:v>26.53</c:v>
                      </c:pt>
                      <c:pt idx="7391">
                        <c:v>20.65</c:v>
                      </c:pt>
                      <c:pt idx="7392">
                        <c:v>13.2</c:v>
                      </c:pt>
                      <c:pt idx="7393">
                        <c:v>13.2</c:v>
                      </c:pt>
                      <c:pt idx="7394">
                        <c:v>14.64</c:v>
                      </c:pt>
                      <c:pt idx="7395">
                        <c:v>11.68</c:v>
                      </c:pt>
                      <c:pt idx="7396">
                        <c:v>13.93</c:v>
                      </c:pt>
                      <c:pt idx="7397">
                        <c:v>20.010000000000002</c:v>
                      </c:pt>
                      <c:pt idx="7398">
                        <c:v>21.87</c:v>
                      </c:pt>
                      <c:pt idx="7399">
                        <c:v>24.6</c:v>
                      </c:pt>
                      <c:pt idx="7400">
                        <c:v>31.47</c:v>
                      </c:pt>
                      <c:pt idx="7401">
                        <c:v>33.92</c:v>
                      </c:pt>
                      <c:pt idx="7402">
                        <c:v>36.54</c:v>
                      </c:pt>
                      <c:pt idx="7403">
                        <c:v>38.9</c:v>
                      </c:pt>
                      <c:pt idx="7404">
                        <c:v>36.11</c:v>
                      </c:pt>
                      <c:pt idx="7405">
                        <c:v>36.200000000000003</c:v>
                      </c:pt>
                      <c:pt idx="7406">
                        <c:v>33.78</c:v>
                      </c:pt>
                      <c:pt idx="7407">
                        <c:v>33.96</c:v>
                      </c:pt>
                      <c:pt idx="7408">
                        <c:v>35</c:v>
                      </c:pt>
                      <c:pt idx="7409">
                        <c:v>41.82</c:v>
                      </c:pt>
                      <c:pt idx="7410">
                        <c:v>41.74</c:v>
                      </c:pt>
                      <c:pt idx="7411">
                        <c:v>42.82</c:v>
                      </c:pt>
                      <c:pt idx="7412">
                        <c:v>40.909999999999997</c:v>
                      </c:pt>
                      <c:pt idx="7413">
                        <c:v>39.590000000000003</c:v>
                      </c:pt>
                      <c:pt idx="7414">
                        <c:v>38.869999999999997</c:v>
                      </c:pt>
                      <c:pt idx="7415">
                        <c:v>35</c:v>
                      </c:pt>
                      <c:pt idx="7416">
                        <c:v>31.74</c:v>
                      </c:pt>
                      <c:pt idx="7417">
                        <c:v>33.729999999999997</c:v>
                      </c:pt>
                      <c:pt idx="7418">
                        <c:v>33.020000000000003</c:v>
                      </c:pt>
                      <c:pt idx="7419">
                        <c:v>27.61</c:v>
                      </c:pt>
                      <c:pt idx="7420">
                        <c:v>28.1</c:v>
                      </c:pt>
                      <c:pt idx="7421">
                        <c:v>32.99</c:v>
                      </c:pt>
                      <c:pt idx="7422">
                        <c:v>44.83</c:v>
                      </c:pt>
                      <c:pt idx="7423">
                        <c:v>54.96</c:v>
                      </c:pt>
                      <c:pt idx="7424">
                        <c:v>60.38</c:v>
                      </c:pt>
                      <c:pt idx="7425">
                        <c:v>55.38</c:v>
                      </c:pt>
                      <c:pt idx="7426">
                        <c:v>54.95</c:v>
                      </c:pt>
                      <c:pt idx="7427">
                        <c:v>54.97</c:v>
                      </c:pt>
                      <c:pt idx="7428">
                        <c:v>54.93</c:v>
                      </c:pt>
                      <c:pt idx="7429">
                        <c:v>55.91</c:v>
                      </c:pt>
                      <c:pt idx="7430">
                        <c:v>55.93</c:v>
                      </c:pt>
                      <c:pt idx="7431">
                        <c:v>57.85</c:v>
                      </c:pt>
                      <c:pt idx="7432">
                        <c:v>62.56</c:v>
                      </c:pt>
                      <c:pt idx="7433">
                        <c:v>78.28</c:v>
                      </c:pt>
                      <c:pt idx="7434">
                        <c:v>89.93</c:v>
                      </c:pt>
                      <c:pt idx="7435">
                        <c:v>74.510000000000005</c:v>
                      </c:pt>
                      <c:pt idx="7436">
                        <c:v>55.02</c:v>
                      </c:pt>
                      <c:pt idx="7437">
                        <c:v>50.61</c:v>
                      </c:pt>
                      <c:pt idx="7438">
                        <c:v>39.11</c:v>
                      </c:pt>
                      <c:pt idx="7439">
                        <c:v>37.1</c:v>
                      </c:pt>
                      <c:pt idx="7440">
                        <c:v>36.630000000000003</c:v>
                      </c:pt>
                      <c:pt idx="7441">
                        <c:v>35.049999999999997</c:v>
                      </c:pt>
                      <c:pt idx="7442">
                        <c:v>36.869999999999997</c:v>
                      </c:pt>
                      <c:pt idx="7443">
                        <c:v>36.020000000000003</c:v>
                      </c:pt>
                      <c:pt idx="7444">
                        <c:v>37.04</c:v>
                      </c:pt>
                      <c:pt idx="7445">
                        <c:v>34.43</c:v>
                      </c:pt>
                      <c:pt idx="7446">
                        <c:v>49.77</c:v>
                      </c:pt>
                      <c:pt idx="7447">
                        <c:v>59.26</c:v>
                      </c:pt>
                      <c:pt idx="7448">
                        <c:v>64.37</c:v>
                      </c:pt>
                      <c:pt idx="7449">
                        <c:v>55.07</c:v>
                      </c:pt>
                      <c:pt idx="7450">
                        <c:v>54.94</c:v>
                      </c:pt>
                      <c:pt idx="7451">
                        <c:v>54.92</c:v>
                      </c:pt>
                      <c:pt idx="7452">
                        <c:v>53.93</c:v>
                      </c:pt>
                      <c:pt idx="7453">
                        <c:v>54.94</c:v>
                      </c:pt>
                      <c:pt idx="7454">
                        <c:v>56.93</c:v>
                      </c:pt>
                      <c:pt idx="7455">
                        <c:v>66.75</c:v>
                      </c:pt>
                      <c:pt idx="7456">
                        <c:v>65.58</c:v>
                      </c:pt>
                      <c:pt idx="7457">
                        <c:v>81.56</c:v>
                      </c:pt>
                      <c:pt idx="7458">
                        <c:v>82.3</c:v>
                      </c:pt>
                      <c:pt idx="7459">
                        <c:v>64.2</c:v>
                      </c:pt>
                      <c:pt idx="7460">
                        <c:v>53.94</c:v>
                      </c:pt>
                      <c:pt idx="7461">
                        <c:v>46.94</c:v>
                      </c:pt>
                      <c:pt idx="7462">
                        <c:v>41.7</c:v>
                      </c:pt>
                      <c:pt idx="7463">
                        <c:v>37.86</c:v>
                      </c:pt>
                      <c:pt idx="7464">
                        <c:v>33.700000000000003</c:v>
                      </c:pt>
                      <c:pt idx="7465">
                        <c:v>33.619999999999997</c:v>
                      </c:pt>
                      <c:pt idx="7466">
                        <c:v>33.64</c:v>
                      </c:pt>
                      <c:pt idx="7467">
                        <c:v>33.619999999999997</c:v>
                      </c:pt>
                      <c:pt idx="7468">
                        <c:v>35.53</c:v>
                      </c:pt>
                      <c:pt idx="7469">
                        <c:v>36.15</c:v>
                      </c:pt>
                      <c:pt idx="7470">
                        <c:v>54.07</c:v>
                      </c:pt>
                      <c:pt idx="7471">
                        <c:v>75.760000000000005</c:v>
                      </c:pt>
                      <c:pt idx="7472">
                        <c:v>79.28</c:v>
                      </c:pt>
                      <c:pt idx="7473">
                        <c:v>77.069999999999993</c:v>
                      </c:pt>
                      <c:pt idx="7474">
                        <c:v>84.22</c:v>
                      </c:pt>
                      <c:pt idx="7475">
                        <c:v>84.98</c:v>
                      </c:pt>
                      <c:pt idx="7476">
                        <c:v>83.8</c:v>
                      </c:pt>
                      <c:pt idx="7477">
                        <c:v>88.19</c:v>
                      </c:pt>
                      <c:pt idx="7478">
                        <c:v>89.9</c:v>
                      </c:pt>
                      <c:pt idx="7479">
                        <c:v>81.89</c:v>
                      </c:pt>
                      <c:pt idx="7480">
                        <c:v>88.2</c:v>
                      </c:pt>
                      <c:pt idx="7481">
                        <c:v>111.4</c:v>
                      </c:pt>
                      <c:pt idx="7482">
                        <c:v>120</c:v>
                      </c:pt>
                      <c:pt idx="7483">
                        <c:v>89.93</c:v>
                      </c:pt>
                      <c:pt idx="7484">
                        <c:v>60.1</c:v>
                      </c:pt>
                      <c:pt idx="7485">
                        <c:v>52.32</c:v>
                      </c:pt>
                      <c:pt idx="7486">
                        <c:v>48.05</c:v>
                      </c:pt>
                      <c:pt idx="7487">
                        <c:v>38.57</c:v>
                      </c:pt>
                      <c:pt idx="7488">
                        <c:v>38.61</c:v>
                      </c:pt>
                      <c:pt idx="7489">
                        <c:v>39.299999999999997</c:v>
                      </c:pt>
                      <c:pt idx="7490">
                        <c:v>38.479999999999997</c:v>
                      </c:pt>
                      <c:pt idx="7491">
                        <c:v>40.53</c:v>
                      </c:pt>
                      <c:pt idx="7492">
                        <c:v>39.9</c:v>
                      </c:pt>
                      <c:pt idx="7493">
                        <c:v>43.95</c:v>
                      </c:pt>
                      <c:pt idx="7494">
                        <c:v>58.65</c:v>
                      </c:pt>
                      <c:pt idx="7495">
                        <c:v>72.099999999999994</c:v>
                      </c:pt>
                      <c:pt idx="7496">
                        <c:v>84.73</c:v>
                      </c:pt>
                      <c:pt idx="7497">
                        <c:v>61.99</c:v>
                      </c:pt>
                      <c:pt idx="7498">
                        <c:v>61.37</c:v>
                      </c:pt>
                      <c:pt idx="7499">
                        <c:v>60.69</c:v>
                      </c:pt>
                      <c:pt idx="7500">
                        <c:v>55.12</c:v>
                      </c:pt>
                      <c:pt idx="7501">
                        <c:v>53.99</c:v>
                      </c:pt>
                      <c:pt idx="7502">
                        <c:v>54.91</c:v>
                      </c:pt>
                      <c:pt idx="7503">
                        <c:v>55</c:v>
                      </c:pt>
                      <c:pt idx="7504">
                        <c:v>55.92</c:v>
                      </c:pt>
                      <c:pt idx="7505">
                        <c:v>56.94</c:v>
                      </c:pt>
                      <c:pt idx="7506">
                        <c:v>55.93</c:v>
                      </c:pt>
                      <c:pt idx="7507">
                        <c:v>55</c:v>
                      </c:pt>
                      <c:pt idx="7508">
                        <c:v>40.299999999999997</c:v>
                      </c:pt>
                      <c:pt idx="7509">
                        <c:v>42.81</c:v>
                      </c:pt>
                      <c:pt idx="7510">
                        <c:v>36.78</c:v>
                      </c:pt>
                      <c:pt idx="7511">
                        <c:v>33.61</c:v>
                      </c:pt>
                      <c:pt idx="7512">
                        <c:v>26.41</c:v>
                      </c:pt>
                      <c:pt idx="7513">
                        <c:v>25.35</c:v>
                      </c:pt>
                      <c:pt idx="7514">
                        <c:v>26.6</c:v>
                      </c:pt>
                      <c:pt idx="7515">
                        <c:v>27.31</c:v>
                      </c:pt>
                      <c:pt idx="7516">
                        <c:v>27.1</c:v>
                      </c:pt>
                      <c:pt idx="7517">
                        <c:v>28.92</c:v>
                      </c:pt>
                      <c:pt idx="7518">
                        <c:v>40.15</c:v>
                      </c:pt>
                      <c:pt idx="7519">
                        <c:v>51.2</c:v>
                      </c:pt>
                      <c:pt idx="7520">
                        <c:v>47.41</c:v>
                      </c:pt>
                      <c:pt idx="7521">
                        <c:v>38.61</c:v>
                      </c:pt>
                      <c:pt idx="7522">
                        <c:v>38.89</c:v>
                      </c:pt>
                      <c:pt idx="7523">
                        <c:v>38.79</c:v>
                      </c:pt>
                      <c:pt idx="7524">
                        <c:v>35.25</c:v>
                      </c:pt>
                      <c:pt idx="7525">
                        <c:v>31.16</c:v>
                      </c:pt>
                      <c:pt idx="7526">
                        <c:v>30.16</c:v>
                      </c:pt>
                      <c:pt idx="7527">
                        <c:v>30.12</c:v>
                      </c:pt>
                      <c:pt idx="7528">
                        <c:v>31.02</c:v>
                      </c:pt>
                      <c:pt idx="7529">
                        <c:v>36.19</c:v>
                      </c:pt>
                      <c:pt idx="7530">
                        <c:v>36.020000000000003</c:v>
                      </c:pt>
                      <c:pt idx="7531">
                        <c:v>31.08</c:v>
                      </c:pt>
                      <c:pt idx="7532">
                        <c:v>29.39</c:v>
                      </c:pt>
                      <c:pt idx="7533">
                        <c:v>22.26</c:v>
                      </c:pt>
                      <c:pt idx="7534">
                        <c:v>15.51</c:v>
                      </c:pt>
                      <c:pt idx="7535">
                        <c:v>11.46</c:v>
                      </c:pt>
                      <c:pt idx="7536">
                        <c:v>9.1999999999999993</c:v>
                      </c:pt>
                      <c:pt idx="7537">
                        <c:v>2.0299999999999998</c:v>
                      </c:pt>
                      <c:pt idx="7538">
                        <c:v>0.08</c:v>
                      </c:pt>
                      <c:pt idx="7539">
                        <c:v>6.47</c:v>
                      </c:pt>
                      <c:pt idx="7540">
                        <c:v>11.27</c:v>
                      </c:pt>
                      <c:pt idx="7541">
                        <c:v>12.59</c:v>
                      </c:pt>
                      <c:pt idx="7542">
                        <c:v>9.6300000000000008</c:v>
                      </c:pt>
                      <c:pt idx="7543">
                        <c:v>13.55</c:v>
                      </c:pt>
                      <c:pt idx="7544">
                        <c:v>20.100000000000001</c:v>
                      </c:pt>
                      <c:pt idx="7545">
                        <c:v>24.66</c:v>
                      </c:pt>
                      <c:pt idx="7546">
                        <c:v>21.47</c:v>
                      </c:pt>
                      <c:pt idx="7547">
                        <c:v>18.899999999999999</c:v>
                      </c:pt>
                      <c:pt idx="7548">
                        <c:v>21.03</c:v>
                      </c:pt>
                      <c:pt idx="7549">
                        <c:v>22.86</c:v>
                      </c:pt>
                      <c:pt idx="7550">
                        <c:v>28.2</c:v>
                      </c:pt>
                      <c:pt idx="7551">
                        <c:v>30.48</c:v>
                      </c:pt>
                      <c:pt idx="7552">
                        <c:v>35.81</c:v>
                      </c:pt>
                      <c:pt idx="7553">
                        <c:v>44.49</c:v>
                      </c:pt>
                      <c:pt idx="7554">
                        <c:v>46.76</c:v>
                      </c:pt>
                      <c:pt idx="7555">
                        <c:v>41.03</c:v>
                      </c:pt>
                      <c:pt idx="7556">
                        <c:v>35.92</c:v>
                      </c:pt>
                      <c:pt idx="7557">
                        <c:v>35.82</c:v>
                      </c:pt>
                      <c:pt idx="7558">
                        <c:v>37.06</c:v>
                      </c:pt>
                      <c:pt idx="7559">
                        <c:v>28.29</c:v>
                      </c:pt>
                      <c:pt idx="7560">
                        <c:v>14.07</c:v>
                      </c:pt>
                      <c:pt idx="7561">
                        <c:v>15.99</c:v>
                      </c:pt>
                      <c:pt idx="7562">
                        <c:v>13.8</c:v>
                      </c:pt>
                      <c:pt idx="7563">
                        <c:v>13.53</c:v>
                      </c:pt>
                      <c:pt idx="7564">
                        <c:v>15.25</c:v>
                      </c:pt>
                      <c:pt idx="7565">
                        <c:v>21.86</c:v>
                      </c:pt>
                      <c:pt idx="7566">
                        <c:v>22.52</c:v>
                      </c:pt>
                      <c:pt idx="7567">
                        <c:v>27.06</c:v>
                      </c:pt>
                      <c:pt idx="7568">
                        <c:v>30.94</c:v>
                      </c:pt>
                      <c:pt idx="7569">
                        <c:v>33.03</c:v>
                      </c:pt>
                      <c:pt idx="7570">
                        <c:v>42.79</c:v>
                      </c:pt>
                      <c:pt idx="7571">
                        <c:v>47.65</c:v>
                      </c:pt>
                      <c:pt idx="7572">
                        <c:v>48.13</c:v>
                      </c:pt>
                      <c:pt idx="7573">
                        <c:v>44.28</c:v>
                      </c:pt>
                      <c:pt idx="7574">
                        <c:v>38.43</c:v>
                      </c:pt>
                      <c:pt idx="7575">
                        <c:v>37.799999999999997</c:v>
                      </c:pt>
                      <c:pt idx="7576">
                        <c:v>40.82</c:v>
                      </c:pt>
                      <c:pt idx="7577">
                        <c:v>53.91</c:v>
                      </c:pt>
                      <c:pt idx="7578">
                        <c:v>53.94</c:v>
                      </c:pt>
                      <c:pt idx="7579">
                        <c:v>46.54</c:v>
                      </c:pt>
                      <c:pt idx="7580">
                        <c:v>39.590000000000003</c:v>
                      </c:pt>
                      <c:pt idx="7581">
                        <c:v>33.11</c:v>
                      </c:pt>
                      <c:pt idx="7582">
                        <c:v>33.17</c:v>
                      </c:pt>
                      <c:pt idx="7583">
                        <c:v>29.73</c:v>
                      </c:pt>
                      <c:pt idx="7584">
                        <c:v>31.06</c:v>
                      </c:pt>
                      <c:pt idx="7585">
                        <c:v>30.41</c:v>
                      </c:pt>
                      <c:pt idx="7586">
                        <c:v>29.64</c:v>
                      </c:pt>
                      <c:pt idx="7587">
                        <c:v>29.66</c:v>
                      </c:pt>
                      <c:pt idx="7588">
                        <c:v>29.79</c:v>
                      </c:pt>
                      <c:pt idx="7589">
                        <c:v>31.68</c:v>
                      </c:pt>
                      <c:pt idx="7590">
                        <c:v>42.76</c:v>
                      </c:pt>
                      <c:pt idx="7591">
                        <c:v>54.9</c:v>
                      </c:pt>
                      <c:pt idx="7592">
                        <c:v>54.33</c:v>
                      </c:pt>
                      <c:pt idx="7593">
                        <c:v>48.15</c:v>
                      </c:pt>
                      <c:pt idx="7594">
                        <c:v>45.83</c:v>
                      </c:pt>
                      <c:pt idx="7595">
                        <c:v>46.61</c:v>
                      </c:pt>
                      <c:pt idx="7596">
                        <c:v>41.48</c:v>
                      </c:pt>
                      <c:pt idx="7597">
                        <c:v>48.08</c:v>
                      </c:pt>
                      <c:pt idx="7598">
                        <c:v>50.81</c:v>
                      </c:pt>
                      <c:pt idx="7599">
                        <c:v>54.93</c:v>
                      </c:pt>
                      <c:pt idx="7600">
                        <c:v>55.92</c:v>
                      </c:pt>
                      <c:pt idx="7601">
                        <c:v>70.08</c:v>
                      </c:pt>
                      <c:pt idx="7602">
                        <c:v>62.3</c:v>
                      </c:pt>
                      <c:pt idx="7603">
                        <c:v>57.73</c:v>
                      </c:pt>
                      <c:pt idx="7604">
                        <c:v>54.94</c:v>
                      </c:pt>
                      <c:pt idx="7605">
                        <c:v>49</c:v>
                      </c:pt>
                      <c:pt idx="7606">
                        <c:v>41</c:v>
                      </c:pt>
                      <c:pt idx="7607">
                        <c:v>36.549999999999997</c:v>
                      </c:pt>
                      <c:pt idx="7608">
                        <c:v>37.83</c:v>
                      </c:pt>
                      <c:pt idx="7609">
                        <c:v>36.01</c:v>
                      </c:pt>
                      <c:pt idx="7610">
                        <c:v>34.03</c:v>
                      </c:pt>
                      <c:pt idx="7611">
                        <c:v>33.54</c:v>
                      </c:pt>
                      <c:pt idx="7612">
                        <c:v>33.9</c:v>
                      </c:pt>
                      <c:pt idx="7613">
                        <c:v>34.04</c:v>
                      </c:pt>
                      <c:pt idx="7614">
                        <c:v>38.119999999999997</c:v>
                      </c:pt>
                      <c:pt idx="7615">
                        <c:v>43.52</c:v>
                      </c:pt>
                      <c:pt idx="7616">
                        <c:v>49.58</c:v>
                      </c:pt>
                      <c:pt idx="7617">
                        <c:v>37.200000000000003</c:v>
                      </c:pt>
                      <c:pt idx="7618">
                        <c:v>36.56</c:v>
                      </c:pt>
                      <c:pt idx="7619">
                        <c:v>36.19</c:v>
                      </c:pt>
                      <c:pt idx="7620">
                        <c:v>36.880000000000003</c:v>
                      </c:pt>
                      <c:pt idx="7621">
                        <c:v>36.6</c:v>
                      </c:pt>
                      <c:pt idx="7622">
                        <c:v>36.86</c:v>
                      </c:pt>
                      <c:pt idx="7623">
                        <c:v>40.07</c:v>
                      </c:pt>
                      <c:pt idx="7624">
                        <c:v>49.06</c:v>
                      </c:pt>
                      <c:pt idx="7625">
                        <c:v>51.71</c:v>
                      </c:pt>
                      <c:pt idx="7626">
                        <c:v>52.94</c:v>
                      </c:pt>
                      <c:pt idx="7627">
                        <c:v>51.25</c:v>
                      </c:pt>
                      <c:pt idx="7628">
                        <c:v>44.92</c:v>
                      </c:pt>
                      <c:pt idx="7629">
                        <c:v>39.44</c:v>
                      </c:pt>
                      <c:pt idx="7630">
                        <c:v>37.6</c:v>
                      </c:pt>
                      <c:pt idx="7631">
                        <c:v>36.36</c:v>
                      </c:pt>
                      <c:pt idx="7632">
                        <c:v>33.5</c:v>
                      </c:pt>
                      <c:pt idx="7633">
                        <c:v>34.06</c:v>
                      </c:pt>
                      <c:pt idx="7634">
                        <c:v>33.42</c:v>
                      </c:pt>
                      <c:pt idx="7635">
                        <c:v>35.619999999999997</c:v>
                      </c:pt>
                      <c:pt idx="7636">
                        <c:v>33.74</c:v>
                      </c:pt>
                      <c:pt idx="7637">
                        <c:v>37</c:v>
                      </c:pt>
                      <c:pt idx="7638">
                        <c:v>58.5</c:v>
                      </c:pt>
                      <c:pt idx="7639">
                        <c:v>77.400000000000006</c:v>
                      </c:pt>
                      <c:pt idx="7640">
                        <c:v>78.010000000000005</c:v>
                      </c:pt>
                      <c:pt idx="7641">
                        <c:v>68.87</c:v>
                      </c:pt>
                      <c:pt idx="7642">
                        <c:v>61.65</c:v>
                      </c:pt>
                      <c:pt idx="7643">
                        <c:v>71.760000000000005</c:v>
                      </c:pt>
                      <c:pt idx="7644">
                        <c:v>64.099999999999994</c:v>
                      </c:pt>
                      <c:pt idx="7645">
                        <c:v>70.77</c:v>
                      </c:pt>
                      <c:pt idx="7646">
                        <c:v>72.81</c:v>
                      </c:pt>
                      <c:pt idx="7647">
                        <c:v>79.180000000000007</c:v>
                      </c:pt>
                      <c:pt idx="7648">
                        <c:v>89.95</c:v>
                      </c:pt>
                      <c:pt idx="7649">
                        <c:v>112.09</c:v>
                      </c:pt>
                      <c:pt idx="7650">
                        <c:v>124.29</c:v>
                      </c:pt>
                      <c:pt idx="7651">
                        <c:v>86.34</c:v>
                      </c:pt>
                      <c:pt idx="7652">
                        <c:v>76.13</c:v>
                      </c:pt>
                      <c:pt idx="7653">
                        <c:v>62.01</c:v>
                      </c:pt>
                      <c:pt idx="7654">
                        <c:v>51.91</c:v>
                      </c:pt>
                      <c:pt idx="7655">
                        <c:v>39.03</c:v>
                      </c:pt>
                      <c:pt idx="7656">
                        <c:v>37.04</c:v>
                      </c:pt>
                      <c:pt idx="7657">
                        <c:v>37.06</c:v>
                      </c:pt>
                      <c:pt idx="7658">
                        <c:v>36.130000000000003</c:v>
                      </c:pt>
                      <c:pt idx="7659">
                        <c:v>36.590000000000003</c:v>
                      </c:pt>
                      <c:pt idx="7660">
                        <c:v>37.04</c:v>
                      </c:pt>
                      <c:pt idx="7661">
                        <c:v>36.869999999999997</c:v>
                      </c:pt>
                      <c:pt idx="7662">
                        <c:v>51.61</c:v>
                      </c:pt>
                      <c:pt idx="7663">
                        <c:v>61.89</c:v>
                      </c:pt>
                      <c:pt idx="7664">
                        <c:v>68.63</c:v>
                      </c:pt>
                      <c:pt idx="7665">
                        <c:v>57.02</c:v>
                      </c:pt>
                      <c:pt idx="7666">
                        <c:v>55.93</c:v>
                      </c:pt>
                      <c:pt idx="7667">
                        <c:v>53.96</c:v>
                      </c:pt>
                      <c:pt idx="7668">
                        <c:v>49.01</c:v>
                      </c:pt>
                      <c:pt idx="7669">
                        <c:v>49.31</c:v>
                      </c:pt>
                      <c:pt idx="7670">
                        <c:v>54</c:v>
                      </c:pt>
                      <c:pt idx="7671">
                        <c:v>57.94</c:v>
                      </c:pt>
                      <c:pt idx="7672">
                        <c:v>56.16</c:v>
                      </c:pt>
                      <c:pt idx="7673">
                        <c:v>56.42</c:v>
                      </c:pt>
                      <c:pt idx="7674">
                        <c:v>53.93</c:v>
                      </c:pt>
                      <c:pt idx="7675">
                        <c:v>46.3</c:v>
                      </c:pt>
                      <c:pt idx="7676">
                        <c:v>37.03</c:v>
                      </c:pt>
                      <c:pt idx="7677">
                        <c:v>38.03</c:v>
                      </c:pt>
                      <c:pt idx="7678">
                        <c:v>38.15</c:v>
                      </c:pt>
                      <c:pt idx="7679">
                        <c:v>35.07</c:v>
                      </c:pt>
                      <c:pt idx="7680">
                        <c:v>33.15</c:v>
                      </c:pt>
                      <c:pt idx="7681">
                        <c:v>32.72</c:v>
                      </c:pt>
                      <c:pt idx="7682">
                        <c:v>33.159999999999997</c:v>
                      </c:pt>
                      <c:pt idx="7683">
                        <c:v>34.06</c:v>
                      </c:pt>
                      <c:pt idx="7684">
                        <c:v>34.049999999999997</c:v>
                      </c:pt>
                      <c:pt idx="7685">
                        <c:v>36.090000000000003</c:v>
                      </c:pt>
                      <c:pt idx="7686">
                        <c:v>46.83</c:v>
                      </c:pt>
                      <c:pt idx="7687">
                        <c:v>49.99</c:v>
                      </c:pt>
                      <c:pt idx="7688">
                        <c:v>53.93</c:v>
                      </c:pt>
                      <c:pt idx="7689">
                        <c:v>49.99</c:v>
                      </c:pt>
                      <c:pt idx="7690">
                        <c:v>49.97</c:v>
                      </c:pt>
                      <c:pt idx="7691">
                        <c:v>49.97</c:v>
                      </c:pt>
                      <c:pt idx="7692">
                        <c:v>49.09</c:v>
                      </c:pt>
                      <c:pt idx="7693">
                        <c:v>46.55</c:v>
                      </c:pt>
                      <c:pt idx="7694">
                        <c:v>42.3</c:v>
                      </c:pt>
                      <c:pt idx="7695">
                        <c:v>49.95</c:v>
                      </c:pt>
                      <c:pt idx="7696">
                        <c:v>49.9</c:v>
                      </c:pt>
                      <c:pt idx="7697">
                        <c:v>49.91</c:v>
                      </c:pt>
                      <c:pt idx="7698">
                        <c:v>48.18</c:v>
                      </c:pt>
                      <c:pt idx="7699">
                        <c:v>42.97</c:v>
                      </c:pt>
                      <c:pt idx="7700">
                        <c:v>38.35</c:v>
                      </c:pt>
                      <c:pt idx="7701">
                        <c:v>39.799999999999997</c:v>
                      </c:pt>
                      <c:pt idx="7702">
                        <c:v>36.15</c:v>
                      </c:pt>
                      <c:pt idx="7703">
                        <c:v>32.409999999999997</c:v>
                      </c:pt>
                      <c:pt idx="7704">
                        <c:v>27.78</c:v>
                      </c:pt>
                      <c:pt idx="7705">
                        <c:v>23.56</c:v>
                      </c:pt>
                      <c:pt idx="7706">
                        <c:v>20.04</c:v>
                      </c:pt>
                      <c:pt idx="7707">
                        <c:v>17.63</c:v>
                      </c:pt>
                      <c:pt idx="7708">
                        <c:v>13.33</c:v>
                      </c:pt>
                      <c:pt idx="7709">
                        <c:v>12.87</c:v>
                      </c:pt>
                      <c:pt idx="7710">
                        <c:v>16.12</c:v>
                      </c:pt>
                      <c:pt idx="7711">
                        <c:v>19.38</c:v>
                      </c:pt>
                      <c:pt idx="7712">
                        <c:v>27.97</c:v>
                      </c:pt>
                      <c:pt idx="7713">
                        <c:v>28.61</c:v>
                      </c:pt>
                      <c:pt idx="7714">
                        <c:v>28.08</c:v>
                      </c:pt>
                      <c:pt idx="7715">
                        <c:v>14.97</c:v>
                      </c:pt>
                      <c:pt idx="7716">
                        <c:v>18.190000000000001</c:v>
                      </c:pt>
                      <c:pt idx="7717">
                        <c:v>13.01</c:v>
                      </c:pt>
                      <c:pt idx="7718">
                        <c:v>18.46</c:v>
                      </c:pt>
                      <c:pt idx="7719">
                        <c:v>24.84</c:v>
                      </c:pt>
                      <c:pt idx="7720">
                        <c:v>28.33</c:v>
                      </c:pt>
                      <c:pt idx="7721">
                        <c:v>29.77</c:v>
                      </c:pt>
                      <c:pt idx="7722">
                        <c:v>29.7</c:v>
                      </c:pt>
                      <c:pt idx="7723">
                        <c:v>24.03</c:v>
                      </c:pt>
                      <c:pt idx="7724">
                        <c:v>13.06</c:v>
                      </c:pt>
                      <c:pt idx="7725">
                        <c:v>12.69</c:v>
                      </c:pt>
                      <c:pt idx="7726">
                        <c:v>11.38</c:v>
                      </c:pt>
                      <c:pt idx="7727">
                        <c:v>0.41</c:v>
                      </c:pt>
                      <c:pt idx="7728">
                        <c:v>0.37</c:v>
                      </c:pt>
                      <c:pt idx="7729">
                        <c:v>4.33</c:v>
                      </c:pt>
                      <c:pt idx="7730">
                        <c:v>2.91</c:v>
                      </c:pt>
                      <c:pt idx="7731">
                        <c:v>2.17</c:v>
                      </c:pt>
                      <c:pt idx="7732">
                        <c:v>2.14</c:v>
                      </c:pt>
                      <c:pt idx="7733">
                        <c:v>0.03</c:v>
                      </c:pt>
                      <c:pt idx="7734">
                        <c:v>-0.03</c:v>
                      </c:pt>
                      <c:pt idx="7735">
                        <c:v>0.04</c:v>
                      </c:pt>
                      <c:pt idx="7736">
                        <c:v>5.08</c:v>
                      </c:pt>
                      <c:pt idx="7737">
                        <c:v>23.49</c:v>
                      </c:pt>
                      <c:pt idx="7738">
                        <c:v>12.77</c:v>
                      </c:pt>
                      <c:pt idx="7739">
                        <c:v>21.94</c:v>
                      </c:pt>
                      <c:pt idx="7740">
                        <c:v>12.5</c:v>
                      </c:pt>
                      <c:pt idx="7741">
                        <c:v>9.09</c:v>
                      </c:pt>
                      <c:pt idx="7742">
                        <c:v>5.09</c:v>
                      </c:pt>
                      <c:pt idx="7743">
                        <c:v>9.6300000000000008</c:v>
                      </c:pt>
                      <c:pt idx="7744">
                        <c:v>5.99</c:v>
                      </c:pt>
                      <c:pt idx="7745">
                        <c:v>23.14</c:v>
                      </c:pt>
                      <c:pt idx="7746">
                        <c:v>21.94</c:v>
                      </c:pt>
                      <c:pt idx="7747">
                        <c:v>13.3</c:v>
                      </c:pt>
                      <c:pt idx="7748">
                        <c:v>12.62</c:v>
                      </c:pt>
                      <c:pt idx="7749">
                        <c:v>11.38</c:v>
                      </c:pt>
                      <c:pt idx="7750">
                        <c:v>13.95</c:v>
                      </c:pt>
                      <c:pt idx="7751">
                        <c:v>12.21</c:v>
                      </c:pt>
                      <c:pt idx="7752">
                        <c:v>12.59</c:v>
                      </c:pt>
                      <c:pt idx="7753">
                        <c:v>12.51</c:v>
                      </c:pt>
                      <c:pt idx="7754">
                        <c:v>10.49</c:v>
                      </c:pt>
                      <c:pt idx="7755">
                        <c:v>11</c:v>
                      </c:pt>
                      <c:pt idx="7756">
                        <c:v>14.96</c:v>
                      </c:pt>
                      <c:pt idx="7757">
                        <c:v>23.81</c:v>
                      </c:pt>
                      <c:pt idx="7758">
                        <c:v>39.94</c:v>
                      </c:pt>
                      <c:pt idx="7759">
                        <c:v>41.99</c:v>
                      </c:pt>
                      <c:pt idx="7760">
                        <c:v>43.92</c:v>
                      </c:pt>
                      <c:pt idx="7761">
                        <c:v>43.91</c:v>
                      </c:pt>
                      <c:pt idx="7762">
                        <c:v>43.68</c:v>
                      </c:pt>
                      <c:pt idx="7763">
                        <c:v>43.94</c:v>
                      </c:pt>
                      <c:pt idx="7764">
                        <c:v>44.36</c:v>
                      </c:pt>
                      <c:pt idx="7765">
                        <c:v>49.05</c:v>
                      </c:pt>
                      <c:pt idx="7766">
                        <c:v>53.46</c:v>
                      </c:pt>
                      <c:pt idx="7767">
                        <c:v>50.99</c:v>
                      </c:pt>
                      <c:pt idx="7768">
                        <c:v>59.3</c:v>
                      </c:pt>
                      <c:pt idx="7769">
                        <c:v>66.02</c:v>
                      </c:pt>
                      <c:pt idx="7770">
                        <c:v>53.38</c:v>
                      </c:pt>
                      <c:pt idx="7771">
                        <c:v>47.93</c:v>
                      </c:pt>
                      <c:pt idx="7772">
                        <c:v>43.95</c:v>
                      </c:pt>
                      <c:pt idx="7773">
                        <c:v>38.630000000000003</c:v>
                      </c:pt>
                      <c:pt idx="7774">
                        <c:v>38.76</c:v>
                      </c:pt>
                      <c:pt idx="7775">
                        <c:v>34.97</c:v>
                      </c:pt>
                      <c:pt idx="7776">
                        <c:v>36.03</c:v>
                      </c:pt>
                      <c:pt idx="7777">
                        <c:v>35.46</c:v>
                      </c:pt>
                      <c:pt idx="7778">
                        <c:v>35.630000000000003</c:v>
                      </c:pt>
                      <c:pt idx="7779">
                        <c:v>35.729999999999997</c:v>
                      </c:pt>
                      <c:pt idx="7780">
                        <c:v>35.42</c:v>
                      </c:pt>
                      <c:pt idx="7781">
                        <c:v>37.92</c:v>
                      </c:pt>
                      <c:pt idx="7782">
                        <c:v>46.51</c:v>
                      </c:pt>
                      <c:pt idx="7783">
                        <c:v>67.86</c:v>
                      </c:pt>
                      <c:pt idx="7784">
                        <c:v>72.63</c:v>
                      </c:pt>
                      <c:pt idx="7785">
                        <c:v>54.99</c:v>
                      </c:pt>
                      <c:pt idx="7786">
                        <c:v>54.26</c:v>
                      </c:pt>
                      <c:pt idx="7787">
                        <c:v>64.03</c:v>
                      </c:pt>
                      <c:pt idx="7788">
                        <c:v>55.27</c:v>
                      </c:pt>
                      <c:pt idx="7789">
                        <c:v>64.91</c:v>
                      </c:pt>
                      <c:pt idx="7790">
                        <c:v>62.65</c:v>
                      </c:pt>
                      <c:pt idx="7791">
                        <c:v>62.65</c:v>
                      </c:pt>
                      <c:pt idx="7792">
                        <c:v>62.65</c:v>
                      </c:pt>
                      <c:pt idx="7793">
                        <c:v>68.05</c:v>
                      </c:pt>
                      <c:pt idx="7794">
                        <c:v>57.46</c:v>
                      </c:pt>
                      <c:pt idx="7795">
                        <c:v>43.99</c:v>
                      </c:pt>
                      <c:pt idx="7796">
                        <c:v>35.42</c:v>
                      </c:pt>
                      <c:pt idx="7797">
                        <c:v>32.64</c:v>
                      </c:pt>
                      <c:pt idx="7798">
                        <c:v>31.31</c:v>
                      </c:pt>
                      <c:pt idx="7799">
                        <c:v>29.69</c:v>
                      </c:pt>
                      <c:pt idx="7800">
                        <c:v>27.15</c:v>
                      </c:pt>
                      <c:pt idx="7801">
                        <c:v>15.7</c:v>
                      </c:pt>
                      <c:pt idx="7802">
                        <c:v>10.7</c:v>
                      </c:pt>
                      <c:pt idx="7803">
                        <c:v>10.96</c:v>
                      </c:pt>
                      <c:pt idx="7804">
                        <c:v>10.75</c:v>
                      </c:pt>
                      <c:pt idx="7805">
                        <c:v>20.239999999999998</c:v>
                      </c:pt>
                      <c:pt idx="7806">
                        <c:v>29.92</c:v>
                      </c:pt>
                      <c:pt idx="7807">
                        <c:v>37.369999999999997</c:v>
                      </c:pt>
                      <c:pt idx="7808">
                        <c:v>35.72</c:v>
                      </c:pt>
                      <c:pt idx="7809">
                        <c:v>32.49</c:v>
                      </c:pt>
                      <c:pt idx="7810">
                        <c:v>31.98</c:v>
                      </c:pt>
                      <c:pt idx="7811">
                        <c:v>31.8</c:v>
                      </c:pt>
                      <c:pt idx="7812">
                        <c:v>31.03</c:v>
                      </c:pt>
                      <c:pt idx="7813">
                        <c:v>31.3</c:v>
                      </c:pt>
                      <c:pt idx="7814">
                        <c:v>32.56</c:v>
                      </c:pt>
                      <c:pt idx="7815">
                        <c:v>41.43</c:v>
                      </c:pt>
                      <c:pt idx="7816">
                        <c:v>50.06</c:v>
                      </c:pt>
                      <c:pt idx="7817">
                        <c:v>61.26</c:v>
                      </c:pt>
                      <c:pt idx="7818">
                        <c:v>50.93</c:v>
                      </c:pt>
                      <c:pt idx="7819">
                        <c:v>43.97</c:v>
                      </c:pt>
                      <c:pt idx="7820">
                        <c:v>39.99</c:v>
                      </c:pt>
                      <c:pt idx="7821">
                        <c:v>33.700000000000003</c:v>
                      </c:pt>
                      <c:pt idx="7822">
                        <c:v>29.56</c:v>
                      </c:pt>
                      <c:pt idx="7823">
                        <c:v>20.6</c:v>
                      </c:pt>
                      <c:pt idx="7824">
                        <c:v>9.67</c:v>
                      </c:pt>
                      <c:pt idx="7825">
                        <c:v>12.76</c:v>
                      </c:pt>
                      <c:pt idx="7826">
                        <c:v>9.64</c:v>
                      </c:pt>
                      <c:pt idx="7827">
                        <c:v>9.4700000000000006</c:v>
                      </c:pt>
                      <c:pt idx="7828">
                        <c:v>9.4600000000000009</c:v>
                      </c:pt>
                      <c:pt idx="7829">
                        <c:v>12.77</c:v>
                      </c:pt>
                      <c:pt idx="7830">
                        <c:v>17.100000000000001</c:v>
                      </c:pt>
                      <c:pt idx="7831">
                        <c:v>32.93</c:v>
                      </c:pt>
                      <c:pt idx="7832">
                        <c:v>31.09</c:v>
                      </c:pt>
                      <c:pt idx="7833">
                        <c:v>29.96</c:v>
                      </c:pt>
                      <c:pt idx="7834">
                        <c:v>24.03</c:v>
                      </c:pt>
                      <c:pt idx="7835">
                        <c:v>16.239999999999998</c:v>
                      </c:pt>
                      <c:pt idx="7836">
                        <c:v>12.75</c:v>
                      </c:pt>
                      <c:pt idx="7837">
                        <c:v>16.63</c:v>
                      </c:pt>
                      <c:pt idx="7838">
                        <c:v>26.23</c:v>
                      </c:pt>
                      <c:pt idx="7839">
                        <c:v>30.76</c:v>
                      </c:pt>
                      <c:pt idx="7840">
                        <c:v>31.95</c:v>
                      </c:pt>
                      <c:pt idx="7841">
                        <c:v>37.97</c:v>
                      </c:pt>
                      <c:pt idx="7842">
                        <c:v>37.57</c:v>
                      </c:pt>
                      <c:pt idx="7843">
                        <c:v>36.979999999999997</c:v>
                      </c:pt>
                      <c:pt idx="7844">
                        <c:v>33.94</c:v>
                      </c:pt>
                      <c:pt idx="7845">
                        <c:v>29.34</c:v>
                      </c:pt>
                      <c:pt idx="7846">
                        <c:v>27.41</c:v>
                      </c:pt>
                      <c:pt idx="7847">
                        <c:v>24.05</c:v>
                      </c:pt>
                      <c:pt idx="7848">
                        <c:v>26.93</c:v>
                      </c:pt>
                      <c:pt idx="7849">
                        <c:v>27.75</c:v>
                      </c:pt>
                      <c:pt idx="7850">
                        <c:v>28.04</c:v>
                      </c:pt>
                      <c:pt idx="7851">
                        <c:v>27.1</c:v>
                      </c:pt>
                      <c:pt idx="7852">
                        <c:v>28.22</c:v>
                      </c:pt>
                      <c:pt idx="7853">
                        <c:v>35.659999999999997</c:v>
                      </c:pt>
                      <c:pt idx="7854">
                        <c:v>49.01</c:v>
                      </c:pt>
                      <c:pt idx="7855">
                        <c:v>49.07</c:v>
                      </c:pt>
                      <c:pt idx="7856">
                        <c:v>48</c:v>
                      </c:pt>
                      <c:pt idx="7857">
                        <c:v>46.92</c:v>
                      </c:pt>
                      <c:pt idx="7858">
                        <c:v>45.43</c:v>
                      </c:pt>
                      <c:pt idx="7859">
                        <c:v>46.5</c:v>
                      </c:pt>
                      <c:pt idx="7860">
                        <c:v>39.57</c:v>
                      </c:pt>
                      <c:pt idx="7861">
                        <c:v>41.13</c:v>
                      </c:pt>
                      <c:pt idx="7862">
                        <c:v>43.13</c:v>
                      </c:pt>
                      <c:pt idx="7863">
                        <c:v>44.91</c:v>
                      </c:pt>
                      <c:pt idx="7864">
                        <c:v>46.94</c:v>
                      </c:pt>
                      <c:pt idx="7865">
                        <c:v>53.97</c:v>
                      </c:pt>
                      <c:pt idx="7866">
                        <c:v>56.24</c:v>
                      </c:pt>
                      <c:pt idx="7867">
                        <c:v>55.97</c:v>
                      </c:pt>
                      <c:pt idx="7868">
                        <c:v>48</c:v>
                      </c:pt>
                      <c:pt idx="7869">
                        <c:v>47.98</c:v>
                      </c:pt>
                      <c:pt idx="7870">
                        <c:v>47.98</c:v>
                      </c:pt>
                      <c:pt idx="7871">
                        <c:v>40.99</c:v>
                      </c:pt>
                      <c:pt idx="7872">
                        <c:v>39.89</c:v>
                      </c:pt>
                      <c:pt idx="7873">
                        <c:v>36.19</c:v>
                      </c:pt>
                      <c:pt idx="7874">
                        <c:v>34.49</c:v>
                      </c:pt>
                      <c:pt idx="7875">
                        <c:v>36.200000000000003</c:v>
                      </c:pt>
                      <c:pt idx="7876">
                        <c:v>38</c:v>
                      </c:pt>
                      <c:pt idx="7877">
                        <c:v>35.86</c:v>
                      </c:pt>
                      <c:pt idx="7878">
                        <c:v>35.03</c:v>
                      </c:pt>
                      <c:pt idx="7879">
                        <c:v>42.37</c:v>
                      </c:pt>
                      <c:pt idx="7880">
                        <c:v>49.95</c:v>
                      </c:pt>
                      <c:pt idx="7881">
                        <c:v>49.94</c:v>
                      </c:pt>
                      <c:pt idx="7882">
                        <c:v>51.97</c:v>
                      </c:pt>
                      <c:pt idx="7883">
                        <c:v>53.51</c:v>
                      </c:pt>
                      <c:pt idx="7884">
                        <c:v>49.96</c:v>
                      </c:pt>
                      <c:pt idx="7885">
                        <c:v>46.98</c:v>
                      </c:pt>
                      <c:pt idx="7886">
                        <c:v>38.979999999999997</c:v>
                      </c:pt>
                      <c:pt idx="7887">
                        <c:v>35.29</c:v>
                      </c:pt>
                      <c:pt idx="7888">
                        <c:v>39.56</c:v>
                      </c:pt>
                      <c:pt idx="7889">
                        <c:v>44.26</c:v>
                      </c:pt>
                      <c:pt idx="7890">
                        <c:v>38.409999999999997</c:v>
                      </c:pt>
                      <c:pt idx="7891">
                        <c:v>37.93</c:v>
                      </c:pt>
                      <c:pt idx="7892">
                        <c:v>36.119999999999997</c:v>
                      </c:pt>
                      <c:pt idx="7893">
                        <c:v>32.119999999999997</c:v>
                      </c:pt>
                      <c:pt idx="7894">
                        <c:v>30.09</c:v>
                      </c:pt>
                      <c:pt idx="7895">
                        <c:v>27.58</c:v>
                      </c:pt>
                      <c:pt idx="7896">
                        <c:v>19.21</c:v>
                      </c:pt>
                      <c:pt idx="7897">
                        <c:v>12.59</c:v>
                      </c:pt>
                      <c:pt idx="7898">
                        <c:v>11.56</c:v>
                      </c:pt>
                      <c:pt idx="7899">
                        <c:v>11.45</c:v>
                      </c:pt>
                      <c:pt idx="7900">
                        <c:v>15.74</c:v>
                      </c:pt>
                      <c:pt idx="7901">
                        <c:v>12.85</c:v>
                      </c:pt>
                      <c:pt idx="7902">
                        <c:v>11.41</c:v>
                      </c:pt>
                      <c:pt idx="7903">
                        <c:v>9.77</c:v>
                      </c:pt>
                      <c:pt idx="7904">
                        <c:v>19.36</c:v>
                      </c:pt>
                      <c:pt idx="7905">
                        <c:v>11.58</c:v>
                      </c:pt>
                      <c:pt idx="7906">
                        <c:v>19.95</c:v>
                      </c:pt>
                      <c:pt idx="7907">
                        <c:v>21.6</c:v>
                      </c:pt>
                      <c:pt idx="7908">
                        <c:v>11.48</c:v>
                      </c:pt>
                      <c:pt idx="7909">
                        <c:v>11.49</c:v>
                      </c:pt>
                      <c:pt idx="7910">
                        <c:v>15.75</c:v>
                      </c:pt>
                      <c:pt idx="7911">
                        <c:v>15.55</c:v>
                      </c:pt>
                      <c:pt idx="7912">
                        <c:v>23.6</c:v>
                      </c:pt>
                      <c:pt idx="7913">
                        <c:v>29.17</c:v>
                      </c:pt>
                      <c:pt idx="7914">
                        <c:v>29.43</c:v>
                      </c:pt>
                      <c:pt idx="7915">
                        <c:v>29.51</c:v>
                      </c:pt>
                      <c:pt idx="7916">
                        <c:v>29.07</c:v>
                      </c:pt>
                      <c:pt idx="7917">
                        <c:v>29.01</c:v>
                      </c:pt>
                      <c:pt idx="7918">
                        <c:v>28.37</c:v>
                      </c:pt>
                      <c:pt idx="7919">
                        <c:v>21.94</c:v>
                      </c:pt>
                      <c:pt idx="7920">
                        <c:v>11.47</c:v>
                      </c:pt>
                      <c:pt idx="7921">
                        <c:v>14.95</c:v>
                      </c:pt>
                      <c:pt idx="7922">
                        <c:v>17.059999999999999</c:v>
                      </c:pt>
                      <c:pt idx="7923">
                        <c:v>13.06</c:v>
                      </c:pt>
                      <c:pt idx="7924">
                        <c:v>10.02</c:v>
                      </c:pt>
                      <c:pt idx="7925">
                        <c:v>20.96</c:v>
                      </c:pt>
                      <c:pt idx="7926">
                        <c:v>40.1</c:v>
                      </c:pt>
                      <c:pt idx="7927">
                        <c:v>36.119999999999997</c:v>
                      </c:pt>
                      <c:pt idx="7928">
                        <c:v>40.06</c:v>
                      </c:pt>
                      <c:pt idx="7929">
                        <c:v>36.04</c:v>
                      </c:pt>
                      <c:pt idx="7930">
                        <c:v>34.06</c:v>
                      </c:pt>
                      <c:pt idx="7931">
                        <c:v>34.729999999999997</c:v>
                      </c:pt>
                      <c:pt idx="7932">
                        <c:v>31.1</c:v>
                      </c:pt>
                      <c:pt idx="7933">
                        <c:v>32.380000000000003</c:v>
                      </c:pt>
                      <c:pt idx="7934">
                        <c:v>33.33</c:v>
                      </c:pt>
                      <c:pt idx="7935">
                        <c:v>34.82</c:v>
                      </c:pt>
                      <c:pt idx="7936">
                        <c:v>35.700000000000003</c:v>
                      </c:pt>
                      <c:pt idx="7937">
                        <c:v>40.32</c:v>
                      </c:pt>
                      <c:pt idx="7938">
                        <c:v>36.700000000000003</c:v>
                      </c:pt>
                      <c:pt idx="7939">
                        <c:v>35.26</c:v>
                      </c:pt>
                      <c:pt idx="7940">
                        <c:v>35.950000000000003</c:v>
                      </c:pt>
                      <c:pt idx="7941">
                        <c:v>30.93</c:v>
                      </c:pt>
                      <c:pt idx="7942">
                        <c:v>30</c:v>
                      </c:pt>
                      <c:pt idx="7943">
                        <c:v>15.87</c:v>
                      </c:pt>
                      <c:pt idx="7944">
                        <c:v>22.5</c:v>
                      </c:pt>
                      <c:pt idx="7945">
                        <c:v>16.07</c:v>
                      </c:pt>
                      <c:pt idx="7946">
                        <c:v>15.46</c:v>
                      </c:pt>
                      <c:pt idx="7947">
                        <c:v>16.29</c:v>
                      </c:pt>
                      <c:pt idx="7948">
                        <c:v>22.04</c:v>
                      </c:pt>
                      <c:pt idx="7949">
                        <c:v>24.7</c:v>
                      </c:pt>
                      <c:pt idx="7950">
                        <c:v>34.01</c:v>
                      </c:pt>
                      <c:pt idx="7951">
                        <c:v>40.130000000000003</c:v>
                      </c:pt>
                      <c:pt idx="7952">
                        <c:v>37.78</c:v>
                      </c:pt>
                      <c:pt idx="7953">
                        <c:v>36.39</c:v>
                      </c:pt>
                      <c:pt idx="7954">
                        <c:v>35.840000000000003</c:v>
                      </c:pt>
                      <c:pt idx="7955">
                        <c:v>36.049999999999997</c:v>
                      </c:pt>
                      <c:pt idx="7956">
                        <c:v>39.909999999999997</c:v>
                      </c:pt>
                      <c:pt idx="7957">
                        <c:v>45.07</c:v>
                      </c:pt>
                      <c:pt idx="7958">
                        <c:v>48.59</c:v>
                      </c:pt>
                      <c:pt idx="7959">
                        <c:v>52.94</c:v>
                      </c:pt>
                      <c:pt idx="7960">
                        <c:v>51.97</c:v>
                      </c:pt>
                      <c:pt idx="7961">
                        <c:v>59.7</c:v>
                      </c:pt>
                      <c:pt idx="7962">
                        <c:v>52.98</c:v>
                      </c:pt>
                      <c:pt idx="7963">
                        <c:v>51.32</c:v>
                      </c:pt>
                      <c:pt idx="7964">
                        <c:v>49.99</c:v>
                      </c:pt>
                      <c:pt idx="7965">
                        <c:v>36.590000000000003</c:v>
                      </c:pt>
                      <c:pt idx="7966">
                        <c:v>36.64</c:v>
                      </c:pt>
                      <c:pt idx="7967">
                        <c:v>35.01</c:v>
                      </c:pt>
                      <c:pt idx="7968">
                        <c:v>36.56</c:v>
                      </c:pt>
                      <c:pt idx="7969">
                        <c:v>36.79</c:v>
                      </c:pt>
                      <c:pt idx="7970">
                        <c:v>35.56</c:v>
                      </c:pt>
                      <c:pt idx="7971">
                        <c:v>35.06</c:v>
                      </c:pt>
                      <c:pt idx="7972">
                        <c:v>36.17</c:v>
                      </c:pt>
                      <c:pt idx="7973">
                        <c:v>38.97</c:v>
                      </c:pt>
                      <c:pt idx="7974">
                        <c:v>57.72</c:v>
                      </c:pt>
                      <c:pt idx="7975">
                        <c:v>84.97</c:v>
                      </c:pt>
                      <c:pt idx="7976">
                        <c:v>88.52</c:v>
                      </c:pt>
                      <c:pt idx="7977">
                        <c:v>90.1</c:v>
                      </c:pt>
                      <c:pt idx="7978">
                        <c:v>88.33</c:v>
                      </c:pt>
                      <c:pt idx="7979">
                        <c:v>86</c:v>
                      </c:pt>
                      <c:pt idx="7980">
                        <c:v>82.18</c:v>
                      </c:pt>
                      <c:pt idx="7981">
                        <c:v>82.4</c:v>
                      </c:pt>
                      <c:pt idx="7982">
                        <c:v>89.21</c:v>
                      </c:pt>
                      <c:pt idx="7983">
                        <c:v>90.4</c:v>
                      </c:pt>
                      <c:pt idx="7984">
                        <c:v>97.8</c:v>
                      </c:pt>
                      <c:pt idx="7985">
                        <c:v>118.49</c:v>
                      </c:pt>
                      <c:pt idx="7986">
                        <c:v>110.36</c:v>
                      </c:pt>
                      <c:pt idx="7987">
                        <c:v>85.56</c:v>
                      </c:pt>
                      <c:pt idx="7988">
                        <c:v>77.34</c:v>
                      </c:pt>
                      <c:pt idx="7989">
                        <c:v>64.27</c:v>
                      </c:pt>
                      <c:pt idx="7990">
                        <c:v>55.57</c:v>
                      </c:pt>
                      <c:pt idx="7991">
                        <c:v>47.71</c:v>
                      </c:pt>
                      <c:pt idx="7992">
                        <c:v>45.94</c:v>
                      </c:pt>
                      <c:pt idx="7993">
                        <c:v>38.200000000000003</c:v>
                      </c:pt>
                      <c:pt idx="7994">
                        <c:v>36.97</c:v>
                      </c:pt>
                      <c:pt idx="7995">
                        <c:v>36.1</c:v>
                      </c:pt>
                      <c:pt idx="7996">
                        <c:v>38.47</c:v>
                      </c:pt>
                      <c:pt idx="7997">
                        <c:v>42.72</c:v>
                      </c:pt>
                      <c:pt idx="7998">
                        <c:v>53.99</c:v>
                      </c:pt>
                      <c:pt idx="7999">
                        <c:v>83.75</c:v>
                      </c:pt>
                      <c:pt idx="8000">
                        <c:v>88.16</c:v>
                      </c:pt>
                      <c:pt idx="8001">
                        <c:v>85.25</c:v>
                      </c:pt>
                      <c:pt idx="8002">
                        <c:v>86.79</c:v>
                      </c:pt>
                      <c:pt idx="8003">
                        <c:v>86.7</c:v>
                      </c:pt>
                      <c:pt idx="8004">
                        <c:v>84.07</c:v>
                      </c:pt>
                      <c:pt idx="8005">
                        <c:v>83.34</c:v>
                      </c:pt>
                      <c:pt idx="8006">
                        <c:v>82.81</c:v>
                      </c:pt>
                      <c:pt idx="8007">
                        <c:v>84.22</c:v>
                      </c:pt>
                      <c:pt idx="8008">
                        <c:v>86.06</c:v>
                      </c:pt>
                      <c:pt idx="8009">
                        <c:v>100.12</c:v>
                      </c:pt>
                      <c:pt idx="8010">
                        <c:v>95.1</c:v>
                      </c:pt>
                      <c:pt idx="8011">
                        <c:v>87.24</c:v>
                      </c:pt>
                      <c:pt idx="8012">
                        <c:v>68.5</c:v>
                      </c:pt>
                      <c:pt idx="8013">
                        <c:v>51.96</c:v>
                      </c:pt>
                      <c:pt idx="8014">
                        <c:v>38.450000000000003</c:v>
                      </c:pt>
                      <c:pt idx="8015">
                        <c:v>36.67</c:v>
                      </c:pt>
                      <c:pt idx="8016">
                        <c:v>35.82</c:v>
                      </c:pt>
                      <c:pt idx="8017">
                        <c:v>38.590000000000003</c:v>
                      </c:pt>
                      <c:pt idx="8018">
                        <c:v>37.18</c:v>
                      </c:pt>
                      <c:pt idx="8019">
                        <c:v>37</c:v>
                      </c:pt>
                      <c:pt idx="8020">
                        <c:v>37.42</c:v>
                      </c:pt>
                      <c:pt idx="8021">
                        <c:v>36.14</c:v>
                      </c:pt>
                      <c:pt idx="8022">
                        <c:v>55.97</c:v>
                      </c:pt>
                      <c:pt idx="8023">
                        <c:v>81.69</c:v>
                      </c:pt>
                      <c:pt idx="8024">
                        <c:v>75.010000000000005</c:v>
                      </c:pt>
                      <c:pt idx="8025">
                        <c:v>72.89</c:v>
                      </c:pt>
                      <c:pt idx="8026">
                        <c:v>70.38</c:v>
                      </c:pt>
                      <c:pt idx="8027">
                        <c:v>74.87</c:v>
                      </c:pt>
                      <c:pt idx="8028">
                        <c:v>74.91</c:v>
                      </c:pt>
                      <c:pt idx="8029">
                        <c:v>73.180000000000007</c:v>
                      </c:pt>
                      <c:pt idx="8030">
                        <c:v>72.5</c:v>
                      </c:pt>
                      <c:pt idx="8031">
                        <c:v>74.42</c:v>
                      </c:pt>
                      <c:pt idx="8032">
                        <c:v>76.599999999999994</c:v>
                      </c:pt>
                      <c:pt idx="8033">
                        <c:v>85.69</c:v>
                      </c:pt>
                      <c:pt idx="8034">
                        <c:v>82.57</c:v>
                      </c:pt>
                      <c:pt idx="8035">
                        <c:v>77.38</c:v>
                      </c:pt>
                      <c:pt idx="8036">
                        <c:v>61.95</c:v>
                      </c:pt>
                      <c:pt idx="8037">
                        <c:v>52.93</c:v>
                      </c:pt>
                      <c:pt idx="8038">
                        <c:v>41.58</c:v>
                      </c:pt>
                      <c:pt idx="8039">
                        <c:v>37.94</c:v>
                      </c:pt>
                      <c:pt idx="8040">
                        <c:v>39.9</c:v>
                      </c:pt>
                      <c:pt idx="8041">
                        <c:v>39.020000000000003</c:v>
                      </c:pt>
                      <c:pt idx="8042">
                        <c:v>37.89</c:v>
                      </c:pt>
                      <c:pt idx="8043">
                        <c:v>37.82</c:v>
                      </c:pt>
                      <c:pt idx="8044">
                        <c:v>34.700000000000003</c:v>
                      </c:pt>
                      <c:pt idx="8045">
                        <c:v>36.75</c:v>
                      </c:pt>
                      <c:pt idx="8046">
                        <c:v>34.07</c:v>
                      </c:pt>
                      <c:pt idx="8047">
                        <c:v>37.01</c:v>
                      </c:pt>
                      <c:pt idx="8048">
                        <c:v>46.17</c:v>
                      </c:pt>
                      <c:pt idx="8049">
                        <c:v>46.1</c:v>
                      </c:pt>
                      <c:pt idx="8050">
                        <c:v>42.33</c:v>
                      </c:pt>
                      <c:pt idx="8051">
                        <c:v>44.02</c:v>
                      </c:pt>
                      <c:pt idx="8052">
                        <c:v>40</c:v>
                      </c:pt>
                      <c:pt idx="8053">
                        <c:v>37.28</c:v>
                      </c:pt>
                      <c:pt idx="8054">
                        <c:v>38.21</c:v>
                      </c:pt>
                      <c:pt idx="8055">
                        <c:v>46.13</c:v>
                      </c:pt>
                      <c:pt idx="8056">
                        <c:v>47.96</c:v>
                      </c:pt>
                      <c:pt idx="8057">
                        <c:v>47.95</c:v>
                      </c:pt>
                      <c:pt idx="8058">
                        <c:v>42.99</c:v>
                      </c:pt>
                      <c:pt idx="8059">
                        <c:v>39.369999999999997</c:v>
                      </c:pt>
                      <c:pt idx="8060">
                        <c:v>36.79</c:v>
                      </c:pt>
                      <c:pt idx="8061">
                        <c:v>38.520000000000003</c:v>
                      </c:pt>
                      <c:pt idx="8062">
                        <c:v>39.92</c:v>
                      </c:pt>
                      <c:pt idx="8063">
                        <c:v>35.68</c:v>
                      </c:pt>
                      <c:pt idx="8064">
                        <c:v>33.17</c:v>
                      </c:pt>
                      <c:pt idx="8065">
                        <c:v>31.93</c:v>
                      </c:pt>
                      <c:pt idx="8066">
                        <c:v>30.43</c:v>
                      </c:pt>
                      <c:pt idx="8067">
                        <c:v>28.3</c:v>
                      </c:pt>
                      <c:pt idx="8068">
                        <c:v>30.44</c:v>
                      </c:pt>
                      <c:pt idx="8069">
                        <c:v>29.87</c:v>
                      </c:pt>
                      <c:pt idx="8070">
                        <c:v>29.81</c:v>
                      </c:pt>
                      <c:pt idx="8071">
                        <c:v>27.72</c:v>
                      </c:pt>
                      <c:pt idx="8072">
                        <c:v>29.95</c:v>
                      </c:pt>
                      <c:pt idx="8073">
                        <c:v>33.08</c:v>
                      </c:pt>
                      <c:pt idx="8074">
                        <c:v>34.85</c:v>
                      </c:pt>
                      <c:pt idx="8075">
                        <c:v>36.909999999999997</c:v>
                      </c:pt>
                      <c:pt idx="8076">
                        <c:v>37</c:v>
                      </c:pt>
                      <c:pt idx="8077">
                        <c:v>32.92</c:v>
                      </c:pt>
                      <c:pt idx="8078">
                        <c:v>34.06</c:v>
                      </c:pt>
                      <c:pt idx="8079">
                        <c:v>34.29</c:v>
                      </c:pt>
                      <c:pt idx="8080">
                        <c:v>36.97</c:v>
                      </c:pt>
                      <c:pt idx="8081">
                        <c:v>39.36</c:v>
                      </c:pt>
                      <c:pt idx="8082">
                        <c:v>39</c:v>
                      </c:pt>
                      <c:pt idx="8083">
                        <c:v>37.06</c:v>
                      </c:pt>
                      <c:pt idx="8084">
                        <c:v>36.03</c:v>
                      </c:pt>
                      <c:pt idx="8085">
                        <c:v>33.950000000000003</c:v>
                      </c:pt>
                      <c:pt idx="8086">
                        <c:v>33.979999999999997</c:v>
                      </c:pt>
                      <c:pt idx="8087">
                        <c:v>28.25</c:v>
                      </c:pt>
                      <c:pt idx="8088">
                        <c:v>12.05</c:v>
                      </c:pt>
                      <c:pt idx="8089">
                        <c:v>17.690000000000001</c:v>
                      </c:pt>
                      <c:pt idx="8090">
                        <c:v>15.31</c:v>
                      </c:pt>
                      <c:pt idx="8091">
                        <c:v>12.75</c:v>
                      </c:pt>
                      <c:pt idx="8092">
                        <c:v>17.18</c:v>
                      </c:pt>
                      <c:pt idx="8093">
                        <c:v>25.05</c:v>
                      </c:pt>
                      <c:pt idx="8094">
                        <c:v>33.19</c:v>
                      </c:pt>
                      <c:pt idx="8095">
                        <c:v>38.56</c:v>
                      </c:pt>
                      <c:pt idx="8096">
                        <c:v>42.9</c:v>
                      </c:pt>
                      <c:pt idx="8097">
                        <c:v>38.29</c:v>
                      </c:pt>
                      <c:pt idx="8098">
                        <c:v>37.06</c:v>
                      </c:pt>
                      <c:pt idx="8099">
                        <c:v>38.94</c:v>
                      </c:pt>
                      <c:pt idx="8100">
                        <c:v>36.36</c:v>
                      </c:pt>
                      <c:pt idx="8101">
                        <c:v>39.450000000000003</c:v>
                      </c:pt>
                      <c:pt idx="8102">
                        <c:v>43.97</c:v>
                      </c:pt>
                      <c:pt idx="8103">
                        <c:v>46.14</c:v>
                      </c:pt>
                      <c:pt idx="8104">
                        <c:v>50.96</c:v>
                      </c:pt>
                      <c:pt idx="8105">
                        <c:v>51.04</c:v>
                      </c:pt>
                      <c:pt idx="8106">
                        <c:v>48.85</c:v>
                      </c:pt>
                      <c:pt idx="8107">
                        <c:v>45.6</c:v>
                      </c:pt>
                      <c:pt idx="8108">
                        <c:v>42.38</c:v>
                      </c:pt>
                      <c:pt idx="8109">
                        <c:v>39.83</c:v>
                      </c:pt>
                      <c:pt idx="8110">
                        <c:v>33.53</c:v>
                      </c:pt>
                      <c:pt idx="8111">
                        <c:v>30.03</c:v>
                      </c:pt>
                      <c:pt idx="8112">
                        <c:v>28.69</c:v>
                      </c:pt>
                      <c:pt idx="8113">
                        <c:v>28.01</c:v>
                      </c:pt>
                      <c:pt idx="8114">
                        <c:v>26.88</c:v>
                      </c:pt>
                      <c:pt idx="8115">
                        <c:v>27.93</c:v>
                      </c:pt>
                      <c:pt idx="8116">
                        <c:v>28.23</c:v>
                      </c:pt>
                      <c:pt idx="8117">
                        <c:v>30.73</c:v>
                      </c:pt>
                      <c:pt idx="8118">
                        <c:v>35.39</c:v>
                      </c:pt>
                      <c:pt idx="8119">
                        <c:v>39.69</c:v>
                      </c:pt>
                      <c:pt idx="8120">
                        <c:v>40.049999999999997</c:v>
                      </c:pt>
                      <c:pt idx="8121">
                        <c:v>40.36</c:v>
                      </c:pt>
                      <c:pt idx="8122">
                        <c:v>47.59</c:v>
                      </c:pt>
                      <c:pt idx="8123">
                        <c:v>46.78</c:v>
                      </c:pt>
                      <c:pt idx="8124">
                        <c:v>44.07</c:v>
                      </c:pt>
                      <c:pt idx="8125">
                        <c:v>42.45</c:v>
                      </c:pt>
                      <c:pt idx="8126">
                        <c:v>39.97</c:v>
                      </c:pt>
                      <c:pt idx="8127">
                        <c:v>39.049999999999997</c:v>
                      </c:pt>
                      <c:pt idx="8128">
                        <c:v>39.049999999999997</c:v>
                      </c:pt>
                      <c:pt idx="8129">
                        <c:v>43.96</c:v>
                      </c:pt>
                      <c:pt idx="8130">
                        <c:v>40.04</c:v>
                      </c:pt>
                      <c:pt idx="8131">
                        <c:v>46.04</c:v>
                      </c:pt>
                      <c:pt idx="8132">
                        <c:v>35.35</c:v>
                      </c:pt>
                      <c:pt idx="8133">
                        <c:v>30.03</c:v>
                      </c:pt>
                      <c:pt idx="8134">
                        <c:v>28.06</c:v>
                      </c:pt>
                      <c:pt idx="8135">
                        <c:v>13.45</c:v>
                      </c:pt>
                      <c:pt idx="8136">
                        <c:v>14.34</c:v>
                      </c:pt>
                      <c:pt idx="8137">
                        <c:v>12.34</c:v>
                      </c:pt>
                      <c:pt idx="8138">
                        <c:v>9.7100000000000009</c:v>
                      </c:pt>
                      <c:pt idx="8139">
                        <c:v>12.7</c:v>
                      </c:pt>
                      <c:pt idx="8140">
                        <c:v>14.04</c:v>
                      </c:pt>
                      <c:pt idx="8141">
                        <c:v>13.27</c:v>
                      </c:pt>
                      <c:pt idx="8142">
                        <c:v>29.57</c:v>
                      </c:pt>
                      <c:pt idx="8143">
                        <c:v>38.24</c:v>
                      </c:pt>
                      <c:pt idx="8144">
                        <c:v>37.590000000000003</c:v>
                      </c:pt>
                      <c:pt idx="8145">
                        <c:v>39.130000000000003</c:v>
                      </c:pt>
                      <c:pt idx="8146">
                        <c:v>38.22</c:v>
                      </c:pt>
                      <c:pt idx="8147">
                        <c:v>34.6</c:v>
                      </c:pt>
                      <c:pt idx="8148">
                        <c:v>34.590000000000003</c:v>
                      </c:pt>
                      <c:pt idx="8149">
                        <c:v>36.479999999999997</c:v>
                      </c:pt>
                      <c:pt idx="8150">
                        <c:v>39.81</c:v>
                      </c:pt>
                      <c:pt idx="8151">
                        <c:v>39</c:v>
                      </c:pt>
                      <c:pt idx="8152">
                        <c:v>40.9</c:v>
                      </c:pt>
                      <c:pt idx="8153">
                        <c:v>45.69</c:v>
                      </c:pt>
                      <c:pt idx="8154">
                        <c:v>41.96</c:v>
                      </c:pt>
                      <c:pt idx="8155">
                        <c:v>39.950000000000003</c:v>
                      </c:pt>
                      <c:pt idx="8156">
                        <c:v>39.01</c:v>
                      </c:pt>
                      <c:pt idx="8157">
                        <c:v>38.979999999999997</c:v>
                      </c:pt>
                      <c:pt idx="8158">
                        <c:v>31.97</c:v>
                      </c:pt>
                      <c:pt idx="8159">
                        <c:v>27.95</c:v>
                      </c:pt>
                      <c:pt idx="8160">
                        <c:v>30.47</c:v>
                      </c:pt>
                      <c:pt idx="8161">
                        <c:v>29.43</c:v>
                      </c:pt>
                      <c:pt idx="8162">
                        <c:v>26.57</c:v>
                      </c:pt>
                      <c:pt idx="8163">
                        <c:v>27.36</c:v>
                      </c:pt>
                      <c:pt idx="8164">
                        <c:v>30.01</c:v>
                      </c:pt>
                      <c:pt idx="8165">
                        <c:v>32.07</c:v>
                      </c:pt>
                      <c:pt idx="8166">
                        <c:v>44.72</c:v>
                      </c:pt>
                      <c:pt idx="8167">
                        <c:v>51.98</c:v>
                      </c:pt>
                      <c:pt idx="8168">
                        <c:v>48.53</c:v>
                      </c:pt>
                      <c:pt idx="8169">
                        <c:v>43.85</c:v>
                      </c:pt>
                      <c:pt idx="8170">
                        <c:v>38.549999999999997</c:v>
                      </c:pt>
                      <c:pt idx="8171">
                        <c:v>33.1</c:v>
                      </c:pt>
                      <c:pt idx="8172">
                        <c:v>30.04</c:v>
                      </c:pt>
                      <c:pt idx="8173">
                        <c:v>31.06</c:v>
                      </c:pt>
                      <c:pt idx="8174">
                        <c:v>32.06</c:v>
                      </c:pt>
                      <c:pt idx="8175">
                        <c:v>37.229999999999997</c:v>
                      </c:pt>
                      <c:pt idx="8176">
                        <c:v>38.53</c:v>
                      </c:pt>
                      <c:pt idx="8177">
                        <c:v>39.729999999999997</c:v>
                      </c:pt>
                      <c:pt idx="8178">
                        <c:v>37.49</c:v>
                      </c:pt>
                      <c:pt idx="8179">
                        <c:v>32.07</c:v>
                      </c:pt>
                      <c:pt idx="8180">
                        <c:v>28.06</c:v>
                      </c:pt>
                      <c:pt idx="8181">
                        <c:v>27.5</c:v>
                      </c:pt>
                      <c:pt idx="8182">
                        <c:v>26.42</c:v>
                      </c:pt>
                      <c:pt idx="8183">
                        <c:v>22.61</c:v>
                      </c:pt>
                      <c:pt idx="8184">
                        <c:v>13.45</c:v>
                      </c:pt>
                      <c:pt idx="8185">
                        <c:v>12.2</c:v>
                      </c:pt>
                      <c:pt idx="8186">
                        <c:v>10.5</c:v>
                      </c:pt>
                      <c:pt idx="8187">
                        <c:v>18.93</c:v>
                      </c:pt>
                      <c:pt idx="8188">
                        <c:v>24.56</c:v>
                      </c:pt>
                      <c:pt idx="8189">
                        <c:v>23.05</c:v>
                      </c:pt>
                      <c:pt idx="8190">
                        <c:v>35.880000000000003</c:v>
                      </c:pt>
                      <c:pt idx="8191">
                        <c:v>37.700000000000003</c:v>
                      </c:pt>
                      <c:pt idx="8192">
                        <c:v>46.04</c:v>
                      </c:pt>
                      <c:pt idx="8193">
                        <c:v>43.93</c:v>
                      </c:pt>
                      <c:pt idx="8194">
                        <c:v>37.99</c:v>
                      </c:pt>
                      <c:pt idx="8195">
                        <c:v>41.51</c:v>
                      </c:pt>
                      <c:pt idx="8196">
                        <c:v>34.21</c:v>
                      </c:pt>
                      <c:pt idx="8197">
                        <c:v>32.1</c:v>
                      </c:pt>
                      <c:pt idx="8198">
                        <c:v>32.17</c:v>
                      </c:pt>
                      <c:pt idx="8199">
                        <c:v>37.979999999999997</c:v>
                      </c:pt>
                      <c:pt idx="8200">
                        <c:v>41.57</c:v>
                      </c:pt>
                      <c:pt idx="8201">
                        <c:v>40.729999999999997</c:v>
                      </c:pt>
                      <c:pt idx="8202">
                        <c:v>39.96</c:v>
                      </c:pt>
                      <c:pt idx="8203">
                        <c:v>38.57</c:v>
                      </c:pt>
                      <c:pt idx="8204">
                        <c:v>32.32</c:v>
                      </c:pt>
                      <c:pt idx="8205">
                        <c:v>28</c:v>
                      </c:pt>
                      <c:pt idx="8206">
                        <c:v>23.1</c:v>
                      </c:pt>
                      <c:pt idx="8207">
                        <c:v>9.2899999999999991</c:v>
                      </c:pt>
                      <c:pt idx="8208">
                        <c:v>15.03</c:v>
                      </c:pt>
                      <c:pt idx="8209">
                        <c:v>12.51</c:v>
                      </c:pt>
                      <c:pt idx="8210">
                        <c:v>10.31</c:v>
                      </c:pt>
                      <c:pt idx="8211">
                        <c:v>9.26</c:v>
                      </c:pt>
                      <c:pt idx="8212">
                        <c:v>9.1199999999999992</c:v>
                      </c:pt>
                      <c:pt idx="8213">
                        <c:v>8.92</c:v>
                      </c:pt>
                      <c:pt idx="8214">
                        <c:v>10.06</c:v>
                      </c:pt>
                      <c:pt idx="8215">
                        <c:v>12.15</c:v>
                      </c:pt>
                      <c:pt idx="8216">
                        <c:v>12.41</c:v>
                      </c:pt>
                      <c:pt idx="8217">
                        <c:v>18.07</c:v>
                      </c:pt>
                      <c:pt idx="8218">
                        <c:v>18.96</c:v>
                      </c:pt>
                      <c:pt idx="8219">
                        <c:v>16.25</c:v>
                      </c:pt>
                      <c:pt idx="8220">
                        <c:v>15.03</c:v>
                      </c:pt>
                      <c:pt idx="8221">
                        <c:v>12.39</c:v>
                      </c:pt>
                      <c:pt idx="8222">
                        <c:v>12.53</c:v>
                      </c:pt>
                      <c:pt idx="8223">
                        <c:v>19.41</c:v>
                      </c:pt>
                      <c:pt idx="8224">
                        <c:v>26.51</c:v>
                      </c:pt>
                      <c:pt idx="8225">
                        <c:v>31.67</c:v>
                      </c:pt>
                      <c:pt idx="8226">
                        <c:v>28.45</c:v>
                      </c:pt>
                      <c:pt idx="8227">
                        <c:v>24.56</c:v>
                      </c:pt>
                      <c:pt idx="8228">
                        <c:v>15.8</c:v>
                      </c:pt>
                      <c:pt idx="8229">
                        <c:v>13.01</c:v>
                      </c:pt>
                      <c:pt idx="8230">
                        <c:v>15.04</c:v>
                      </c:pt>
                      <c:pt idx="8231">
                        <c:v>10.16</c:v>
                      </c:pt>
                      <c:pt idx="8232">
                        <c:v>14.31</c:v>
                      </c:pt>
                      <c:pt idx="8233">
                        <c:v>10.92</c:v>
                      </c:pt>
                      <c:pt idx="8234">
                        <c:v>10.17</c:v>
                      </c:pt>
                      <c:pt idx="8235">
                        <c:v>12.09</c:v>
                      </c:pt>
                      <c:pt idx="8236">
                        <c:v>15.06</c:v>
                      </c:pt>
                      <c:pt idx="8237">
                        <c:v>12.23</c:v>
                      </c:pt>
                      <c:pt idx="8238">
                        <c:v>12.28</c:v>
                      </c:pt>
                      <c:pt idx="8239">
                        <c:v>20.68</c:v>
                      </c:pt>
                      <c:pt idx="8240">
                        <c:v>27.85</c:v>
                      </c:pt>
                      <c:pt idx="8241">
                        <c:v>28.56</c:v>
                      </c:pt>
                      <c:pt idx="8242">
                        <c:v>29.15</c:v>
                      </c:pt>
                      <c:pt idx="8243">
                        <c:v>29.57</c:v>
                      </c:pt>
                      <c:pt idx="8244">
                        <c:v>29.26</c:v>
                      </c:pt>
                      <c:pt idx="8245">
                        <c:v>28.24</c:v>
                      </c:pt>
                      <c:pt idx="8246">
                        <c:v>25.07</c:v>
                      </c:pt>
                      <c:pt idx="8247">
                        <c:v>9.1199999999999992</c:v>
                      </c:pt>
                      <c:pt idx="8248">
                        <c:v>9.19</c:v>
                      </c:pt>
                      <c:pt idx="8249">
                        <c:v>17.420000000000002</c:v>
                      </c:pt>
                      <c:pt idx="8250">
                        <c:v>15.02</c:v>
                      </c:pt>
                      <c:pt idx="8251">
                        <c:v>12.05</c:v>
                      </c:pt>
                      <c:pt idx="8252">
                        <c:v>12.27</c:v>
                      </c:pt>
                      <c:pt idx="8253">
                        <c:v>12.16</c:v>
                      </c:pt>
                      <c:pt idx="8254">
                        <c:v>14.81</c:v>
                      </c:pt>
                      <c:pt idx="8255">
                        <c:v>12.13</c:v>
                      </c:pt>
                      <c:pt idx="8256">
                        <c:v>15.03</c:v>
                      </c:pt>
                      <c:pt idx="8257">
                        <c:v>10.87</c:v>
                      </c:pt>
                      <c:pt idx="8258">
                        <c:v>12.59</c:v>
                      </c:pt>
                      <c:pt idx="8259">
                        <c:v>11.75</c:v>
                      </c:pt>
                      <c:pt idx="8260">
                        <c:v>12.78</c:v>
                      </c:pt>
                      <c:pt idx="8261">
                        <c:v>23.22</c:v>
                      </c:pt>
                      <c:pt idx="8262">
                        <c:v>47.95</c:v>
                      </c:pt>
                      <c:pt idx="8263">
                        <c:v>62</c:v>
                      </c:pt>
                      <c:pt idx="8264">
                        <c:v>63.01</c:v>
                      </c:pt>
                      <c:pt idx="8265">
                        <c:v>60.2</c:v>
                      </c:pt>
                      <c:pt idx="8266">
                        <c:v>62.93</c:v>
                      </c:pt>
                      <c:pt idx="8267">
                        <c:v>61.95</c:v>
                      </c:pt>
                      <c:pt idx="8268">
                        <c:v>64.98</c:v>
                      </c:pt>
                      <c:pt idx="8269">
                        <c:v>58.23</c:v>
                      </c:pt>
                      <c:pt idx="8270">
                        <c:v>53.84</c:v>
                      </c:pt>
                      <c:pt idx="8271">
                        <c:v>51.91</c:v>
                      </c:pt>
                      <c:pt idx="8272">
                        <c:v>53.38</c:v>
                      </c:pt>
                      <c:pt idx="8273">
                        <c:v>51.87</c:v>
                      </c:pt>
                      <c:pt idx="8274">
                        <c:v>47.4</c:v>
                      </c:pt>
                      <c:pt idx="8275">
                        <c:v>39.68</c:v>
                      </c:pt>
                      <c:pt idx="8276">
                        <c:v>40.700000000000003</c:v>
                      </c:pt>
                      <c:pt idx="8277">
                        <c:v>34.43</c:v>
                      </c:pt>
                      <c:pt idx="8278">
                        <c:v>31.95</c:v>
                      </c:pt>
                      <c:pt idx="8279">
                        <c:v>27.35</c:v>
                      </c:pt>
                      <c:pt idx="8280">
                        <c:v>24.52</c:v>
                      </c:pt>
                      <c:pt idx="8281">
                        <c:v>22.21</c:v>
                      </c:pt>
                      <c:pt idx="8282">
                        <c:v>14.58</c:v>
                      </c:pt>
                      <c:pt idx="8283">
                        <c:v>12.31</c:v>
                      </c:pt>
                      <c:pt idx="8284">
                        <c:v>14.2</c:v>
                      </c:pt>
                      <c:pt idx="8285">
                        <c:v>26.14</c:v>
                      </c:pt>
                      <c:pt idx="8286">
                        <c:v>30.89</c:v>
                      </c:pt>
                      <c:pt idx="8287">
                        <c:v>32.32</c:v>
                      </c:pt>
                      <c:pt idx="8288">
                        <c:v>35.19</c:v>
                      </c:pt>
                      <c:pt idx="8289">
                        <c:v>34.700000000000003</c:v>
                      </c:pt>
                      <c:pt idx="8290">
                        <c:v>34.75</c:v>
                      </c:pt>
                      <c:pt idx="8291">
                        <c:v>35.75</c:v>
                      </c:pt>
                      <c:pt idx="8292">
                        <c:v>36.92</c:v>
                      </c:pt>
                      <c:pt idx="8293">
                        <c:v>39.9</c:v>
                      </c:pt>
                      <c:pt idx="8294">
                        <c:v>43.16</c:v>
                      </c:pt>
                      <c:pt idx="8295">
                        <c:v>45</c:v>
                      </c:pt>
                      <c:pt idx="8296">
                        <c:v>46.09</c:v>
                      </c:pt>
                      <c:pt idx="8297">
                        <c:v>50.95</c:v>
                      </c:pt>
                      <c:pt idx="8298">
                        <c:v>46.95</c:v>
                      </c:pt>
                      <c:pt idx="8299">
                        <c:v>46.08</c:v>
                      </c:pt>
                      <c:pt idx="8300">
                        <c:v>46.1</c:v>
                      </c:pt>
                      <c:pt idx="8301">
                        <c:v>40.950000000000003</c:v>
                      </c:pt>
                      <c:pt idx="8302">
                        <c:v>36.74</c:v>
                      </c:pt>
                      <c:pt idx="8303">
                        <c:v>27.96</c:v>
                      </c:pt>
                      <c:pt idx="8304">
                        <c:v>22.55</c:v>
                      </c:pt>
                      <c:pt idx="8305">
                        <c:v>20</c:v>
                      </c:pt>
                      <c:pt idx="8306">
                        <c:v>15.96</c:v>
                      </c:pt>
                      <c:pt idx="8307">
                        <c:v>12.74</c:v>
                      </c:pt>
                      <c:pt idx="8308">
                        <c:v>14.2</c:v>
                      </c:pt>
                      <c:pt idx="8309">
                        <c:v>18.02</c:v>
                      </c:pt>
                      <c:pt idx="8310">
                        <c:v>32.93</c:v>
                      </c:pt>
                      <c:pt idx="8311">
                        <c:v>34.19</c:v>
                      </c:pt>
                      <c:pt idx="8312">
                        <c:v>38.270000000000003</c:v>
                      </c:pt>
                      <c:pt idx="8313">
                        <c:v>34.450000000000003</c:v>
                      </c:pt>
                      <c:pt idx="8314">
                        <c:v>30.97</c:v>
                      </c:pt>
                      <c:pt idx="8315">
                        <c:v>29.83</c:v>
                      </c:pt>
                      <c:pt idx="8316">
                        <c:v>29.7</c:v>
                      </c:pt>
                      <c:pt idx="8317">
                        <c:v>29.98</c:v>
                      </c:pt>
                      <c:pt idx="8318">
                        <c:v>32.44</c:v>
                      </c:pt>
                      <c:pt idx="8319">
                        <c:v>32.909999999999997</c:v>
                      </c:pt>
                      <c:pt idx="8320">
                        <c:v>34.49</c:v>
                      </c:pt>
                      <c:pt idx="8321">
                        <c:v>34.46</c:v>
                      </c:pt>
                      <c:pt idx="8322">
                        <c:v>33.94</c:v>
                      </c:pt>
                      <c:pt idx="8323">
                        <c:v>32.75</c:v>
                      </c:pt>
                      <c:pt idx="8324">
                        <c:v>29.1</c:v>
                      </c:pt>
                      <c:pt idx="8325">
                        <c:v>22.62</c:v>
                      </c:pt>
                      <c:pt idx="8326">
                        <c:v>20.05</c:v>
                      </c:pt>
                      <c:pt idx="8327">
                        <c:v>8.4499999999999993</c:v>
                      </c:pt>
                      <c:pt idx="8328">
                        <c:v>8.84</c:v>
                      </c:pt>
                      <c:pt idx="8329">
                        <c:v>8.8000000000000007</c:v>
                      </c:pt>
                      <c:pt idx="8330">
                        <c:v>8.84</c:v>
                      </c:pt>
                      <c:pt idx="8331">
                        <c:v>9.01</c:v>
                      </c:pt>
                      <c:pt idx="8332">
                        <c:v>10.79</c:v>
                      </c:pt>
                      <c:pt idx="8333">
                        <c:v>14.44</c:v>
                      </c:pt>
                      <c:pt idx="8334">
                        <c:v>32.630000000000003</c:v>
                      </c:pt>
                      <c:pt idx="8335">
                        <c:v>45.94</c:v>
                      </c:pt>
                      <c:pt idx="8336">
                        <c:v>42.14</c:v>
                      </c:pt>
                      <c:pt idx="8337">
                        <c:v>33.840000000000003</c:v>
                      </c:pt>
                      <c:pt idx="8338">
                        <c:v>32.06</c:v>
                      </c:pt>
                      <c:pt idx="8339">
                        <c:v>31.82</c:v>
                      </c:pt>
                      <c:pt idx="8340">
                        <c:v>31.54</c:v>
                      </c:pt>
                      <c:pt idx="8341">
                        <c:v>31.46</c:v>
                      </c:pt>
                      <c:pt idx="8342">
                        <c:v>32.53</c:v>
                      </c:pt>
                      <c:pt idx="8343">
                        <c:v>36.43</c:v>
                      </c:pt>
                      <c:pt idx="8344">
                        <c:v>38.43</c:v>
                      </c:pt>
                      <c:pt idx="8345">
                        <c:v>49.94</c:v>
                      </c:pt>
                      <c:pt idx="8346">
                        <c:v>51.55</c:v>
                      </c:pt>
                      <c:pt idx="8347">
                        <c:v>48.06</c:v>
                      </c:pt>
                      <c:pt idx="8348">
                        <c:v>41.9</c:v>
                      </c:pt>
                      <c:pt idx="8349">
                        <c:v>39.31</c:v>
                      </c:pt>
                      <c:pt idx="8350">
                        <c:v>34.94</c:v>
                      </c:pt>
                      <c:pt idx="8351">
                        <c:v>28.96</c:v>
                      </c:pt>
                      <c:pt idx="8352">
                        <c:v>32.01</c:v>
                      </c:pt>
                      <c:pt idx="8353">
                        <c:v>30.93</c:v>
                      </c:pt>
                      <c:pt idx="8354">
                        <c:v>29</c:v>
                      </c:pt>
                      <c:pt idx="8355">
                        <c:v>28.97</c:v>
                      </c:pt>
                      <c:pt idx="8356">
                        <c:v>29.57</c:v>
                      </c:pt>
                      <c:pt idx="8357">
                        <c:v>33.17</c:v>
                      </c:pt>
                      <c:pt idx="8358">
                        <c:v>46.95</c:v>
                      </c:pt>
                      <c:pt idx="8359">
                        <c:v>57.17</c:v>
                      </c:pt>
                      <c:pt idx="8360">
                        <c:v>54.31</c:v>
                      </c:pt>
                      <c:pt idx="8361">
                        <c:v>53.93</c:v>
                      </c:pt>
                      <c:pt idx="8362">
                        <c:v>52.09</c:v>
                      </c:pt>
                      <c:pt idx="8363">
                        <c:v>52.51</c:v>
                      </c:pt>
                      <c:pt idx="8364">
                        <c:v>48.49</c:v>
                      </c:pt>
                      <c:pt idx="8365">
                        <c:v>47.92</c:v>
                      </c:pt>
                      <c:pt idx="8366">
                        <c:v>48.93</c:v>
                      </c:pt>
                      <c:pt idx="8367">
                        <c:v>52.94</c:v>
                      </c:pt>
                      <c:pt idx="8368">
                        <c:v>60.92</c:v>
                      </c:pt>
                      <c:pt idx="8369">
                        <c:v>74.540000000000006</c:v>
                      </c:pt>
                      <c:pt idx="8370">
                        <c:v>59.32</c:v>
                      </c:pt>
                      <c:pt idx="8371">
                        <c:v>53.91</c:v>
                      </c:pt>
                      <c:pt idx="8372">
                        <c:v>50.13</c:v>
                      </c:pt>
                      <c:pt idx="8373">
                        <c:v>42.23</c:v>
                      </c:pt>
                      <c:pt idx="8374">
                        <c:v>37.04</c:v>
                      </c:pt>
                      <c:pt idx="8375">
                        <c:v>33.229999999999997</c:v>
                      </c:pt>
                      <c:pt idx="8376">
                        <c:v>35.07</c:v>
                      </c:pt>
                      <c:pt idx="8377">
                        <c:v>33.08</c:v>
                      </c:pt>
                      <c:pt idx="8378">
                        <c:v>32.96</c:v>
                      </c:pt>
                      <c:pt idx="8379">
                        <c:v>31.96</c:v>
                      </c:pt>
                      <c:pt idx="8380">
                        <c:v>32</c:v>
                      </c:pt>
                      <c:pt idx="8381">
                        <c:v>31.76</c:v>
                      </c:pt>
                      <c:pt idx="8382">
                        <c:v>31.58</c:v>
                      </c:pt>
                      <c:pt idx="8383">
                        <c:v>31.39</c:v>
                      </c:pt>
                      <c:pt idx="8384">
                        <c:v>34.01</c:v>
                      </c:pt>
                      <c:pt idx="8385">
                        <c:v>41.56</c:v>
                      </c:pt>
                      <c:pt idx="8386">
                        <c:v>44.34</c:v>
                      </c:pt>
                      <c:pt idx="8387">
                        <c:v>44.03</c:v>
                      </c:pt>
                      <c:pt idx="8388">
                        <c:v>41.69</c:v>
                      </c:pt>
                      <c:pt idx="8389">
                        <c:v>38.1</c:v>
                      </c:pt>
                      <c:pt idx="8390">
                        <c:v>36.479999999999997</c:v>
                      </c:pt>
                      <c:pt idx="8391">
                        <c:v>40</c:v>
                      </c:pt>
                      <c:pt idx="8392">
                        <c:v>46.17</c:v>
                      </c:pt>
                      <c:pt idx="8393">
                        <c:v>48.93</c:v>
                      </c:pt>
                      <c:pt idx="8394">
                        <c:v>46.9</c:v>
                      </c:pt>
                      <c:pt idx="8395">
                        <c:v>42</c:v>
                      </c:pt>
                      <c:pt idx="8396">
                        <c:v>39</c:v>
                      </c:pt>
                      <c:pt idx="8397">
                        <c:v>33.619999999999997</c:v>
                      </c:pt>
                      <c:pt idx="8398">
                        <c:v>33.01</c:v>
                      </c:pt>
                      <c:pt idx="8399">
                        <c:v>29.02</c:v>
                      </c:pt>
                      <c:pt idx="8400">
                        <c:v>28.9</c:v>
                      </c:pt>
                      <c:pt idx="8401">
                        <c:v>28.2</c:v>
                      </c:pt>
                      <c:pt idx="8402">
                        <c:v>28.2</c:v>
                      </c:pt>
                      <c:pt idx="8403">
                        <c:v>27.94</c:v>
                      </c:pt>
                      <c:pt idx="8404">
                        <c:v>28.21</c:v>
                      </c:pt>
                      <c:pt idx="8405">
                        <c:v>28.38</c:v>
                      </c:pt>
                      <c:pt idx="8406">
                        <c:v>28.58</c:v>
                      </c:pt>
                      <c:pt idx="8407">
                        <c:v>29.4</c:v>
                      </c:pt>
                      <c:pt idx="8408">
                        <c:v>31.38</c:v>
                      </c:pt>
                      <c:pt idx="8409">
                        <c:v>34.78</c:v>
                      </c:pt>
                      <c:pt idx="8410">
                        <c:v>38.119999999999997</c:v>
                      </c:pt>
                      <c:pt idx="8411">
                        <c:v>43.64</c:v>
                      </c:pt>
                      <c:pt idx="8412">
                        <c:v>41.57</c:v>
                      </c:pt>
                      <c:pt idx="8413">
                        <c:v>40.020000000000003</c:v>
                      </c:pt>
                      <c:pt idx="8414">
                        <c:v>39.08</c:v>
                      </c:pt>
                      <c:pt idx="8415">
                        <c:v>41.5</c:v>
                      </c:pt>
                      <c:pt idx="8416">
                        <c:v>45.74</c:v>
                      </c:pt>
                      <c:pt idx="8417">
                        <c:v>46.96</c:v>
                      </c:pt>
                      <c:pt idx="8418">
                        <c:v>45.91</c:v>
                      </c:pt>
                      <c:pt idx="8419">
                        <c:v>42.91</c:v>
                      </c:pt>
                      <c:pt idx="8420">
                        <c:v>36.42</c:v>
                      </c:pt>
                      <c:pt idx="8421">
                        <c:v>32.92</c:v>
                      </c:pt>
                      <c:pt idx="8422">
                        <c:v>30.66</c:v>
                      </c:pt>
                      <c:pt idx="8423">
                        <c:v>28.59</c:v>
                      </c:pt>
                      <c:pt idx="8424">
                        <c:v>30.43</c:v>
                      </c:pt>
                      <c:pt idx="8425">
                        <c:v>29.9</c:v>
                      </c:pt>
                      <c:pt idx="8426">
                        <c:v>28.15</c:v>
                      </c:pt>
                      <c:pt idx="8427">
                        <c:v>27.39</c:v>
                      </c:pt>
                      <c:pt idx="8428">
                        <c:v>28.71</c:v>
                      </c:pt>
                      <c:pt idx="8429">
                        <c:v>33.729999999999997</c:v>
                      </c:pt>
                      <c:pt idx="8430">
                        <c:v>46.2</c:v>
                      </c:pt>
                      <c:pt idx="8431">
                        <c:v>63.95</c:v>
                      </c:pt>
                      <c:pt idx="8432">
                        <c:v>64.42</c:v>
                      </c:pt>
                      <c:pt idx="8433">
                        <c:v>64.08</c:v>
                      </c:pt>
                      <c:pt idx="8434">
                        <c:v>64.28</c:v>
                      </c:pt>
                      <c:pt idx="8435">
                        <c:v>69.650000000000006</c:v>
                      </c:pt>
                      <c:pt idx="8436">
                        <c:v>68.23</c:v>
                      </c:pt>
                      <c:pt idx="8437">
                        <c:v>69.97</c:v>
                      </c:pt>
                      <c:pt idx="8438">
                        <c:v>69.489999999999995</c:v>
                      </c:pt>
                      <c:pt idx="8439">
                        <c:v>71.319999999999993</c:v>
                      </c:pt>
                      <c:pt idx="8440">
                        <c:v>73.5</c:v>
                      </c:pt>
                      <c:pt idx="8441">
                        <c:v>79.72</c:v>
                      </c:pt>
                      <c:pt idx="8442">
                        <c:v>75.84</c:v>
                      </c:pt>
                      <c:pt idx="8443">
                        <c:v>68.87</c:v>
                      </c:pt>
                      <c:pt idx="8444">
                        <c:v>63.31</c:v>
                      </c:pt>
                      <c:pt idx="8445">
                        <c:v>56.58</c:v>
                      </c:pt>
                      <c:pt idx="8446">
                        <c:v>45.03</c:v>
                      </c:pt>
                      <c:pt idx="8447">
                        <c:v>37.29</c:v>
                      </c:pt>
                      <c:pt idx="8448">
                        <c:v>44.34</c:v>
                      </c:pt>
                      <c:pt idx="8449">
                        <c:v>38.07</c:v>
                      </c:pt>
                      <c:pt idx="8450">
                        <c:v>37.590000000000003</c:v>
                      </c:pt>
                      <c:pt idx="8451">
                        <c:v>36.5</c:v>
                      </c:pt>
                      <c:pt idx="8452">
                        <c:v>38.89</c:v>
                      </c:pt>
                      <c:pt idx="8453">
                        <c:v>41.01</c:v>
                      </c:pt>
                      <c:pt idx="8454">
                        <c:v>53.67</c:v>
                      </c:pt>
                      <c:pt idx="8455">
                        <c:v>68.17</c:v>
                      </c:pt>
                      <c:pt idx="8456">
                        <c:v>76.91</c:v>
                      </c:pt>
                      <c:pt idx="8457">
                        <c:v>77.06</c:v>
                      </c:pt>
                      <c:pt idx="8458">
                        <c:v>75.3</c:v>
                      </c:pt>
                      <c:pt idx="8459">
                        <c:v>74</c:v>
                      </c:pt>
                      <c:pt idx="8460">
                        <c:v>70.849999999999994</c:v>
                      </c:pt>
                      <c:pt idx="8461">
                        <c:v>70.569999999999993</c:v>
                      </c:pt>
                      <c:pt idx="8462">
                        <c:v>70.2</c:v>
                      </c:pt>
                      <c:pt idx="8463">
                        <c:v>70.319999999999993</c:v>
                      </c:pt>
                      <c:pt idx="8464">
                        <c:v>75.819999999999993</c:v>
                      </c:pt>
                      <c:pt idx="8465">
                        <c:v>78.28</c:v>
                      </c:pt>
                      <c:pt idx="8466">
                        <c:v>75.16</c:v>
                      </c:pt>
                      <c:pt idx="8467">
                        <c:v>75.06</c:v>
                      </c:pt>
                      <c:pt idx="8468">
                        <c:v>66.290000000000006</c:v>
                      </c:pt>
                      <c:pt idx="8469">
                        <c:v>52.01</c:v>
                      </c:pt>
                      <c:pt idx="8470">
                        <c:v>48.86</c:v>
                      </c:pt>
                      <c:pt idx="8471">
                        <c:v>41.18</c:v>
                      </c:pt>
                      <c:pt idx="8472">
                        <c:v>44.47</c:v>
                      </c:pt>
                      <c:pt idx="8473">
                        <c:v>40.1</c:v>
                      </c:pt>
                      <c:pt idx="8474">
                        <c:v>37.83</c:v>
                      </c:pt>
                      <c:pt idx="8475">
                        <c:v>37.270000000000003</c:v>
                      </c:pt>
                      <c:pt idx="8476">
                        <c:v>40.85</c:v>
                      </c:pt>
                      <c:pt idx="8477">
                        <c:v>45.79</c:v>
                      </c:pt>
                      <c:pt idx="8478">
                        <c:v>57.35</c:v>
                      </c:pt>
                      <c:pt idx="8479">
                        <c:v>75.98</c:v>
                      </c:pt>
                      <c:pt idx="8480">
                        <c:v>76.7</c:v>
                      </c:pt>
                      <c:pt idx="8481">
                        <c:v>76.69</c:v>
                      </c:pt>
                      <c:pt idx="8482">
                        <c:v>76.61</c:v>
                      </c:pt>
                      <c:pt idx="8483">
                        <c:v>76.56</c:v>
                      </c:pt>
                      <c:pt idx="8484">
                        <c:v>76.349999999999994</c:v>
                      </c:pt>
                      <c:pt idx="8485">
                        <c:v>76.03</c:v>
                      </c:pt>
                      <c:pt idx="8486">
                        <c:v>74.89</c:v>
                      </c:pt>
                      <c:pt idx="8487">
                        <c:v>72.05</c:v>
                      </c:pt>
                      <c:pt idx="8488">
                        <c:v>76.06</c:v>
                      </c:pt>
                      <c:pt idx="8489">
                        <c:v>79.3</c:v>
                      </c:pt>
                      <c:pt idx="8490">
                        <c:v>77.260000000000005</c:v>
                      </c:pt>
                      <c:pt idx="8491">
                        <c:v>75.959999999999994</c:v>
                      </c:pt>
                      <c:pt idx="8492">
                        <c:v>64.16</c:v>
                      </c:pt>
                      <c:pt idx="8493">
                        <c:v>46.03</c:v>
                      </c:pt>
                      <c:pt idx="8494">
                        <c:v>42.01</c:v>
                      </c:pt>
                      <c:pt idx="8495">
                        <c:v>37.630000000000003</c:v>
                      </c:pt>
                      <c:pt idx="8496">
                        <c:v>33.090000000000003</c:v>
                      </c:pt>
                      <c:pt idx="8497">
                        <c:v>35.26</c:v>
                      </c:pt>
                      <c:pt idx="8498">
                        <c:v>31.88</c:v>
                      </c:pt>
                      <c:pt idx="8499">
                        <c:v>33.04</c:v>
                      </c:pt>
                      <c:pt idx="8500">
                        <c:v>33.6</c:v>
                      </c:pt>
                      <c:pt idx="8501">
                        <c:v>35.049999999999997</c:v>
                      </c:pt>
                      <c:pt idx="8502">
                        <c:v>35.19</c:v>
                      </c:pt>
                      <c:pt idx="8503">
                        <c:v>45.94</c:v>
                      </c:pt>
                      <c:pt idx="8504">
                        <c:v>49.9</c:v>
                      </c:pt>
                      <c:pt idx="8505">
                        <c:v>50</c:v>
                      </c:pt>
                      <c:pt idx="8506">
                        <c:v>51.03</c:v>
                      </c:pt>
                      <c:pt idx="8507">
                        <c:v>54.48</c:v>
                      </c:pt>
                      <c:pt idx="8508">
                        <c:v>55.96</c:v>
                      </c:pt>
                      <c:pt idx="8509">
                        <c:v>49.99</c:v>
                      </c:pt>
                      <c:pt idx="8510">
                        <c:v>46.15</c:v>
                      </c:pt>
                      <c:pt idx="8511">
                        <c:v>46.86</c:v>
                      </c:pt>
                      <c:pt idx="8512">
                        <c:v>51.93</c:v>
                      </c:pt>
                      <c:pt idx="8513">
                        <c:v>50.95</c:v>
                      </c:pt>
                      <c:pt idx="8514">
                        <c:v>51.03</c:v>
                      </c:pt>
                      <c:pt idx="8515">
                        <c:v>46.02</c:v>
                      </c:pt>
                      <c:pt idx="8516">
                        <c:v>35.83</c:v>
                      </c:pt>
                      <c:pt idx="8517">
                        <c:v>36.26</c:v>
                      </c:pt>
                      <c:pt idx="8518">
                        <c:v>38.72</c:v>
                      </c:pt>
                      <c:pt idx="8519">
                        <c:v>34.840000000000003</c:v>
                      </c:pt>
                      <c:pt idx="8520">
                        <c:v>27.76</c:v>
                      </c:pt>
                      <c:pt idx="8521">
                        <c:v>26.45</c:v>
                      </c:pt>
                      <c:pt idx="8522">
                        <c:v>26.2</c:v>
                      </c:pt>
                      <c:pt idx="8523">
                        <c:v>26.36</c:v>
                      </c:pt>
                      <c:pt idx="8524">
                        <c:v>27.59</c:v>
                      </c:pt>
                      <c:pt idx="8525">
                        <c:v>31.93</c:v>
                      </c:pt>
                      <c:pt idx="8526">
                        <c:v>38.61</c:v>
                      </c:pt>
                      <c:pt idx="8527">
                        <c:v>47.52</c:v>
                      </c:pt>
                      <c:pt idx="8528">
                        <c:v>48</c:v>
                      </c:pt>
                      <c:pt idx="8529">
                        <c:v>50</c:v>
                      </c:pt>
                      <c:pt idx="8530">
                        <c:v>48.99</c:v>
                      </c:pt>
                      <c:pt idx="8531">
                        <c:v>46.55</c:v>
                      </c:pt>
                      <c:pt idx="8532">
                        <c:v>47.86</c:v>
                      </c:pt>
                      <c:pt idx="8533">
                        <c:v>46.96</c:v>
                      </c:pt>
                      <c:pt idx="8534">
                        <c:v>39</c:v>
                      </c:pt>
                      <c:pt idx="8535">
                        <c:v>39.369999999999997</c:v>
                      </c:pt>
                      <c:pt idx="8536">
                        <c:v>46.06</c:v>
                      </c:pt>
                      <c:pt idx="8537">
                        <c:v>47.34</c:v>
                      </c:pt>
                      <c:pt idx="8538">
                        <c:v>41.5</c:v>
                      </c:pt>
                      <c:pt idx="8539">
                        <c:v>40.659999999999997</c:v>
                      </c:pt>
                      <c:pt idx="8540">
                        <c:v>42.91</c:v>
                      </c:pt>
                      <c:pt idx="8541">
                        <c:v>42.06</c:v>
                      </c:pt>
                      <c:pt idx="8542">
                        <c:v>37.4</c:v>
                      </c:pt>
                      <c:pt idx="8543">
                        <c:v>30.62</c:v>
                      </c:pt>
                      <c:pt idx="8544">
                        <c:v>26.33</c:v>
                      </c:pt>
                      <c:pt idx="8545">
                        <c:v>17.72</c:v>
                      </c:pt>
                      <c:pt idx="8546">
                        <c:v>11.8</c:v>
                      </c:pt>
                      <c:pt idx="8547">
                        <c:v>11.3</c:v>
                      </c:pt>
                      <c:pt idx="8548">
                        <c:v>12.4</c:v>
                      </c:pt>
                      <c:pt idx="8549">
                        <c:v>8.4</c:v>
                      </c:pt>
                      <c:pt idx="8550">
                        <c:v>9.7100000000000009</c:v>
                      </c:pt>
                      <c:pt idx="8551">
                        <c:v>10.71</c:v>
                      </c:pt>
                      <c:pt idx="8552">
                        <c:v>14.78</c:v>
                      </c:pt>
                      <c:pt idx="8553">
                        <c:v>18.79</c:v>
                      </c:pt>
                      <c:pt idx="8554">
                        <c:v>20.079999999999998</c:v>
                      </c:pt>
                      <c:pt idx="8555">
                        <c:v>14.74</c:v>
                      </c:pt>
                      <c:pt idx="8556">
                        <c:v>14.77</c:v>
                      </c:pt>
                      <c:pt idx="8557">
                        <c:v>10.87</c:v>
                      </c:pt>
                      <c:pt idx="8558">
                        <c:v>5.65</c:v>
                      </c:pt>
                      <c:pt idx="8559">
                        <c:v>10.039999999999999</c:v>
                      </c:pt>
                      <c:pt idx="8560">
                        <c:v>12.91</c:v>
                      </c:pt>
                      <c:pt idx="8561">
                        <c:v>22.01</c:v>
                      </c:pt>
                      <c:pt idx="8562">
                        <c:v>18.079999999999998</c:v>
                      </c:pt>
                      <c:pt idx="8563">
                        <c:v>10.84</c:v>
                      </c:pt>
                      <c:pt idx="8564">
                        <c:v>0.4</c:v>
                      </c:pt>
                      <c:pt idx="8565">
                        <c:v>-0.03</c:v>
                      </c:pt>
                      <c:pt idx="8566">
                        <c:v>-0.09</c:v>
                      </c:pt>
                      <c:pt idx="8567">
                        <c:v>-12.12</c:v>
                      </c:pt>
                      <c:pt idx="8568">
                        <c:v>-40.840000000000003</c:v>
                      </c:pt>
                      <c:pt idx="8569">
                        <c:v>-43.18</c:v>
                      </c:pt>
                      <c:pt idx="8570">
                        <c:v>-55.99</c:v>
                      </c:pt>
                      <c:pt idx="8571">
                        <c:v>-49.99</c:v>
                      </c:pt>
                      <c:pt idx="8572">
                        <c:v>-40.14</c:v>
                      </c:pt>
                      <c:pt idx="8573">
                        <c:v>-36.049999999999997</c:v>
                      </c:pt>
                      <c:pt idx="8574">
                        <c:v>-42.93</c:v>
                      </c:pt>
                      <c:pt idx="8575">
                        <c:v>-9.94</c:v>
                      </c:pt>
                      <c:pt idx="8576">
                        <c:v>2.13</c:v>
                      </c:pt>
                      <c:pt idx="8577">
                        <c:v>5.07</c:v>
                      </c:pt>
                      <c:pt idx="8578">
                        <c:v>5.03</c:v>
                      </c:pt>
                      <c:pt idx="8579">
                        <c:v>6.82</c:v>
                      </c:pt>
                      <c:pt idx="8580">
                        <c:v>2.17</c:v>
                      </c:pt>
                      <c:pt idx="8581">
                        <c:v>2.93</c:v>
                      </c:pt>
                      <c:pt idx="8582">
                        <c:v>0.1</c:v>
                      </c:pt>
                      <c:pt idx="8583">
                        <c:v>1.0900000000000001</c:v>
                      </c:pt>
                      <c:pt idx="8584">
                        <c:v>6.75</c:v>
                      </c:pt>
                      <c:pt idx="8585">
                        <c:v>11.08</c:v>
                      </c:pt>
                      <c:pt idx="8586">
                        <c:v>2.85</c:v>
                      </c:pt>
                      <c:pt idx="8587">
                        <c:v>1.8</c:v>
                      </c:pt>
                      <c:pt idx="8588">
                        <c:v>-4.9400000000000004</c:v>
                      </c:pt>
                      <c:pt idx="8589">
                        <c:v>-6.74</c:v>
                      </c:pt>
                      <c:pt idx="8590">
                        <c:v>0.08</c:v>
                      </c:pt>
                      <c:pt idx="8591">
                        <c:v>0.06</c:v>
                      </c:pt>
                      <c:pt idx="8592">
                        <c:v>-4.9800000000000004</c:v>
                      </c:pt>
                      <c:pt idx="8593">
                        <c:v>-32.58</c:v>
                      </c:pt>
                      <c:pt idx="8594">
                        <c:v>-19.79</c:v>
                      </c:pt>
                      <c:pt idx="8595">
                        <c:v>-11.9</c:v>
                      </c:pt>
                      <c:pt idx="8596">
                        <c:v>-4.96</c:v>
                      </c:pt>
                      <c:pt idx="8597">
                        <c:v>-4.83</c:v>
                      </c:pt>
                      <c:pt idx="8598">
                        <c:v>-61.41</c:v>
                      </c:pt>
                      <c:pt idx="8599">
                        <c:v>-4.97</c:v>
                      </c:pt>
                      <c:pt idx="8600">
                        <c:v>7.0000000000000007E-2</c:v>
                      </c:pt>
                      <c:pt idx="8601">
                        <c:v>9.94</c:v>
                      </c:pt>
                      <c:pt idx="8602">
                        <c:v>19.899999999999999</c:v>
                      </c:pt>
                      <c:pt idx="8603">
                        <c:v>22.01</c:v>
                      </c:pt>
                      <c:pt idx="8604">
                        <c:v>18.350000000000001</c:v>
                      </c:pt>
                      <c:pt idx="8605">
                        <c:v>15.99</c:v>
                      </c:pt>
                      <c:pt idx="8606">
                        <c:v>12.97</c:v>
                      </c:pt>
                      <c:pt idx="8607">
                        <c:v>17.97</c:v>
                      </c:pt>
                      <c:pt idx="8608">
                        <c:v>17.989999999999998</c:v>
                      </c:pt>
                      <c:pt idx="8609">
                        <c:v>26.45</c:v>
                      </c:pt>
                      <c:pt idx="8610">
                        <c:v>27.41</c:v>
                      </c:pt>
                      <c:pt idx="8611">
                        <c:v>27.59</c:v>
                      </c:pt>
                      <c:pt idx="8612">
                        <c:v>25.64</c:v>
                      </c:pt>
                      <c:pt idx="8613">
                        <c:v>22.09</c:v>
                      </c:pt>
                      <c:pt idx="8614">
                        <c:v>22.17</c:v>
                      </c:pt>
                      <c:pt idx="8615">
                        <c:v>22</c:v>
                      </c:pt>
                      <c:pt idx="8616">
                        <c:v>5.0599999999999996</c:v>
                      </c:pt>
                      <c:pt idx="8617">
                        <c:v>5.0599999999999996</c:v>
                      </c:pt>
                      <c:pt idx="8618">
                        <c:v>-1.44</c:v>
                      </c:pt>
                      <c:pt idx="8619">
                        <c:v>-6.94</c:v>
                      </c:pt>
                      <c:pt idx="8620">
                        <c:v>-9.65</c:v>
                      </c:pt>
                      <c:pt idx="8621">
                        <c:v>-9.89</c:v>
                      </c:pt>
                      <c:pt idx="8622">
                        <c:v>-11.88</c:v>
                      </c:pt>
                      <c:pt idx="8623">
                        <c:v>-3.24</c:v>
                      </c:pt>
                      <c:pt idx="8624">
                        <c:v>-9.7799999999999994</c:v>
                      </c:pt>
                      <c:pt idx="8625">
                        <c:v>0</c:v>
                      </c:pt>
                      <c:pt idx="8626">
                        <c:v>-24.33</c:v>
                      </c:pt>
                      <c:pt idx="8627">
                        <c:v>-31.69</c:v>
                      </c:pt>
                      <c:pt idx="8628">
                        <c:v>-52.82</c:v>
                      </c:pt>
                      <c:pt idx="8629">
                        <c:v>-53.42</c:v>
                      </c:pt>
                      <c:pt idx="8630">
                        <c:v>-18</c:v>
                      </c:pt>
                      <c:pt idx="8631">
                        <c:v>-0.48</c:v>
                      </c:pt>
                      <c:pt idx="8632">
                        <c:v>5.49</c:v>
                      </c:pt>
                      <c:pt idx="8633">
                        <c:v>10.66</c:v>
                      </c:pt>
                      <c:pt idx="8634">
                        <c:v>13.35</c:v>
                      </c:pt>
                      <c:pt idx="8635">
                        <c:v>11.19</c:v>
                      </c:pt>
                      <c:pt idx="8636">
                        <c:v>19</c:v>
                      </c:pt>
                      <c:pt idx="8637">
                        <c:v>18.059999999999999</c:v>
                      </c:pt>
                      <c:pt idx="8638">
                        <c:v>22.02</c:v>
                      </c:pt>
                      <c:pt idx="8639">
                        <c:v>13.46</c:v>
                      </c:pt>
                      <c:pt idx="8640">
                        <c:v>25.37</c:v>
                      </c:pt>
                      <c:pt idx="8641">
                        <c:v>15.09</c:v>
                      </c:pt>
                      <c:pt idx="8642">
                        <c:v>13.93</c:v>
                      </c:pt>
                      <c:pt idx="8643">
                        <c:v>13.48</c:v>
                      </c:pt>
                      <c:pt idx="8644">
                        <c:v>12.74</c:v>
                      </c:pt>
                      <c:pt idx="8645">
                        <c:v>13.29</c:v>
                      </c:pt>
                      <c:pt idx="8646">
                        <c:v>20.03</c:v>
                      </c:pt>
                      <c:pt idx="8647">
                        <c:v>28.62</c:v>
                      </c:pt>
                      <c:pt idx="8648">
                        <c:v>32</c:v>
                      </c:pt>
                      <c:pt idx="8649">
                        <c:v>34.909999999999997</c:v>
                      </c:pt>
                      <c:pt idx="8650">
                        <c:v>35.299999999999997</c:v>
                      </c:pt>
                      <c:pt idx="8651">
                        <c:v>42.46</c:v>
                      </c:pt>
                      <c:pt idx="8652">
                        <c:v>46.11</c:v>
                      </c:pt>
                      <c:pt idx="8653">
                        <c:v>46.01</c:v>
                      </c:pt>
                      <c:pt idx="8654">
                        <c:v>46.4</c:v>
                      </c:pt>
                      <c:pt idx="8655">
                        <c:v>46.48</c:v>
                      </c:pt>
                      <c:pt idx="8656">
                        <c:v>50.9</c:v>
                      </c:pt>
                      <c:pt idx="8657">
                        <c:v>56.09</c:v>
                      </c:pt>
                      <c:pt idx="8658">
                        <c:v>57.57</c:v>
                      </c:pt>
                      <c:pt idx="8659">
                        <c:v>51.33</c:v>
                      </c:pt>
                      <c:pt idx="8660">
                        <c:v>42.4</c:v>
                      </c:pt>
                      <c:pt idx="8661">
                        <c:v>40</c:v>
                      </c:pt>
                      <c:pt idx="8662">
                        <c:v>42.24</c:v>
                      </c:pt>
                      <c:pt idx="8663">
                        <c:v>31.27</c:v>
                      </c:pt>
                      <c:pt idx="8664">
                        <c:v>28.87</c:v>
                      </c:pt>
                      <c:pt idx="8665">
                        <c:v>28.12</c:v>
                      </c:pt>
                      <c:pt idx="8666">
                        <c:v>27.2</c:v>
                      </c:pt>
                      <c:pt idx="8667">
                        <c:v>26</c:v>
                      </c:pt>
                      <c:pt idx="8668">
                        <c:v>26.33</c:v>
                      </c:pt>
                      <c:pt idx="8669">
                        <c:v>28.89</c:v>
                      </c:pt>
                      <c:pt idx="8670">
                        <c:v>30.74</c:v>
                      </c:pt>
                      <c:pt idx="8671">
                        <c:v>35.979999999999997</c:v>
                      </c:pt>
                      <c:pt idx="8672">
                        <c:v>38.43</c:v>
                      </c:pt>
                      <c:pt idx="8673">
                        <c:v>39.93</c:v>
                      </c:pt>
                      <c:pt idx="8674">
                        <c:v>40.119999999999997</c:v>
                      </c:pt>
                      <c:pt idx="8675">
                        <c:v>39.97</c:v>
                      </c:pt>
                      <c:pt idx="8676">
                        <c:v>40.159999999999997</c:v>
                      </c:pt>
                      <c:pt idx="8677">
                        <c:v>39.24</c:v>
                      </c:pt>
                      <c:pt idx="8678">
                        <c:v>36.42</c:v>
                      </c:pt>
                      <c:pt idx="8679">
                        <c:v>40.03</c:v>
                      </c:pt>
                      <c:pt idx="8680">
                        <c:v>42.98</c:v>
                      </c:pt>
                      <c:pt idx="8681">
                        <c:v>43.01</c:v>
                      </c:pt>
                      <c:pt idx="8682">
                        <c:v>42.16</c:v>
                      </c:pt>
                      <c:pt idx="8683">
                        <c:v>34.93</c:v>
                      </c:pt>
                      <c:pt idx="8684">
                        <c:v>25.06</c:v>
                      </c:pt>
                      <c:pt idx="8685">
                        <c:v>19.989999999999998</c:v>
                      </c:pt>
                      <c:pt idx="8686">
                        <c:v>19.22</c:v>
                      </c:pt>
                      <c:pt idx="8687">
                        <c:v>5.86</c:v>
                      </c:pt>
                      <c:pt idx="8688">
                        <c:v>9.73</c:v>
                      </c:pt>
                      <c:pt idx="8689">
                        <c:v>0.72</c:v>
                      </c:pt>
                      <c:pt idx="8690">
                        <c:v>-0.93</c:v>
                      </c:pt>
                      <c:pt idx="8691">
                        <c:v>1.07</c:v>
                      </c:pt>
                      <c:pt idx="8692">
                        <c:v>1</c:v>
                      </c:pt>
                      <c:pt idx="8693">
                        <c:v>2.91</c:v>
                      </c:pt>
                      <c:pt idx="8694">
                        <c:v>3.6</c:v>
                      </c:pt>
                      <c:pt idx="8695">
                        <c:v>15.97</c:v>
                      </c:pt>
                      <c:pt idx="8696">
                        <c:v>29.69</c:v>
                      </c:pt>
                      <c:pt idx="8697">
                        <c:v>30.2</c:v>
                      </c:pt>
                      <c:pt idx="8698">
                        <c:v>29.83</c:v>
                      </c:pt>
                      <c:pt idx="8699">
                        <c:v>29.47</c:v>
                      </c:pt>
                      <c:pt idx="8700">
                        <c:v>29.2</c:v>
                      </c:pt>
                      <c:pt idx="8701">
                        <c:v>29.45</c:v>
                      </c:pt>
                      <c:pt idx="8702">
                        <c:v>30.02</c:v>
                      </c:pt>
                      <c:pt idx="8703">
                        <c:v>31</c:v>
                      </c:pt>
                      <c:pt idx="8704">
                        <c:v>32.979999999999997</c:v>
                      </c:pt>
                      <c:pt idx="8705">
                        <c:v>34.950000000000003</c:v>
                      </c:pt>
                      <c:pt idx="8706">
                        <c:v>32.79</c:v>
                      </c:pt>
                      <c:pt idx="8707">
                        <c:v>30.23</c:v>
                      </c:pt>
                      <c:pt idx="8708">
                        <c:v>28.49</c:v>
                      </c:pt>
                      <c:pt idx="8709">
                        <c:v>26.51</c:v>
                      </c:pt>
                      <c:pt idx="8710">
                        <c:v>26.9</c:v>
                      </c:pt>
                      <c:pt idx="8711">
                        <c:v>15.06</c:v>
                      </c:pt>
                      <c:pt idx="8712">
                        <c:v>16.399999999999999</c:v>
                      </c:pt>
                      <c:pt idx="8713">
                        <c:v>13.33</c:v>
                      </c:pt>
                      <c:pt idx="8714">
                        <c:v>13.25</c:v>
                      </c:pt>
                      <c:pt idx="8715">
                        <c:v>12.04</c:v>
                      </c:pt>
                      <c:pt idx="8716">
                        <c:v>11.45</c:v>
                      </c:pt>
                      <c:pt idx="8717">
                        <c:v>8.49</c:v>
                      </c:pt>
                      <c:pt idx="8718">
                        <c:v>9.83</c:v>
                      </c:pt>
                      <c:pt idx="8719">
                        <c:v>12.07</c:v>
                      </c:pt>
                      <c:pt idx="8720">
                        <c:v>13.41</c:v>
                      </c:pt>
                      <c:pt idx="8721">
                        <c:v>16.09</c:v>
                      </c:pt>
                      <c:pt idx="8722">
                        <c:v>18.8</c:v>
                      </c:pt>
                      <c:pt idx="8723">
                        <c:v>17.03</c:v>
                      </c:pt>
                      <c:pt idx="8724">
                        <c:v>17.670000000000002</c:v>
                      </c:pt>
                      <c:pt idx="8725">
                        <c:v>15.51</c:v>
                      </c:pt>
                      <c:pt idx="8726">
                        <c:v>17.61</c:v>
                      </c:pt>
                      <c:pt idx="8727">
                        <c:v>13.22</c:v>
                      </c:pt>
                      <c:pt idx="8728">
                        <c:v>14.02</c:v>
                      </c:pt>
                      <c:pt idx="8729">
                        <c:v>16.78</c:v>
                      </c:pt>
                      <c:pt idx="8730">
                        <c:v>16.010000000000002</c:v>
                      </c:pt>
                      <c:pt idx="8731">
                        <c:v>16.18</c:v>
                      </c:pt>
                      <c:pt idx="8732">
                        <c:v>11.13</c:v>
                      </c:pt>
                      <c:pt idx="8733">
                        <c:v>4.62</c:v>
                      </c:pt>
                      <c:pt idx="8734">
                        <c:v>4.71</c:v>
                      </c:pt>
                      <c:pt idx="8735">
                        <c:v>-0.27</c:v>
                      </c:pt>
                      <c:pt idx="8736">
                        <c:v>-2.04</c:v>
                      </c:pt>
                      <c:pt idx="8737">
                        <c:v>-4.99</c:v>
                      </c:pt>
                      <c:pt idx="8738">
                        <c:v>-0.59</c:v>
                      </c:pt>
                      <c:pt idx="8739">
                        <c:v>-3.71</c:v>
                      </c:pt>
                      <c:pt idx="8740">
                        <c:v>0.08</c:v>
                      </c:pt>
                      <c:pt idx="8741">
                        <c:v>1.1599999999999999</c:v>
                      </c:pt>
                      <c:pt idx="8742">
                        <c:v>-0.86</c:v>
                      </c:pt>
                      <c:pt idx="8743">
                        <c:v>4.09</c:v>
                      </c:pt>
                      <c:pt idx="8744">
                        <c:v>4.17</c:v>
                      </c:pt>
                      <c:pt idx="8745">
                        <c:v>4.21</c:v>
                      </c:pt>
                      <c:pt idx="8746">
                        <c:v>9.0500000000000007</c:v>
                      </c:pt>
                      <c:pt idx="8747">
                        <c:v>9.1999999999999993</c:v>
                      </c:pt>
                      <c:pt idx="8748">
                        <c:v>4.45</c:v>
                      </c:pt>
                      <c:pt idx="8749">
                        <c:v>2.04</c:v>
                      </c:pt>
                      <c:pt idx="8750">
                        <c:v>0.06</c:v>
                      </c:pt>
                      <c:pt idx="8751">
                        <c:v>0.36</c:v>
                      </c:pt>
                      <c:pt idx="8752">
                        <c:v>1.46</c:v>
                      </c:pt>
                      <c:pt idx="8753">
                        <c:v>6.14</c:v>
                      </c:pt>
                      <c:pt idx="8754">
                        <c:v>9.9600000000000009</c:v>
                      </c:pt>
                      <c:pt idx="8755">
                        <c:v>7.92</c:v>
                      </c:pt>
                      <c:pt idx="8756">
                        <c:v>4.0599999999999996</c:v>
                      </c:pt>
                      <c:pt idx="8757">
                        <c:v>5.3</c:v>
                      </c:pt>
                      <c:pt idx="8758">
                        <c:v>1.86</c:v>
                      </c:pt>
                      <c:pt idx="8759">
                        <c:v>-0.92</c:v>
                      </c:pt>
                    </c:numCache>
                  </c:numRef>
                </c:val>
                <c:smooth val="0"/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3E99-4ADF-8426-44CB883A620C}"/>
                  </c:ext>
                </c:extLst>
              </c15:ser>
            </c15:filteredLineSeries>
          </c:ext>
        </c:extLst>
      </c:lineChart>
      <c:catAx>
        <c:axId val="1021854608"/>
        <c:scaling>
          <c:orientation val="minMax"/>
        </c:scaling>
        <c:delete val="1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/>
                  <a:t>Zeitraum</a:t>
                </a:r>
                <a:r>
                  <a:rPr lang="de-DE" sz="1200" baseline="0"/>
                  <a:t> = ein Jahr</a:t>
                </a:r>
                <a:endParaRPr lang="de-DE" sz="120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dd/mm/yy\ hh:mm" sourceLinked="1"/>
        <c:majorTickMark val="out"/>
        <c:minorTickMark val="none"/>
        <c:tickLblPos val="nextTo"/>
        <c:crossAx val="1021856048"/>
        <c:crosses val="autoZero"/>
        <c:auto val="1"/>
        <c:lblAlgn val="ctr"/>
        <c:lblOffset val="100"/>
        <c:noMultiLvlLbl val="0"/>
      </c:catAx>
      <c:valAx>
        <c:axId val="1021856048"/>
        <c:scaling>
          <c:orientation val="minMax"/>
          <c:max val="50"/>
          <c:min val="-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 sz="1200"/>
                  <a:t>Preis (Ct/k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0218546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solidFill>
      <a:schemeClr val="bg1"/>
    </a:solidFill>
    <a:ln w="2857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b="1"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Finanzierung!$A$61</c:f>
              <c:strCache>
                <c:ptCount val="1"/>
                <c:pt idx="0">
                  <c:v>Eigenkapital-Cash flow kumuliert</c:v>
                </c:pt>
              </c:strCache>
            </c:strRef>
          </c:tx>
          <c:spPr>
            <a:ln w="25400" cap="rnd">
              <a:solidFill>
                <a:srgbClr val="50903C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Finanzierung!$C$1:$W$1</c:f>
              <c:numCache>
                <c:formatCode>0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Finanzierung!$C$61:$W$61</c:f>
              <c:numCache>
                <c:formatCode>#,##0</c:formatCode>
                <c:ptCount val="21"/>
                <c:pt idx="0">
                  <c:v>9.5250374412496512</c:v>
                </c:pt>
                <c:pt idx="1">
                  <c:v>74.484637660242015</c:v>
                </c:pt>
                <c:pt idx="2">
                  <c:v>399.65195418890221</c:v>
                </c:pt>
                <c:pt idx="3">
                  <c:v>725.75170215082301</c:v>
                </c:pt>
                <c:pt idx="4">
                  <c:v>982.71217658004139</c:v>
                </c:pt>
                <c:pt idx="5">
                  <c:v>1240.8653348753323</c:v>
                </c:pt>
                <c:pt idx="6">
                  <c:v>1500.3468810121367</c:v>
                </c:pt>
                <c:pt idx="7">
                  <c:v>1761.296351548388</c:v>
                </c:pt>
                <c:pt idx="8">
                  <c:v>2796.4701345781004</c:v>
                </c:pt>
                <c:pt idx="9">
                  <c:v>3833.4027660858965</c:v>
                </c:pt>
                <c:pt idx="10">
                  <c:v>4872.2458149100839</c:v>
                </c:pt>
                <c:pt idx="11">
                  <c:v>5913.1550451844232</c:v>
                </c:pt>
                <c:pt idx="12">
                  <c:v>6956.2905118832223</c:v>
                </c:pt>
                <c:pt idx="13">
                  <c:v>7357.6735821935026</c:v>
                </c:pt>
                <c:pt idx="14">
                  <c:v>7773.8572162900364</c:v>
                </c:pt>
                <c:pt idx="15">
                  <c:v>8205.2597544723503</c:v>
                </c:pt>
                <c:pt idx="16">
                  <c:v>8205.2597544723503</c:v>
                </c:pt>
                <c:pt idx="17">
                  <c:v>8205.2597544723503</c:v>
                </c:pt>
                <c:pt idx="18">
                  <c:v>8205.2597544723503</c:v>
                </c:pt>
                <c:pt idx="19">
                  <c:v>8205.2597544723503</c:v>
                </c:pt>
                <c:pt idx="20">
                  <c:v>8205.259754472350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8C77-4D7A-9FB5-A85FF22E2EA6}"/>
            </c:ext>
          </c:extLst>
        </c:ser>
        <c:ser>
          <c:idx val="1"/>
          <c:order val="1"/>
          <c:tx>
            <c:strRef>
              <c:f>'Cash flow'!$A$68</c:f>
              <c:strCache>
                <c:ptCount val="1"/>
                <c:pt idx="0">
                  <c:v>Free Cash flow vor Steuern kumuliert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Cash flow'!$E$1:$Y$1</c:f>
              <c:numCache>
                <c:formatCode>0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'Cash flow'!$E$68:$Y$68</c:f>
              <c:numCache>
                <c:formatCode>#,##0</c:formatCode>
                <c:ptCount val="16"/>
                <c:pt idx="0">
                  <c:v>-4815.8769457500002</c:v>
                </c:pt>
                <c:pt idx="1">
                  <c:v>-3455.8044144140968</c:v>
                </c:pt>
                <c:pt idx="2">
                  <c:v>-2358.024166768525</c:v>
                </c:pt>
                <c:pt idx="3">
                  <c:v>-1259.3114876896927</c:v>
                </c:pt>
                <c:pt idx="4">
                  <c:v>-229.73808214356291</c:v>
                </c:pt>
                <c:pt idx="5">
                  <c:v>801.02800726863939</c:v>
                </c:pt>
                <c:pt idx="6">
                  <c:v>1833.1224845223553</c:v>
                </c:pt>
                <c:pt idx="7">
                  <c:v>2866.6848861755179</c:v>
                </c:pt>
                <c:pt idx="8">
                  <c:v>3901.8586692052304</c:v>
                </c:pt>
                <c:pt idx="9">
                  <c:v>4938.7913007130264</c:v>
                </c:pt>
                <c:pt idx="10">
                  <c:v>5977.6343495372139</c:v>
                </c:pt>
                <c:pt idx="11">
                  <c:v>7018.5435798115523</c:v>
                </c:pt>
                <c:pt idx="12">
                  <c:v>8061.6790465103513</c:v>
                </c:pt>
                <c:pt idx="13">
                  <c:v>8463.0621168206326</c:v>
                </c:pt>
                <c:pt idx="14">
                  <c:v>8879.2457509171672</c:v>
                </c:pt>
                <c:pt idx="15">
                  <c:v>9310.648289099481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8C77-4D7A-9FB5-A85FF22E2E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9680608"/>
        <c:axId val="674824944"/>
      </c:scatterChart>
      <c:valAx>
        <c:axId val="769680608"/>
        <c:scaling>
          <c:orientation val="minMax"/>
          <c:max val="1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Jah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824944"/>
        <c:crosses val="autoZero"/>
        <c:crossBetween val="midCat"/>
      </c:valAx>
      <c:valAx>
        <c:axId val="674824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Betriebsergebnis in x 1000 €</a:t>
                </a:r>
              </a:p>
            </c:rich>
          </c:tx>
          <c:layout>
            <c:manualLayout>
              <c:xMode val="edge"/>
              <c:yMode val="edge"/>
              <c:x val="1.1074230519879248E-2"/>
              <c:y val="0.2491087051618547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6968060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Finanzierung!$A$61</c:f>
              <c:strCache>
                <c:ptCount val="1"/>
                <c:pt idx="0">
                  <c:v>Eigenkapital-Cash flow kumuliert</c:v>
                </c:pt>
              </c:strCache>
            </c:strRef>
          </c:tx>
          <c:spPr>
            <a:ln w="25400" cap="rnd">
              <a:solidFill>
                <a:srgbClr val="50903C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Finanzierung!$C$1:$W$1</c:f>
              <c:numCache>
                <c:formatCode>0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Finanzierung!$C$61:$W$61</c:f>
              <c:numCache>
                <c:formatCode>#,##0</c:formatCode>
                <c:ptCount val="21"/>
                <c:pt idx="0">
                  <c:v>9.7424207605004085</c:v>
                </c:pt>
                <c:pt idx="1">
                  <c:v>468.94282221315166</c:v>
                </c:pt>
                <c:pt idx="2">
                  <c:v>562.14808297814079</c:v>
                </c:pt>
                <c:pt idx="3">
                  <c:v>656.93531285439894</c:v>
                </c:pt>
                <c:pt idx="4">
                  <c:v>705.08544596296156</c:v>
                </c:pt>
                <c:pt idx="5">
                  <c:v>950.22388158943374</c:v>
                </c:pt>
                <c:pt idx="6">
                  <c:v>1197.378912741779</c:v>
                </c:pt>
                <c:pt idx="7">
                  <c:v>1446.7034778092057</c:v>
                </c:pt>
                <c:pt idx="8">
                  <c:v>1698.354700013494</c:v>
                </c:pt>
                <c:pt idx="9">
                  <c:v>2933.9730311231729</c:v>
                </c:pt>
                <c:pt idx="10">
                  <c:v>4172.2452021519357</c:v>
                </c:pt>
                <c:pt idx="11">
                  <c:v>5413.3414686514425</c:v>
                </c:pt>
                <c:pt idx="12">
                  <c:v>6657.4366630719196</c:v>
                </c:pt>
                <c:pt idx="13">
                  <c:v>7121.0490863021287</c:v>
                </c:pt>
                <c:pt idx="14">
                  <c:v>7601.7906260517439</c:v>
                </c:pt>
                <c:pt idx="15">
                  <c:v>8100.125801331701</c:v>
                </c:pt>
                <c:pt idx="16">
                  <c:v>8100.125801331701</c:v>
                </c:pt>
                <c:pt idx="17">
                  <c:v>8100.125801331701</c:v>
                </c:pt>
                <c:pt idx="18">
                  <c:v>8100.125801331701</c:v>
                </c:pt>
                <c:pt idx="19">
                  <c:v>8100.125801331701</c:v>
                </c:pt>
                <c:pt idx="20">
                  <c:v>8100.12580133170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2036-4225-AA44-BB0197570B68}"/>
            </c:ext>
          </c:extLst>
        </c:ser>
        <c:ser>
          <c:idx val="1"/>
          <c:order val="1"/>
          <c:tx>
            <c:strRef>
              <c:f>'Cash flow'!$A$68</c:f>
              <c:strCache>
                <c:ptCount val="1"/>
                <c:pt idx="0">
                  <c:v>Free Cash flow vor Steuern kumuliert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Cash flow'!$E$1:$Y$1</c:f>
              <c:numCache>
                <c:formatCode>0</c:formatCode>
                <c:ptCount val="16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</c:numCache>
            </c:numRef>
          </c:xVal>
          <c:yVal>
            <c:numRef>
              <c:f>'Cash flow'!$E$68:$Y$68</c:f>
              <c:numCache>
                <c:formatCode>#,##0</c:formatCode>
                <c:ptCount val="16"/>
                <c:pt idx="0">
                  <c:v>-6841.1639830999993</c:v>
                </c:pt>
                <c:pt idx="1">
                  <c:v>-5205.3639793557086</c:v>
                </c:pt>
                <c:pt idx="2">
                  <c:v>-3935.5591162990795</c:v>
                </c:pt>
                <c:pt idx="3">
                  <c:v>-2664.1722841311816</c:v>
                </c:pt>
                <c:pt idx="4">
                  <c:v>-1439.4225487309793</c:v>
                </c:pt>
                <c:pt idx="5">
                  <c:v>-212.80506434762788</c:v>
                </c:pt>
                <c:pt idx="6">
                  <c:v>1015.8290155615966</c:v>
                </c:pt>
                <c:pt idx="7">
                  <c:v>2246.6326293859029</c:v>
                </c:pt>
                <c:pt idx="8">
                  <c:v>3479.7629003470702</c:v>
                </c:pt>
                <c:pt idx="9">
                  <c:v>4715.3812314567494</c:v>
                </c:pt>
                <c:pt idx="10">
                  <c:v>5953.6534024855118</c:v>
                </c:pt>
                <c:pt idx="11">
                  <c:v>7194.7496689850186</c:v>
                </c:pt>
                <c:pt idx="12">
                  <c:v>8438.8448634054948</c:v>
                </c:pt>
                <c:pt idx="13">
                  <c:v>8902.4572866357048</c:v>
                </c:pt>
                <c:pt idx="14">
                  <c:v>9383.19882638532</c:v>
                </c:pt>
                <c:pt idx="15">
                  <c:v>9881.534001665277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2036-4225-AA44-BB0197570B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9680608"/>
        <c:axId val="674824944"/>
      </c:scatterChart>
      <c:valAx>
        <c:axId val="769680608"/>
        <c:scaling>
          <c:orientation val="minMax"/>
          <c:max val="15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Jah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824944"/>
        <c:crosses val="autoZero"/>
        <c:crossBetween val="midCat"/>
      </c:valAx>
      <c:valAx>
        <c:axId val="674824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Betriebsergebnis in x 1000 €</a:t>
                </a:r>
              </a:p>
            </c:rich>
          </c:tx>
          <c:layout>
            <c:manualLayout>
              <c:xMode val="edge"/>
              <c:yMode val="edge"/>
              <c:x val="5.4080659272429648E-3"/>
              <c:y val="0.2305901866433362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6968060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scatterChart>
        <c:scatterStyle val="lineMarker"/>
        <c:varyColors val="0"/>
        <c:ser>
          <c:idx val="0"/>
          <c:order val="0"/>
          <c:tx>
            <c:strRef>
              <c:f>Finanzierung!$A$61</c:f>
              <c:strCache>
                <c:ptCount val="1"/>
                <c:pt idx="0">
                  <c:v>Eigenkapital-Cash flow kumuliert</c:v>
                </c:pt>
              </c:strCache>
            </c:strRef>
          </c:tx>
          <c:spPr>
            <a:ln w="25400" cap="rnd">
              <a:solidFill>
                <a:srgbClr val="50903C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Finanzierung!$C$1:$W$1</c:f>
              <c:numCache>
                <c:formatCode>0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Finanzierung!$C$61:$W$61</c:f>
              <c:numCache>
                <c:formatCode>#,##0</c:formatCode>
                <c:ptCount val="21"/>
                <c:pt idx="0">
                  <c:v>21.48965687499981</c:v>
                </c:pt>
                <c:pt idx="1">
                  <c:v>370.95595588303172</c:v>
                </c:pt>
                <c:pt idx="2">
                  <c:v>535.03606228062085</c:v>
                </c:pt>
                <c:pt idx="3">
                  <c:v>928.80409900849963</c:v>
                </c:pt>
                <c:pt idx="4">
                  <c:v>1331.365210164216</c:v>
                </c:pt>
                <c:pt idx="5">
                  <c:v>1742.9016989516172</c:v>
                </c:pt>
                <c:pt idx="6">
                  <c:v>2163.5995790557795</c:v>
                </c:pt>
                <c:pt idx="7">
                  <c:v>2593.6486494968053</c:v>
                </c:pt>
                <c:pt idx="8">
                  <c:v>3033.2425709871372</c:v>
                </c:pt>
                <c:pt idx="9">
                  <c:v>3482.5789438225233</c:v>
                </c:pt>
                <c:pt idx="10">
                  <c:v>3941.8593873373748</c:v>
                </c:pt>
                <c:pt idx="11">
                  <c:v>4411.2896209558648</c:v>
                </c:pt>
                <c:pt idx="12">
                  <c:v>4891.0795468707574</c:v>
                </c:pt>
                <c:pt idx="13">
                  <c:v>5381.4433343825785</c:v>
                </c:pt>
                <c:pt idx="14">
                  <c:v>5882.5995059324096</c:v>
                </c:pt>
                <c:pt idx="15">
                  <c:v>6394.7710248622461</c:v>
                </c:pt>
                <c:pt idx="16">
                  <c:v>6918.1853849375348</c:v>
                </c:pt>
                <c:pt idx="17">
                  <c:v>7453.0747016672112</c:v>
                </c:pt>
                <c:pt idx="18">
                  <c:v>7999.6758054572492</c:v>
                </c:pt>
                <c:pt idx="19">
                  <c:v>8558.2303366344713</c:v>
                </c:pt>
                <c:pt idx="20">
                  <c:v>9128.9848423780913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E454-40F0-874F-9942F01F6F5B}"/>
            </c:ext>
          </c:extLst>
        </c:ser>
        <c:ser>
          <c:idx val="1"/>
          <c:order val="1"/>
          <c:tx>
            <c:strRef>
              <c:f>'Cash flow'!$A$34</c:f>
              <c:strCache>
                <c:ptCount val="1"/>
                <c:pt idx="0">
                  <c:v>Free Cash flow vor Steuern kumuliert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xVal>
            <c:numRef>
              <c:f>'Cash flow'!$E$1:$Y$1</c:f>
              <c:numCache>
                <c:formatCode>0</c:formatCode>
                <c:ptCount val="21"/>
                <c:pt idx="0">
                  <c:v>0</c:v>
                </c:pt>
                <c:pt idx="1">
                  <c:v>1</c:v>
                </c:pt>
                <c:pt idx="2">
                  <c:v>2</c:v>
                </c:pt>
                <c:pt idx="3">
                  <c:v>3</c:v>
                </c:pt>
                <c:pt idx="4">
                  <c:v>4</c:v>
                </c:pt>
                <c:pt idx="5">
                  <c:v>5</c:v>
                </c:pt>
                <c:pt idx="6">
                  <c:v>6</c:v>
                </c:pt>
                <c:pt idx="7">
                  <c:v>7</c:v>
                </c:pt>
                <c:pt idx="8">
                  <c:v>8</c:v>
                </c:pt>
                <c:pt idx="9">
                  <c:v>9</c:v>
                </c:pt>
                <c:pt idx="10">
                  <c:v>10</c:v>
                </c:pt>
                <c:pt idx="11">
                  <c:v>11</c:v>
                </c:pt>
                <c:pt idx="12">
                  <c:v>12</c:v>
                </c:pt>
                <c:pt idx="13">
                  <c:v>13</c:v>
                </c:pt>
                <c:pt idx="14">
                  <c:v>14</c:v>
                </c:pt>
                <c:pt idx="15">
                  <c:v>15</c:v>
                </c:pt>
                <c:pt idx="16">
                  <c:v>16</c:v>
                </c:pt>
                <c:pt idx="17">
                  <c:v>17</c:v>
                </c:pt>
                <c:pt idx="18">
                  <c:v>18</c:v>
                </c:pt>
                <c:pt idx="19">
                  <c:v>19</c:v>
                </c:pt>
                <c:pt idx="20">
                  <c:v>20</c:v>
                </c:pt>
              </c:numCache>
            </c:numRef>
          </c:xVal>
          <c:yVal>
            <c:numRef>
              <c:f>'Cash flow'!$E$34:$Y$34</c:f>
              <c:numCache>
                <c:formatCode>#,##0</c:formatCode>
                <c:ptCount val="21"/>
                <c:pt idx="0">
                  <c:v>-4819.7891500000005</c:v>
                </c:pt>
                <c:pt idx="1">
                  <c:v>-3933.3244719926433</c:v>
                </c:pt>
                <c:pt idx="2">
                  <c:v>-3239.7204865957287</c:v>
                </c:pt>
                <c:pt idx="3">
                  <c:v>-2537.5020928734148</c:v>
                </c:pt>
                <c:pt idx="4">
                  <c:v>-1826.490624723263</c:v>
                </c:pt>
                <c:pt idx="5">
                  <c:v>-1106.5037789414264</c:v>
                </c:pt>
                <c:pt idx="6">
                  <c:v>-377.35554184282887</c:v>
                </c:pt>
                <c:pt idx="7">
                  <c:v>361.14388559263239</c:v>
                </c:pt>
                <c:pt idx="8">
                  <c:v>1109.1881640773995</c:v>
                </c:pt>
                <c:pt idx="9">
                  <c:v>1866.974893907221</c:v>
                </c:pt>
                <c:pt idx="10">
                  <c:v>2634.7056944165079</c:v>
                </c:pt>
                <c:pt idx="11">
                  <c:v>3412.5862850294334</c:v>
                </c:pt>
                <c:pt idx="12">
                  <c:v>4200.8265679387614</c:v>
                </c:pt>
                <c:pt idx="13">
                  <c:v>4999.6407124450179</c:v>
                </c:pt>
                <c:pt idx="14">
                  <c:v>5809.2472409892844</c:v>
                </c:pt>
                <c:pt idx="15">
                  <c:v>6629.8691169135564</c:v>
                </c:pt>
                <c:pt idx="16">
                  <c:v>7461.7338339832804</c:v>
                </c:pt>
                <c:pt idx="17">
                  <c:v>8305.0735077073932</c:v>
                </c:pt>
                <c:pt idx="18">
                  <c:v>9160.1249684918657</c:v>
                </c:pt>
                <c:pt idx="19">
                  <c:v>10027.129856663523</c:v>
                </c:pt>
                <c:pt idx="20">
                  <c:v>10906.334719401579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E454-40F0-874F-9942F01F6F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69680608"/>
        <c:axId val="674824944"/>
      </c:scatterChart>
      <c:valAx>
        <c:axId val="76968060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de-DE"/>
                  <a:t>Jah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74824944"/>
        <c:crosses val="autoZero"/>
        <c:crossBetween val="midCat"/>
      </c:valAx>
      <c:valAx>
        <c:axId val="6748249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Betriebsergebnis in</a:t>
                </a:r>
                <a:r>
                  <a:rPr lang="en-US" baseline="0"/>
                  <a:t> t </a:t>
                </a:r>
                <a:r>
                  <a:rPr lang="en-US"/>
                  <a:t>€</a:t>
                </a:r>
              </a:p>
            </c:rich>
          </c:tx>
          <c:layout>
            <c:manualLayout>
              <c:xMode val="edge"/>
              <c:yMode val="edge"/>
              <c:x val="1.6877637130801686E-2"/>
              <c:y val="0.2491087051618547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de-DE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769680608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A50_939B47F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DCE7848-44FF-427A-A485-F2158E4AF296}" authorId="{2938AD6E-F702-C13D-7CD8-61C5A36B0250}" created="2025-03-27T09:56:49.771">
    <pc:sldMkLst xmlns:pc="http://schemas.microsoft.com/office/powerpoint/2013/main/command">
      <pc:docMk/>
      <pc:sldMk cId="2476427258" sldId="2640"/>
    </pc:sldMkLst>
    <p188:txBody>
      <a:bodyPr/>
      <a:lstStyle/>
      <a:p>
        <a:r>
          <a:rPr lang="de-DE"/>
          <a:t>Eintragen:
Titel - Name Kunde 
Fußzeile - Name Kunde</a:t>
        </a:r>
      </a:p>
    </p188:txBody>
  </p188:cm>
</p188:cmLst>
</file>

<file path=ppt/comments/modernComment_ADE_C17CEB9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2EDE2A02-6825-433B-97D2-44D736D8E539}" authorId="{2938AD6E-F702-C13D-7CD8-61C5A36B0250}" created="2025-04-03T10:54:36.42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246189457" sldId="2782"/>
      <ac:picMk id="3" creationId="{653C8F6A-7BA7-84B2-4A2D-9E970C994E52}"/>
    </ac:deMkLst>
    <p188:txBody>
      <a:bodyPr/>
      <a:lstStyle/>
      <a:p>
        <a:r>
          <a:rPr lang="de-DE"/>
          <a:t>Ausschnitte als Screenshots einfügen, Diagramm einfügen. Große wie in der Vorlage belassen</a:t>
        </a:r>
      </a:p>
    </p188:txBody>
  </p188:cm>
</p188:cmLst>
</file>

<file path=ppt/comments/modernComment_ADF_4AFD6E6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A1250810-C4B1-4101-B353-49D34A811C82}" authorId="{2938AD6E-F702-C13D-7CD8-61C5A36B0250}" created="2025-04-03T10:54:36.426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58122859" sldId="2783"/>
      <ac:picMk id="3" creationId="{6A6300A2-C993-FA3F-443B-36C919A8956A}"/>
    </ac:deMkLst>
    <p188:txBody>
      <a:bodyPr/>
      <a:lstStyle/>
      <a:p>
        <a:r>
          <a:rPr lang="de-DE"/>
          <a:t>Ausschnitte als Screenshots einfügen, Diagramm einfügen. Große wie in der Vorlage belassen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A7FF86F-4C86-A14E-BDC4-7594C36ED22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0BA60B-408D-A346-A3C6-A0A623E400B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de-DE"/>
              <a:t>01.04.2025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DFC9AB-D0B7-324D-A46A-8C07C5BDDAD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Vorstudie Friedensbunk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47F240-5FA3-5A40-A12E-89C4BD25BFD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E4068C-53A1-B34C-AA87-E61762203F4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60403643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de-DE"/>
              <a:t>01.04.2025</a:t>
            </a:r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/>
              <a:t>Vorstudie Friedensbunk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51D12C-83B2-43D5-99FF-61073F4A87A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4106821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39371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>
            <a:extLst>
              <a:ext uri="{FF2B5EF4-FFF2-40B4-BE49-F238E27FC236}">
                <a16:creationId xmlns:a16="http://schemas.microsoft.com/office/drawing/2014/main" id="{DCEF05AC-CF2C-E502-7DC3-A668B877CB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6044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BBBE7E9A-550C-4F38-11A4-016AFFF07733}"/>
              </a:ext>
            </a:extLst>
          </p:cNvPr>
          <p:cNvCxnSpPr>
            <a:cxnSpLocks/>
          </p:cNvCxnSpPr>
          <p:nvPr userDrawn="1"/>
        </p:nvCxnSpPr>
        <p:spPr>
          <a:xfrm>
            <a:off x="2262199" y="3550261"/>
            <a:ext cx="7667601" cy="0"/>
          </a:xfrm>
          <a:prstGeom prst="line">
            <a:avLst/>
          </a:prstGeom>
          <a:ln w="28575">
            <a:solidFill>
              <a:srgbClr val="EE850D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25132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D80DA4E-EF45-5C66-E896-3A769EF0D9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31492"/>
            <a:ext cx="10515600" cy="759196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ED8B15C-C463-D8CF-D3A6-D7BF0D28F5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008502"/>
            <a:ext cx="10515600" cy="4194339"/>
          </a:xfrm>
        </p:spPr>
        <p:txBody>
          <a:bodyPr/>
          <a:lstStyle>
            <a:lvl1pPr>
              <a:buClr>
                <a:srgbClr val="EE850D"/>
              </a:buClr>
              <a:defRPr/>
            </a:lvl1pPr>
            <a:lvl2pPr>
              <a:buClr>
                <a:srgbClr val="EE850D"/>
              </a:buClr>
              <a:defRPr/>
            </a:lvl2pPr>
            <a:lvl3pPr>
              <a:buClr>
                <a:srgbClr val="EE850D"/>
              </a:buClr>
              <a:defRPr/>
            </a:lvl3pPr>
            <a:lvl4pPr>
              <a:buClr>
                <a:srgbClr val="EE850D"/>
              </a:buClr>
              <a:defRPr/>
            </a:lvl4pPr>
            <a:lvl5pPr>
              <a:buClr>
                <a:srgbClr val="EE850D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515185A1-C805-7665-12A7-E2408C9FC605}"/>
              </a:ext>
            </a:extLst>
          </p:cNvPr>
          <p:cNvSpPr txBox="1"/>
          <p:nvPr userDrawn="1"/>
        </p:nvSpPr>
        <p:spPr>
          <a:xfrm>
            <a:off x="11547149" y="6330397"/>
            <a:ext cx="74134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ACB34C1A-F68E-46EA-B073-4B3E6D5EE222}" type="slidenum">
              <a:rPr lang="de-DE" sz="1200" smtClean="0">
                <a:solidFill>
                  <a:srgbClr val="555E64"/>
                </a:solidFill>
                <a:latin typeface="Museo 100" panose="02000000000000000000" pitchFamily="50" charset="0"/>
              </a:rPr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17346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8401DF-6A96-5788-C71B-5541FC300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3EC276E-384B-ED80-1C03-D6F82F2672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C269954-887E-D6CB-550F-EE7BF2BF173C}"/>
              </a:ext>
            </a:extLst>
          </p:cNvPr>
          <p:cNvSpPr txBox="1"/>
          <p:nvPr userDrawn="1"/>
        </p:nvSpPr>
        <p:spPr>
          <a:xfrm>
            <a:off x="11547149" y="6330397"/>
            <a:ext cx="74134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ACB34C1A-F68E-46EA-B073-4B3E6D5EE222}" type="slidenum">
              <a:rPr lang="de-DE" sz="1200" smtClean="0">
                <a:solidFill>
                  <a:srgbClr val="555E64"/>
                </a:solidFill>
                <a:latin typeface="Museo 100" panose="02000000000000000000" pitchFamily="50" charset="0"/>
              </a:rPr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02391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AB553C-0704-A2C6-D780-F915C4B85A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97E97D2-ABBA-CE74-8041-5C1D9DF638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buClr>
                <a:srgbClr val="FF9900"/>
              </a:buClr>
              <a:defRPr sz="2400"/>
            </a:lvl1pPr>
            <a:lvl2pPr>
              <a:buClr>
                <a:srgbClr val="FF9900"/>
              </a:buClr>
              <a:defRPr sz="2000"/>
            </a:lvl2pPr>
            <a:lvl3pPr>
              <a:buClr>
                <a:srgbClr val="FF9900"/>
              </a:buClr>
              <a:defRPr sz="1800"/>
            </a:lvl3pPr>
            <a:lvl4pPr>
              <a:buClr>
                <a:srgbClr val="FF9900"/>
              </a:buClr>
              <a:defRPr sz="1600"/>
            </a:lvl4pPr>
            <a:lvl5pPr>
              <a:buClr>
                <a:srgbClr val="FF9900"/>
              </a:buClr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312C3EB3-EAEC-6388-87F0-A2CAB26000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31492"/>
            <a:ext cx="10515600" cy="759196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5A07009-B1EF-EDE0-810E-C6D6CD682EE0}"/>
              </a:ext>
            </a:extLst>
          </p:cNvPr>
          <p:cNvSpPr txBox="1"/>
          <p:nvPr userDrawn="1"/>
        </p:nvSpPr>
        <p:spPr>
          <a:xfrm>
            <a:off x="11547149" y="6330397"/>
            <a:ext cx="74134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ACB34C1A-F68E-46EA-B073-4B3E6D5EE222}" type="slidenum">
              <a:rPr lang="de-DE" sz="1200" smtClean="0">
                <a:solidFill>
                  <a:srgbClr val="555E64"/>
                </a:solidFill>
                <a:latin typeface="Museo 100" panose="02000000000000000000" pitchFamily="50" charset="0"/>
              </a:rPr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6492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CA813BF-0E98-D76C-5755-E950605CC2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A9A84D2-A207-8F6B-3585-FDF7C8B5DA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buClr>
                <a:srgbClr val="EE850D"/>
              </a:buClr>
              <a:defRPr/>
            </a:lvl1pPr>
            <a:lvl2pPr>
              <a:buClr>
                <a:srgbClr val="EE850D"/>
              </a:buClr>
              <a:defRPr/>
            </a:lvl2pPr>
            <a:lvl3pPr>
              <a:buClr>
                <a:srgbClr val="EE850D"/>
              </a:buClr>
              <a:defRPr/>
            </a:lvl3pPr>
            <a:lvl4pPr>
              <a:buClr>
                <a:srgbClr val="EE850D"/>
              </a:buClr>
              <a:defRPr/>
            </a:lvl4pPr>
            <a:lvl5pPr>
              <a:buClr>
                <a:srgbClr val="EE850D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EE351ED-90AF-ED34-D0E4-614EC9B2B2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872930F9-DEE6-FB50-936B-614E7B4BEB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buClr>
                <a:srgbClr val="EE850D"/>
              </a:buClr>
              <a:defRPr/>
            </a:lvl1pPr>
            <a:lvl2pPr>
              <a:buClr>
                <a:srgbClr val="EE850D"/>
              </a:buClr>
              <a:defRPr/>
            </a:lvl2pPr>
            <a:lvl3pPr>
              <a:buClr>
                <a:srgbClr val="EE850D"/>
              </a:buClr>
              <a:defRPr/>
            </a:lvl3pPr>
            <a:lvl4pPr>
              <a:buClr>
                <a:srgbClr val="EE850D"/>
              </a:buClr>
              <a:defRPr/>
            </a:lvl4pPr>
            <a:lvl5pPr>
              <a:buClr>
                <a:srgbClr val="EE850D"/>
              </a:buClr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1706A4B1-BFB1-255B-F3AA-87B1E9BF9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31492"/>
            <a:ext cx="10515600" cy="75919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1914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1BAB2789-76E8-C3B0-393B-0C85B037054F}"/>
              </a:ext>
            </a:extLst>
          </p:cNvPr>
          <p:cNvSpPr txBox="1"/>
          <p:nvPr userDrawn="1"/>
        </p:nvSpPr>
        <p:spPr>
          <a:xfrm>
            <a:off x="11547149" y="6330397"/>
            <a:ext cx="74134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ACB34C1A-F68E-46EA-B073-4B3E6D5EE222}" type="slidenum">
              <a:rPr lang="de-DE" sz="1200" smtClean="0">
                <a:solidFill>
                  <a:srgbClr val="555E64"/>
                </a:solidFill>
                <a:latin typeface="Museo 100" panose="02000000000000000000" pitchFamily="50" charset="0"/>
              </a:rPr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7406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EBEA6446-9BFA-0838-620D-496FB6B6AB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31492"/>
            <a:ext cx="10515600" cy="759196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92E2941-8AC1-469D-588F-B4189DC2CAD7}"/>
              </a:ext>
            </a:extLst>
          </p:cNvPr>
          <p:cNvSpPr txBox="1"/>
          <p:nvPr userDrawn="1"/>
        </p:nvSpPr>
        <p:spPr>
          <a:xfrm>
            <a:off x="11547149" y="6330397"/>
            <a:ext cx="74134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ACB34C1A-F68E-46EA-B073-4B3E6D5EE222}" type="slidenum">
              <a:rPr lang="de-DE" sz="1200" smtClean="0">
                <a:solidFill>
                  <a:srgbClr val="555E64"/>
                </a:solidFill>
                <a:latin typeface="Museo 100" panose="02000000000000000000" pitchFamily="50" charset="0"/>
              </a:rPr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70781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C2CB30-D073-A75A-F631-B970C96E19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43855C9-A376-6610-0FB3-AEA33C6239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buClr>
                <a:srgbClr val="EE850D"/>
              </a:buClr>
              <a:defRPr sz="3200"/>
            </a:lvl1pPr>
            <a:lvl2pPr>
              <a:buClr>
                <a:srgbClr val="EE850D"/>
              </a:buClr>
              <a:defRPr sz="2800"/>
            </a:lvl2pPr>
            <a:lvl3pPr>
              <a:buClr>
                <a:srgbClr val="EE850D"/>
              </a:buClr>
              <a:defRPr sz="2400"/>
            </a:lvl3pPr>
            <a:lvl4pPr>
              <a:buClr>
                <a:srgbClr val="EE850D"/>
              </a:buClr>
              <a:defRPr sz="2000"/>
            </a:lvl4pPr>
            <a:lvl5pPr>
              <a:buClr>
                <a:srgbClr val="EE850D"/>
              </a:buCl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3A02D51-932E-9308-04C6-B573F11CF61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6110322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EC9DEC8-2C30-C5A2-A97A-EA270C5AE5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24855BB-EC0E-5668-A474-C7230231171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10E9F07-8D2F-ADAB-5952-AC5F11FF60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1B671F9-CA6F-2D62-540C-E56E644CFE3C}"/>
              </a:ext>
            </a:extLst>
          </p:cNvPr>
          <p:cNvSpPr txBox="1"/>
          <p:nvPr userDrawn="1"/>
        </p:nvSpPr>
        <p:spPr>
          <a:xfrm>
            <a:off x="11130922" y="1067161"/>
            <a:ext cx="307777" cy="5033623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ctr"/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Museo 100" panose="02000000000000000000" pitchFamily="50" charset="0"/>
              </a:rPr>
              <a:t>Quelle: …</a:t>
            </a:r>
          </a:p>
        </p:txBody>
      </p:sp>
    </p:spTree>
    <p:extLst>
      <p:ext uri="{BB962C8B-B14F-4D97-AF65-F5344CB8AC3E}">
        <p14:creationId xmlns:p14="http://schemas.microsoft.com/office/powerpoint/2010/main" val="16692223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ild voll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1">
            <a:extLst>
              <a:ext uri="{FF2B5EF4-FFF2-40B4-BE49-F238E27FC236}">
                <a16:creationId xmlns:a16="http://schemas.microsoft.com/office/drawing/2014/main" id="{A617CAF3-AD75-69C3-A5BE-07827BC6D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31492"/>
            <a:ext cx="10515600" cy="759196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48795F3-50E7-7882-0A6E-AE58BAB995BC}"/>
              </a:ext>
            </a:extLst>
          </p:cNvPr>
          <p:cNvSpPr txBox="1"/>
          <p:nvPr userDrawn="1"/>
        </p:nvSpPr>
        <p:spPr>
          <a:xfrm>
            <a:off x="11547149" y="6330397"/>
            <a:ext cx="741347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ACB34C1A-F68E-46EA-B073-4B3E6D5EE222}" type="slidenum">
              <a:rPr lang="de-DE" sz="1200" smtClean="0">
                <a:solidFill>
                  <a:srgbClr val="555E64"/>
                </a:solidFill>
                <a:latin typeface="Museo 100" panose="02000000000000000000" pitchFamily="50" charset="0"/>
              </a:rPr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907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F401FAF3-345B-554A-E536-BB8C2B6D49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A8DCE00E-9749-6BAD-843E-72EB16EEE6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7" name="Grafik 6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92482D17-A7B1-04DA-6F80-18DAD7E133E2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4736" y="176910"/>
            <a:ext cx="2582938" cy="722416"/>
          </a:xfrm>
          <a:prstGeom prst="rect">
            <a:avLst/>
          </a:prstGeom>
        </p:spPr>
      </p:pic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F2291F9-4C8C-C6C5-C1C6-A5C52D330DFE}"/>
              </a:ext>
            </a:extLst>
          </p:cNvPr>
          <p:cNvGrpSpPr/>
          <p:nvPr userDrawn="1"/>
        </p:nvGrpSpPr>
        <p:grpSpPr>
          <a:xfrm>
            <a:off x="-187036" y="6283187"/>
            <a:ext cx="12233563" cy="372894"/>
            <a:chOff x="-187036" y="6283187"/>
            <a:chExt cx="12233563" cy="372894"/>
          </a:xfrm>
        </p:grpSpPr>
        <p:sp>
          <p:nvSpPr>
            <p:cNvPr id="9" name="Fußzeilenplatzhalter 14">
              <a:extLst>
                <a:ext uri="{FF2B5EF4-FFF2-40B4-BE49-F238E27FC236}">
                  <a16:creationId xmlns:a16="http://schemas.microsoft.com/office/drawing/2014/main" id="{C06057B8-2802-F082-BDCE-1F3E16E760D6}"/>
                </a:ext>
              </a:extLst>
            </p:cNvPr>
            <p:cNvSpPr txBox="1">
              <a:spLocks/>
            </p:cNvSpPr>
            <p:nvPr/>
          </p:nvSpPr>
          <p:spPr>
            <a:xfrm>
              <a:off x="4038600" y="6290956"/>
              <a:ext cx="4114800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marL="0" algn="ctr" defTabSz="914400" rtl="0" eaLnBrk="1" latinLnBrk="0" hangingPunct="1">
                <a:defRPr sz="1200" kern="1200">
                  <a:solidFill>
                    <a:schemeClr val="tx1">
                      <a:tint val="82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>
                  <a:solidFill>
                    <a:srgbClr val="5B6469"/>
                  </a:solidFill>
                  <a:latin typeface="Museo 100" panose="02000000000000000000" pitchFamily="50" charset="0"/>
                </a:rPr>
                <a:t>Norddeutscher Biogas Branchentreff</a:t>
              </a:r>
            </a:p>
          </p:txBody>
        </p:sp>
        <p:sp>
          <p:nvSpPr>
            <p:cNvPr id="10" name="Fußzeilenplatzhalter 14">
              <a:extLst>
                <a:ext uri="{FF2B5EF4-FFF2-40B4-BE49-F238E27FC236}">
                  <a16:creationId xmlns:a16="http://schemas.microsoft.com/office/drawing/2014/main" id="{DE602EB7-3226-7EEC-1A51-8D7F73645CA4}"/>
                </a:ext>
              </a:extLst>
            </p:cNvPr>
            <p:cNvSpPr txBox="1">
              <a:spLocks/>
            </p:cNvSpPr>
            <p:nvPr/>
          </p:nvSpPr>
          <p:spPr>
            <a:xfrm>
              <a:off x="-187036" y="6283187"/>
              <a:ext cx="4114800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marL="0" algn="ctr" defTabSz="914400" rtl="0" eaLnBrk="1" latinLnBrk="0" hangingPunct="1">
                <a:defRPr sz="1200" kern="1200">
                  <a:solidFill>
                    <a:schemeClr val="tx1">
                      <a:tint val="82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>
                  <a:solidFill>
                    <a:srgbClr val="5B6469"/>
                  </a:solidFill>
                  <a:latin typeface="Museo 100" panose="02000000000000000000" pitchFamily="50" charset="0"/>
                </a:rPr>
                <a:t>12.06.2025</a:t>
              </a:r>
            </a:p>
          </p:txBody>
        </p:sp>
        <p:sp>
          <p:nvSpPr>
            <p:cNvPr id="11" name="Fußzeilenplatzhalter 14">
              <a:extLst>
                <a:ext uri="{FF2B5EF4-FFF2-40B4-BE49-F238E27FC236}">
                  <a16:creationId xmlns:a16="http://schemas.microsoft.com/office/drawing/2014/main" id="{71D29412-0559-0271-4850-E9239BADBB34}"/>
                </a:ext>
              </a:extLst>
            </p:cNvPr>
            <p:cNvSpPr txBox="1">
              <a:spLocks/>
            </p:cNvSpPr>
            <p:nvPr/>
          </p:nvSpPr>
          <p:spPr>
            <a:xfrm>
              <a:off x="7931727" y="6287618"/>
              <a:ext cx="4114800" cy="365125"/>
            </a:xfrm>
            <a:prstGeom prst="rect">
              <a:avLst/>
            </a:prstGeom>
          </p:spPr>
          <p:txBody>
            <a:bodyPr vert="horz" lIns="91440" tIns="45720" rIns="91440" bIns="45720" rtlCol="0" anchor="ctr"/>
            <a:lstStyle>
              <a:defPPr>
                <a:defRPr lang="de-DE"/>
              </a:defPPr>
              <a:lvl1pPr marL="0" algn="ctr" defTabSz="914400" rtl="0" eaLnBrk="1" latinLnBrk="0" hangingPunct="1">
                <a:defRPr sz="1200" kern="1200">
                  <a:solidFill>
                    <a:schemeClr val="tx1">
                      <a:tint val="82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dirty="0">
                  <a:solidFill>
                    <a:srgbClr val="5B6469"/>
                  </a:solidFill>
                  <a:latin typeface="Museo 100" panose="02000000000000000000" pitchFamily="50" charset="0"/>
                </a:rPr>
                <a:t>Energethik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8026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7" r:id="rId7"/>
    <p:sldLayoutId id="2147483688" r:id="rId8"/>
    <p:sldLayoutId id="2147483689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51914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EF8508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F8508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F8508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F8508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EF8508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sv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jp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microsoft.com/office/2018/10/relationships/comments" Target="../comments/modernComment_ADE_C17CEB9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microsoft.com/office/2018/10/relationships/comments" Target="../comments/modernComment_ADF_4AFD6E6B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hyperlink" Target="https://calendar.google.com/calendar/u/0/appointments/schedules/AcZssZ37tOBOqbDZ_ULW6CMtffSwejJ4zC5FQf7_hXEbziyu1DpSFjx_9RkoOMWLkv-EshwFHP5Xtpcg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3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A50_939B47FA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CB7A099-EEAA-16AD-5BBC-F87D306352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Kopiervorlagen</a:t>
            </a:r>
          </a:p>
        </p:txBody>
      </p:sp>
      <p:pic>
        <p:nvPicPr>
          <p:cNvPr id="7" name="Grafik 6" descr="Ein Bild, das Text, Schrift, Logo, Grafiken enthält.&#10;&#10;Automatisch generierte Beschreibung">
            <a:extLst>
              <a:ext uri="{FF2B5EF4-FFF2-40B4-BE49-F238E27FC236}">
                <a16:creationId xmlns:a16="http://schemas.microsoft.com/office/drawing/2014/main" id="{9634F2D1-5797-A0A0-AC13-F1FF071263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1991050"/>
            <a:ext cx="3571540" cy="998915"/>
          </a:xfrm>
          <a:prstGeom prst="rect">
            <a:avLst/>
          </a:prstGeom>
        </p:spPr>
      </p:pic>
      <p:pic>
        <p:nvPicPr>
          <p:cNvPr id="11" name="Grafik 10" descr="Ein Bild, das Schrift, Grafiken, Grafikdesign, Logo enthält.&#10;&#10;Automatisch generierte Beschreibung">
            <a:extLst>
              <a:ext uri="{FF2B5EF4-FFF2-40B4-BE49-F238E27FC236}">
                <a16:creationId xmlns:a16="http://schemas.microsoft.com/office/drawing/2014/main" id="{A4F80CA1-7B68-4960-BC33-960D5744D6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03" y="4110650"/>
            <a:ext cx="3420932" cy="956792"/>
          </a:xfrm>
          <a:prstGeom prst="rect">
            <a:avLst/>
          </a:prstGeom>
        </p:spPr>
      </p:pic>
      <p:pic>
        <p:nvPicPr>
          <p:cNvPr id="13" name="Grafik 12" descr="Ein Bild, das Schrift, Grafiken, Logo, Grafikdesign enthält.&#10;&#10;Automatisch generierte Beschreibung">
            <a:extLst>
              <a:ext uri="{FF2B5EF4-FFF2-40B4-BE49-F238E27FC236}">
                <a16:creationId xmlns:a16="http://schemas.microsoft.com/office/drawing/2014/main" id="{FE3CB4D6-6922-F0BB-8D16-97C823BFBFE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05" y="3071912"/>
            <a:ext cx="3420930" cy="956791"/>
          </a:xfrm>
          <a:prstGeom prst="rect">
            <a:avLst/>
          </a:prstGeom>
          <a:ln>
            <a:solidFill>
              <a:srgbClr val="519141"/>
            </a:solidFill>
          </a:ln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794AFD21-A484-C522-9519-306ECCD0C3B4}"/>
              </a:ext>
            </a:extLst>
          </p:cNvPr>
          <p:cNvSpPr txBox="1"/>
          <p:nvPr/>
        </p:nvSpPr>
        <p:spPr>
          <a:xfrm>
            <a:off x="4508125" y="3266074"/>
            <a:ext cx="195072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(Logo in weiß – bei Benutzung bitte Bildrahmen entfernen!)</a:t>
            </a:r>
          </a:p>
        </p:txBody>
      </p:sp>
      <p:pic>
        <p:nvPicPr>
          <p:cNvPr id="4" name="Grafik 3" descr="Ein Bild, das Logo, Grafiken, Symbol, Design enthält.&#10;&#10;Automatisch generierte Beschreibung">
            <a:extLst>
              <a:ext uri="{FF2B5EF4-FFF2-40B4-BE49-F238E27FC236}">
                <a16:creationId xmlns:a16="http://schemas.microsoft.com/office/drawing/2014/main" id="{488A3D90-85CF-F697-85FD-45E927EC05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1676" y="1740565"/>
            <a:ext cx="1525509" cy="1525509"/>
          </a:xfrm>
          <a:prstGeom prst="rect">
            <a:avLst/>
          </a:prstGeom>
        </p:spPr>
      </p:pic>
      <p:pic>
        <p:nvPicPr>
          <p:cNvPr id="6" name="Grafik 5" descr="Ein Bild, das Kreis enthält.&#10;&#10;Automatisch generierte Beschreibung">
            <a:extLst>
              <a:ext uri="{FF2B5EF4-FFF2-40B4-BE49-F238E27FC236}">
                <a16:creationId xmlns:a16="http://schemas.microsoft.com/office/drawing/2014/main" id="{B6AA7AEC-6650-1E82-F78D-31340E1E86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366" y="3266074"/>
            <a:ext cx="1022201" cy="102220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7E9EA9F-C3B5-AA72-E31D-31518780ADB3}"/>
              </a:ext>
            </a:extLst>
          </p:cNvPr>
          <p:cNvSpPr txBox="1"/>
          <p:nvPr/>
        </p:nvSpPr>
        <p:spPr>
          <a:xfrm>
            <a:off x="8031257" y="3550307"/>
            <a:ext cx="195072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/>
              <a:t>Leeres Blatt, mit Text (weiß!) </a:t>
            </a:r>
            <a:r>
              <a:rPr lang="de-DE" sz="1100" dirty="0" err="1"/>
              <a:t>befüllbar</a:t>
            </a:r>
            <a:endParaRPr lang="de-DE" sz="1100" dirty="0"/>
          </a:p>
        </p:txBody>
      </p:sp>
      <p:pic>
        <p:nvPicPr>
          <p:cNvPr id="10" name="Grafik 9" descr="Ein Bild, das Screenshot, Nacht enthält.&#10;&#10;Automatisch generierte Beschreibung">
            <a:extLst>
              <a:ext uri="{FF2B5EF4-FFF2-40B4-BE49-F238E27FC236}">
                <a16:creationId xmlns:a16="http://schemas.microsoft.com/office/drawing/2014/main" id="{EB76AE1B-1D17-CD9C-784A-6B3FD259441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98" r="15509" b="47710"/>
          <a:stretch/>
        </p:blipFill>
        <p:spPr>
          <a:xfrm flipV="1">
            <a:off x="1481167" y="5149388"/>
            <a:ext cx="2285603" cy="265304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EEA6D468-13E3-FCF9-6B25-0B03AF62381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8379" y="4144365"/>
            <a:ext cx="1089215" cy="953449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E62D75CE-3B2D-9E58-225C-2FA1AD0476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9595" y="5149388"/>
            <a:ext cx="1625971" cy="1194072"/>
          </a:xfrm>
          <a:prstGeom prst="rect">
            <a:avLst/>
          </a:prstGeom>
        </p:spPr>
      </p:pic>
      <p:pic>
        <p:nvPicPr>
          <p:cNvPr id="19" name="Grafik 18" descr="Ein Bild, das Nacht enthält.&#10;&#10;Automatisch generierte Beschreibung mit geringer Zuverlässigkeit">
            <a:extLst>
              <a:ext uri="{FF2B5EF4-FFF2-40B4-BE49-F238E27FC236}">
                <a16:creationId xmlns:a16="http://schemas.microsoft.com/office/drawing/2014/main" id="{DF38CBC7-97D9-0C98-117C-49F3184B6DC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6782" y="4004383"/>
            <a:ext cx="2699367" cy="1841290"/>
          </a:xfrm>
          <a:prstGeom prst="rect">
            <a:avLst/>
          </a:prstGeom>
        </p:spPr>
      </p:pic>
      <p:pic>
        <p:nvPicPr>
          <p:cNvPr id="21" name="Grafik 20" descr="Ein Bild, das Screenshot, Nacht enthält.&#10;&#10;Automatisch generierte Beschreibung">
            <a:extLst>
              <a:ext uri="{FF2B5EF4-FFF2-40B4-BE49-F238E27FC236}">
                <a16:creationId xmlns:a16="http://schemas.microsoft.com/office/drawing/2014/main" id="{8AF2550E-199D-568D-C480-FC0007000C7D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903" b="35932"/>
          <a:stretch/>
        </p:blipFill>
        <p:spPr>
          <a:xfrm>
            <a:off x="1518083" y="5540705"/>
            <a:ext cx="2441561" cy="385803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F0B9D9E1-D511-739B-9D97-FA71CA2E6E1C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61676" y="5438203"/>
            <a:ext cx="4262211" cy="751162"/>
          </a:xfrm>
          <a:prstGeom prst="rect">
            <a:avLst/>
          </a:prstGeom>
        </p:spPr>
      </p:pic>
      <p:pic>
        <p:nvPicPr>
          <p:cNvPr id="27" name="Grafik 26">
            <a:extLst>
              <a:ext uri="{FF2B5EF4-FFF2-40B4-BE49-F238E27FC236}">
                <a16:creationId xmlns:a16="http://schemas.microsoft.com/office/drawing/2014/main" id="{47A14D51-F356-4C9D-CEE3-3B8D854C5608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1905" y="2431181"/>
            <a:ext cx="3657600" cy="246316"/>
          </a:xfrm>
          <a:prstGeom prst="rect">
            <a:avLst/>
          </a:prstGeom>
        </p:spPr>
      </p:pic>
      <p:sp>
        <p:nvSpPr>
          <p:cNvPr id="28" name="Grafik 9" descr="Pfeil mit einer Linie: Kurve gegen den Uhrzeigersinn Silhouette">
            <a:extLst>
              <a:ext uri="{FF2B5EF4-FFF2-40B4-BE49-F238E27FC236}">
                <a16:creationId xmlns:a16="http://schemas.microsoft.com/office/drawing/2014/main" id="{2E1DBB89-6A3D-29FD-6359-3DFF496BE0CE}"/>
              </a:ext>
            </a:extLst>
          </p:cNvPr>
          <p:cNvSpPr/>
          <p:nvPr/>
        </p:nvSpPr>
        <p:spPr>
          <a:xfrm rot="15226110">
            <a:off x="10130619" y="3198722"/>
            <a:ext cx="295733" cy="959027"/>
          </a:xfrm>
          <a:custGeom>
            <a:avLst/>
            <a:gdLst>
              <a:gd name="connsiteX0" fmla="*/ 221104 w 287171"/>
              <a:gd name="connsiteY0" fmla="*/ 9525 h 809224"/>
              <a:gd name="connsiteX1" fmla="*/ 211579 w 287171"/>
              <a:gd name="connsiteY1" fmla="*/ 0 h 809224"/>
              <a:gd name="connsiteX2" fmla="*/ 9525 w 287171"/>
              <a:gd name="connsiteY2" fmla="*/ 0 h 809224"/>
              <a:gd name="connsiteX3" fmla="*/ 0 w 287171"/>
              <a:gd name="connsiteY3" fmla="*/ 9525 h 809224"/>
              <a:gd name="connsiteX4" fmla="*/ 0 w 287171"/>
              <a:gd name="connsiteY4" fmla="*/ 211588 h 809224"/>
              <a:gd name="connsiteX5" fmla="*/ 9525 w 287171"/>
              <a:gd name="connsiteY5" fmla="*/ 221113 h 809224"/>
              <a:gd name="connsiteX6" fmla="*/ 19050 w 287171"/>
              <a:gd name="connsiteY6" fmla="*/ 211588 h 809224"/>
              <a:gd name="connsiteX7" fmla="*/ 19050 w 287171"/>
              <a:gd name="connsiteY7" fmla="*/ 35014 h 809224"/>
              <a:gd name="connsiteX8" fmla="*/ 19145 w 287171"/>
              <a:gd name="connsiteY8" fmla="*/ 34919 h 809224"/>
              <a:gd name="connsiteX9" fmla="*/ 19202 w 287171"/>
              <a:gd name="connsiteY9" fmla="*/ 34938 h 809224"/>
              <a:gd name="connsiteX10" fmla="*/ 268091 w 287171"/>
              <a:gd name="connsiteY10" fmla="*/ 514340 h 809224"/>
              <a:gd name="connsiteX11" fmla="*/ 211674 w 287171"/>
              <a:gd name="connsiteY11" fmla="*/ 796042 h 809224"/>
              <a:gd name="connsiteX12" fmla="*/ 216808 w 287171"/>
              <a:gd name="connsiteY12" fmla="*/ 808492 h 809224"/>
              <a:gd name="connsiteX13" fmla="*/ 220466 w 287171"/>
              <a:gd name="connsiteY13" fmla="*/ 809225 h 809224"/>
              <a:gd name="connsiteX14" fmla="*/ 229257 w 287171"/>
              <a:gd name="connsiteY14" fmla="*/ 803358 h 809224"/>
              <a:gd name="connsiteX15" fmla="*/ 287141 w 287171"/>
              <a:gd name="connsiteY15" fmla="*/ 514512 h 809224"/>
              <a:gd name="connsiteX16" fmla="*/ 29966 w 287171"/>
              <a:gd name="connsiteY16" fmla="*/ 19212 h 809224"/>
              <a:gd name="connsiteX17" fmla="*/ 29946 w 287171"/>
              <a:gd name="connsiteY17" fmla="*/ 19079 h 809224"/>
              <a:gd name="connsiteX18" fmla="*/ 30013 w 287171"/>
              <a:gd name="connsiteY18" fmla="*/ 19040 h 809224"/>
              <a:gd name="connsiteX19" fmla="*/ 211579 w 287171"/>
              <a:gd name="connsiteY19" fmla="*/ 19040 h 809224"/>
              <a:gd name="connsiteX20" fmla="*/ 221104 w 287171"/>
              <a:gd name="connsiteY20" fmla="*/ 9525 h 809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171" h="809224">
                <a:moveTo>
                  <a:pt x="221104" y="9525"/>
                </a:moveTo>
                <a:cubicBezTo>
                  <a:pt x="221104" y="4265"/>
                  <a:pt x="216839" y="0"/>
                  <a:pt x="211579" y="0"/>
                </a:cubicBezTo>
                <a:lnTo>
                  <a:pt x="9525" y="0"/>
                </a:lnTo>
                <a:cubicBezTo>
                  <a:pt x="4264" y="0"/>
                  <a:pt x="0" y="4265"/>
                  <a:pt x="0" y="9525"/>
                </a:cubicBezTo>
                <a:lnTo>
                  <a:pt x="0" y="211588"/>
                </a:lnTo>
                <a:cubicBezTo>
                  <a:pt x="0" y="216849"/>
                  <a:pt x="4264" y="221113"/>
                  <a:pt x="9525" y="221113"/>
                </a:cubicBezTo>
                <a:cubicBezTo>
                  <a:pt x="14786" y="221113"/>
                  <a:pt x="19050" y="216849"/>
                  <a:pt x="19050" y="211588"/>
                </a:cubicBezTo>
                <a:lnTo>
                  <a:pt x="19050" y="35014"/>
                </a:lnTo>
                <a:cubicBezTo>
                  <a:pt x="19050" y="34961"/>
                  <a:pt x="19093" y="34919"/>
                  <a:pt x="19145" y="34919"/>
                </a:cubicBezTo>
                <a:cubicBezTo>
                  <a:pt x="19166" y="34919"/>
                  <a:pt x="19186" y="34925"/>
                  <a:pt x="19202" y="34938"/>
                </a:cubicBezTo>
                <a:cubicBezTo>
                  <a:pt x="227095" y="182423"/>
                  <a:pt x="269424" y="376790"/>
                  <a:pt x="268091" y="514340"/>
                </a:cubicBezTo>
                <a:cubicBezTo>
                  <a:pt x="267771" y="611015"/>
                  <a:pt x="248607" y="706700"/>
                  <a:pt x="211674" y="796042"/>
                </a:cubicBezTo>
                <a:cubicBezTo>
                  <a:pt x="209656" y="800898"/>
                  <a:pt x="211954" y="806470"/>
                  <a:pt x="216808" y="808492"/>
                </a:cubicBezTo>
                <a:cubicBezTo>
                  <a:pt x="217965" y="808979"/>
                  <a:pt x="219209" y="809228"/>
                  <a:pt x="220466" y="809225"/>
                </a:cubicBezTo>
                <a:cubicBezTo>
                  <a:pt x="224312" y="809224"/>
                  <a:pt x="227780" y="806909"/>
                  <a:pt x="229257" y="803358"/>
                </a:cubicBezTo>
                <a:cubicBezTo>
                  <a:pt x="267140" y="711753"/>
                  <a:pt x="286801" y="613641"/>
                  <a:pt x="287141" y="514512"/>
                </a:cubicBezTo>
                <a:cubicBezTo>
                  <a:pt x="288522" y="372351"/>
                  <a:pt x="244802" y="171479"/>
                  <a:pt x="29966" y="19212"/>
                </a:cubicBezTo>
                <a:cubicBezTo>
                  <a:pt x="29924" y="19181"/>
                  <a:pt x="29914" y="19121"/>
                  <a:pt x="29946" y="19079"/>
                </a:cubicBezTo>
                <a:cubicBezTo>
                  <a:pt x="29962" y="19057"/>
                  <a:pt x="29987" y="19043"/>
                  <a:pt x="30013" y="19040"/>
                </a:cubicBezTo>
                <a:lnTo>
                  <a:pt x="211579" y="19040"/>
                </a:lnTo>
                <a:cubicBezTo>
                  <a:pt x="216836" y="19040"/>
                  <a:pt x="221098" y="14782"/>
                  <a:pt x="221104" y="9525"/>
                </a:cubicBezTo>
                <a:close/>
              </a:path>
            </a:pathLst>
          </a:custGeom>
          <a:solidFill>
            <a:srgbClr val="EE810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29" name="Grafik 9" descr="Pfeil mit einer Linie: Kurve gegen den Uhrzeigersinn Silhouette">
            <a:extLst>
              <a:ext uri="{FF2B5EF4-FFF2-40B4-BE49-F238E27FC236}">
                <a16:creationId xmlns:a16="http://schemas.microsoft.com/office/drawing/2014/main" id="{62F7D193-9C69-2DAB-7E92-A06621BCAF96}"/>
              </a:ext>
            </a:extLst>
          </p:cNvPr>
          <p:cNvSpPr/>
          <p:nvPr/>
        </p:nvSpPr>
        <p:spPr>
          <a:xfrm rot="6373890" flipH="1">
            <a:off x="11118194" y="3208404"/>
            <a:ext cx="295733" cy="959027"/>
          </a:xfrm>
          <a:custGeom>
            <a:avLst/>
            <a:gdLst>
              <a:gd name="connsiteX0" fmla="*/ 221104 w 287171"/>
              <a:gd name="connsiteY0" fmla="*/ 9525 h 809224"/>
              <a:gd name="connsiteX1" fmla="*/ 211579 w 287171"/>
              <a:gd name="connsiteY1" fmla="*/ 0 h 809224"/>
              <a:gd name="connsiteX2" fmla="*/ 9525 w 287171"/>
              <a:gd name="connsiteY2" fmla="*/ 0 h 809224"/>
              <a:gd name="connsiteX3" fmla="*/ 0 w 287171"/>
              <a:gd name="connsiteY3" fmla="*/ 9525 h 809224"/>
              <a:gd name="connsiteX4" fmla="*/ 0 w 287171"/>
              <a:gd name="connsiteY4" fmla="*/ 211588 h 809224"/>
              <a:gd name="connsiteX5" fmla="*/ 9525 w 287171"/>
              <a:gd name="connsiteY5" fmla="*/ 221113 h 809224"/>
              <a:gd name="connsiteX6" fmla="*/ 19050 w 287171"/>
              <a:gd name="connsiteY6" fmla="*/ 211588 h 809224"/>
              <a:gd name="connsiteX7" fmla="*/ 19050 w 287171"/>
              <a:gd name="connsiteY7" fmla="*/ 35014 h 809224"/>
              <a:gd name="connsiteX8" fmla="*/ 19145 w 287171"/>
              <a:gd name="connsiteY8" fmla="*/ 34919 h 809224"/>
              <a:gd name="connsiteX9" fmla="*/ 19202 w 287171"/>
              <a:gd name="connsiteY9" fmla="*/ 34938 h 809224"/>
              <a:gd name="connsiteX10" fmla="*/ 268091 w 287171"/>
              <a:gd name="connsiteY10" fmla="*/ 514340 h 809224"/>
              <a:gd name="connsiteX11" fmla="*/ 211674 w 287171"/>
              <a:gd name="connsiteY11" fmla="*/ 796042 h 809224"/>
              <a:gd name="connsiteX12" fmla="*/ 216808 w 287171"/>
              <a:gd name="connsiteY12" fmla="*/ 808492 h 809224"/>
              <a:gd name="connsiteX13" fmla="*/ 220466 w 287171"/>
              <a:gd name="connsiteY13" fmla="*/ 809225 h 809224"/>
              <a:gd name="connsiteX14" fmla="*/ 229257 w 287171"/>
              <a:gd name="connsiteY14" fmla="*/ 803358 h 809224"/>
              <a:gd name="connsiteX15" fmla="*/ 287141 w 287171"/>
              <a:gd name="connsiteY15" fmla="*/ 514512 h 809224"/>
              <a:gd name="connsiteX16" fmla="*/ 29966 w 287171"/>
              <a:gd name="connsiteY16" fmla="*/ 19212 h 809224"/>
              <a:gd name="connsiteX17" fmla="*/ 29946 w 287171"/>
              <a:gd name="connsiteY17" fmla="*/ 19079 h 809224"/>
              <a:gd name="connsiteX18" fmla="*/ 30013 w 287171"/>
              <a:gd name="connsiteY18" fmla="*/ 19040 h 809224"/>
              <a:gd name="connsiteX19" fmla="*/ 211579 w 287171"/>
              <a:gd name="connsiteY19" fmla="*/ 19040 h 809224"/>
              <a:gd name="connsiteX20" fmla="*/ 221104 w 287171"/>
              <a:gd name="connsiteY20" fmla="*/ 9525 h 809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171" h="809224">
                <a:moveTo>
                  <a:pt x="221104" y="9525"/>
                </a:moveTo>
                <a:cubicBezTo>
                  <a:pt x="221104" y="4265"/>
                  <a:pt x="216839" y="0"/>
                  <a:pt x="211579" y="0"/>
                </a:cubicBezTo>
                <a:lnTo>
                  <a:pt x="9525" y="0"/>
                </a:lnTo>
                <a:cubicBezTo>
                  <a:pt x="4264" y="0"/>
                  <a:pt x="0" y="4265"/>
                  <a:pt x="0" y="9525"/>
                </a:cubicBezTo>
                <a:lnTo>
                  <a:pt x="0" y="211588"/>
                </a:lnTo>
                <a:cubicBezTo>
                  <a:pt x="0" y="216849"/>
                  <a:pt x="4264" y="221113"/>
                  <a:pt x="9525" y="221113"/>
                </a:cubicBezTo>
                <a:cubicBezTo>
                  <a:pt x="14786" y="221113"/>
                  <a:pt x="19050" y="216849"/>
                  <a:pt x="19050" y="211588"/>
                </a:cubicBezTo>
                <a:lnTo>
                  <a:pt x="19050" y="35014"/>
                </a:lnTo>
                <a:cubicBezTo>
                  <a:pt x="19050" y="34961"/>
                  <a:pt x="19093" y="34919"/>
                  <a:pt x="19145" y="34919"/>
                </a:cubicBezTo>
                <a:cubicBezTo>
                  <a:pt x="19166" y="34919"/>
                  <a:pt x="19186" y="34925"/>
                  <a:pt x="19202" y="34938"/>
                </a:cubicBezTo>
                <a:cubicBezTo>
                  <a:pt x="227095" y="182423"/>
                  <a:pt x="269424" y="376790"/>
                  <a:pt x="268091" y="514340"/>
                </a:cubicBezTo>
                <a:cubicBezTo>
                  <a:pt x="267771" y="611015"/>
                  <a:pt x="248607" y="706700"/>
                  <a:pt x="211674" y="796042"/>
                </a:cubicBezTo>
                <a:cubicBezTo>
                  <a:pt x="209656" y="800898"/>
                  <a:pt x="211954" y="806470"/>
                  <a:pt x="216808" y="808492"/>
                </a:cubicBezTo>
                <a:cubicBezTo>
                  <a:pt x="217965" y="808979"/>
                  <a:pt x="219209" y="809228"/>
                  <a:pt x="220466" y="809225"/>
                </a:cubicBezTo>
                <a:cubicBezTo>
                  <a:pt x="224312" y="809224"/>
                  <a:pt x="227780" y="806909"/>
                  <a:pt x="229257" y="803358"/>
                </a:cubicBezTo>
                <a:cubicBezTo>
                  <a:pt x="267140" y="711753"/>
                  <a:pt x="286801" y="613641"/>
                  <a:pt x="287141" y="514512"/>
                </a:cubicBezTo>
                <a:cubicBezTo>
                  <a:pt x="288522" y="372351"/>
                  <a:pt x="244802" y="171479"/>
                  <a:pt x="29966" y="19212"/>
                </a:cubicBezTo>
                <a:cubicBezTo>
                  <a:pt x="29924" y="19181"/>
                  <a:pt x="29914" y="19121"/>
                  <a:pt x="29946" y="19079"/>
                </a:cubicBezTo>
                <a:cubicBezTo>
                  <a:pt x="29962" y="19057"/>
                  <a:pt x="29987" y="19043"/>
                  <a:pt x="30013" y="19040"/>
                </a:cubicBezTo>
                <a:lnTo>
                  <a:pt x="211579" y="19040"/>
                </a:lnTo>
                <a:cubicBezTo>
                  <a:pt x="216836" y="19040"/>
                  <a:pt x="221098" y="14782"/>
                  <a:pt x="221104" y="9525"/>
                </a:cubicBezTo>
                <a:close/>
              </a:path>
            </a:pathLst>
          </a:custGeom>
          <a:solidFill>
            <a:srgbClr val="EE810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0" name="Grafik 9" descr="Pfeil mit einer Linie: Kurve gegen den Uhrzeigersinn Silhouette">
            <a:extLst>
              <a:ext uri="{FF2B5EF4-FFF2-40B4-BE49-F238E27FC236}">
                <a16:creationId xmlns:a16="http://schemas.microsoft.com/office/drawing/2014/main" id="{47B29F4A-0025-9F72-2868-972464A0CBA0}"/>
              </a:ext>
            </a:extLst>
          </p:cNvPr>
          <p:cNvSpPr/>
          <p:nvPr/>
        </p:nvSpPr>
        <p:spPr>
          <a:xfrm rot="6373890" flipV="1">
            <a:off x="10130620" y="3846181"/>
            <a:ext cx="295733" cy="959027"/>
          </a:xfrm>
          <a:custGeom>
            <a:avLst/>
            <a:gdLst>
              <a:gd name="connsiteX0" fmla="*/ 221104 w 287171"/>
              <a:gd name="connsiteY0" fmla="*/ 9525 h 809224"/>
              <a:gd name="connsiteX1" fmla="*/ 211579 w 287171"/>
              <a:gd name="connsiteY1" fmla="*/ 0 h 809224"/>
              <a:gd name="connsiteX2" fmla="*/ 9525 w 287171"/>
              <a:gd name="connsiteY2" fmla="*/ 0 h 809224"/>
              <a:gd name="connsiteX3" fmla="*/ 0 w 287171"/>
              <a:gd name="connsiteY3" fmla="*/ 9525 h 809224"/>
              <a:gd name="connsiteX4" fmla="*/ 0 w 287171"/>
              <a:gd name="connsiteY4" fmla="*/ 211588 h 809224"/>
              <a:gd name="connsiteX5" fmla="*/ 9525 w 287171"/>
              <a:gd name="connsiteY5" fmla="*/ 221113 h 809224"/>
              <a:gd name="connsiteX6" fmla="*/ 19050 w 287171"/>
              <a:gd name="connsiteY6" fmla="*/ 211588 h 809224"/>
              <a:gd name="connsiteX7" fmla="*/ 19050 w 287171"/>
              <a:gd name="connsiteY7" fmla="*/ 35014 h 809224"/>
              <a:gd name="connsiteX8" fmla="*/ 19145 w 287171"/>
              <a:gd name="connsiteY8" fmla="*/ 34919 h 809224"/>
              <a:gd name="connsiteX9" fmla="*/ 19202 w 287171"/>
              <a:gd name="connsiteY9" fmla="*/ 34938 h 809224"/>
              <a:gd name="connsiteX10" fmla="*/ 268091 w 287171"/>
              <a:gd name="connsiteY10" fmla="*/ 514340 h 809224"/>
              <a:gd name="connsiteX11" fmla="*/ 211674 w 287171"/>
              <a:gd name="connsiteY11" fmla="*/ 796042 h 809224"/>
              <a:gd name="connsiteX12" fmla="*/ 216808 w 287171"/>
              <a:gd name="connsiteY12" fmla="*/ 808492 h 809224"/>
              <a:gd name="connsiteX13" fmla="*/ 220466 w 287171"/>
              <a:gd name="connsiteY13" fmla="*/ 809225 h 809224"/>
              <a:gd name="connsiteX14" fmla="*/ 229257 w 287171"/>
              <a:gd name="connsiteY14" fmla="*/ 803358 h 809224"/>
              <a:gd name="connsiteX15" fmla="*/ 287141 w 287171"/>
              <a:gd name="connsiteY15" fmla="*/ 514512 h 809224"/>
              <a:gd name="connsiteX16" fmla="*/ 29966 w 287171"/>
              <a:gd name="connsiteY16" fmla="*/ 19212 h 809224"/>
              <a:gd name="connsiteX17" fmla="*/ 29946 w 287171"/>
              <a:gd name="connsiteY17" fmla="*/ 19079 h 809224"/>
              <a:gd name="connsiteX18" fmla="*/ 30013 w 287171"/>
              <a:gd name="connsiteY18" fmla="*/ 19040 h 809224"/>
              <a:gd name="connsiteX19" fmla="*/ 211579 w 287171"/>
              <a:gd name="connsiteY19" fmla="*/ 19040 h 809224"/>
              <a:gd name="connsiteX20" fmla="*/ 221104 w 287171"/>
              <a:gd name="connsiteY20" fmla="*/ 9525 h 809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171" h="809224">
                <a:moveTo>
                  <a:pt x="221104" y="9525"/>
                </a:moveTo>
                <a:cubicBezTo>
                  <a:pt x="221104" y="4265"/>
                  <a:pt x="216839" y="0"/>
                  <a:pt x="211579" y="0"/>
                </a:cubicBezTo>
                <a:lnTo>
                  <a:pt x="9525" y="0"/>
                </a:lnTo>
                <a:cubicBezTo>
                  <a:pt x="4264" y="0"/>
                  <a:pt x="0" y="4265"/>
                  <a:pt x="0" y="9525"/>
                </a:cubicBezTo>
                <a:lnTo>
                  <a:pt x="0" y="211588"/>
                </a:lnTo>
                <a:cubicBezTo>
                  <a:pt x="0" y="216849"/>
                  <a:pt x="4264" y="221113"/>
                  <a:pt x="9525" y="221113"/>
                </a:cubicBezTo>
                <a:cubicBezTo>
                  <a:pt x="14786" y="221113"/>
                  <a:pt x="19050" y="216849"/>
                  <a:pt x="19050" y="211588"/>
                </a:cubicBezTo>
                <a:lnTo>
                  <a:pt x="19050" y="35014"/>
                </a:lnTo>
                <a:cubicBezTo>
                  <a:pt x="19050" y="34961"/>
                  <a:pt x="19093" y="34919"/>
                  <a:pt x="19145" y="34919"/>
                </a:cubicBezTo>
                <a:cubicBezTo>
                  <a:pt x="19166" y="34919"/>
                  <a:pt x="19186" y="34925"/>
                  <a:pt x="19202" y="34938"/>
                </a:cubicBezTo>
                <a:cubicBezTo>
                  <a:pt x="227095" y="182423"/>
                  <a:pt x="269424" y="376790"/>
                  <a:pt x="268091" y="514340"/>
                </a:cubicBezTo>
                <a:cubicBezTo>
                  <a:pt x="267771" y="611015"/>
                  <a:pt x="248607" y="706700"/>
                  <a:pt x="211674" y="796042"/>
                </a:cubicBezTo>
                <a:cubicBezTo>
                  <a:pt x="209656" y="800898"/>
                  <a:pt x="211954" y="806470"/>
                  <a:pt x="216808" y="808492"/>
                </a:cubicBezTo>
                <a:cubicBezTo>
                  <a:pt x="217965" y="808979"/>
                  <a:pt x="219209" y="809228"/>
                  <a:pt x="220466" y="809225"/>
                </a:cubicBezTo>
                <a:cubicBezTo>
                  <a:pt x="224312" y="809224"/>
                  <a:pt x="227780" y="806909"/>
                  <a:pt x="229257" y="803358"/>
                </a:cubicBezTo>
                <a:cubicBezTo>
                  <a:pt x="267140" y="711753"/>
                  <a:pt x="286801" y="613641"/>
                  <a:pt x="287141" y="514512"/>
                </a:cubicBezTo>
                <a:cubicBezTo>
                  <a:pt x="288522" y="372351"/>
                  <a:pt x="244802" y="171479"/>
                  <a:pt x="29966" y="19212"/>
                </a:cubicBezTo>
                <a:cubicBezTo>
                  <a:pt x="29924" y="19181"/>
                  <a:pt x="29914" y="19121"/>
                  <a:pt x="29946" y="19079"/>
                </a:cubicBezTo>
                <a:cubicBezTo>
                  <a:pt x="29962" y="19057"/>
                  <a:pt x="29987" y="19043"/>
                  <a:pt x="30013" y="19040"/>
                </a:cubicBezTo>
                <a:lnTo>
                  <a:pt x="211579" y="19040"/>
                </a:lnTo>
                <a:cubicBezTo>
                  <a:pt x="216836" y="19040"/>
                  <a:pt x="221098" y="14782"/>
                  <a:pt x="221104" y="9525"/>
                </a:cubicBezTo>
                <a:close/>
              </a:path>
            </a:pathLst>
          </a:custGeom>
          <a:solidFill>
            <a:srgbClr val="EE810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1" name="Grafik 9" descr="Pfeil mit einer Linie: Kurve gegen den Uhrzeigersinn Silhouette">
            <a:extLst>
              <a:ext uri="{FF2B5EF4-FFF2-40B4-BE49-F238E27FC236}">
                <a16:creationId xmlns:a16="http://schemas.microsoft.com/office/drawing/2014/main" id="{AE044289-68BE-40D7-3152-A5E6FAC5C082}"/>
              </a:ext>
            </a:extLst>
          </p:cNvPr>
          <p:cNvSpPr/>
          <p:nvPr/>
        </p:nvSpPr>
        <p:spPr>
          <a:xfrm rot="15226110" flipH="1" flipV="1">
            <a:off x="11090880" y="3846179"/>
            <a:ext cx="295733" cy="959027"/>
          </a:xfrm>
          <a:custGeom>
            <a:avLst/>
            <a:gdLst>
              <a:gd name="connsiteX0" fmla="*/ 221104 w 287171"/>
              <a:gd name="connsiteY0" fmla="*/ 9525 h 809224"/>
              <a:gd name="connsiteX1" fmla="*/ 211579 w 287171"/>
              <a:gd name="connsiteY1" fmla="*/ 0 h 809224"/>
              <a:gd name="connsiteX2" fmla="*/ 9525 w 287171"/>
              <a:gd name="connsiteY2" fmla="*/ 0 h 809224"/>
              <a:gd name="connsiteX3" fmla="*/ 0 w 287171"/>
              <a:gd name="connsiteY3" fmla="*/ 9525 h 809224"/>
              <a:gd name="connsiteX4" fmla="*/ 0 w 287171"/>
              <a:gd name="connsiteY4" fmla="*/ 211588 h 809224"/>
              <a:gd name="connsiteX5" fmla="*/ 9525 w 287171"/>
              <a:gd name="connsiteY5" fmla="*/ 221113 h 809224"/>
              <a:gd name="connsiteX6" fmla="*/ 19050 w 287171"/>
              <a:gd name="connsiteY6" fmla="*/ 211588 h 809224"/>
              <a:gd name="connsiteX7" fmla="*/ 19050 w 287171"/>
              <a:gd name="connsiteY7" fmla="*/ 35014 h 809224"/>
              <a:gd name="connsiteX8" fmla="*/ 19145 w 287171"/>
              <a:gd name="connsiteY8" fmla="*/ 34919 h 809224"/>
              <a:gd name="connsiteX9" fmla="*/ 19202 w 287171"/>
              <a:gd name="connsiteY9" fmla="*/ 34938 h 809224"/>
              <a:gd name="connsiteX10" fmla="*/ 268091 w 287171"/>
              <a:gd name="connsiteY10" fmla="*/ 514340 h 809224"/>
              <a:gd name="connsiteX11" fmla="*/ 211674 w 287171"/>
              <a:gd name="connsiteY11" fmla="*/ 796042 h 809224"/>
              <a:gd name="connsiteX12" fmla="*/ 216808 w 287171"/>
              <a:gd name="connsiteY12" fmla="*/ 808492 h 809224"/>
              <a:gd name="connsiteX13" fmla="*/ 220466 w 287171"/>
              <a:gd name="connsiteY13" fmla="*/ 809225 h 809224"/>
              <a:gd name="connsiteX14" fmla="*/ 229257 w 287171"/>
              <a:gd name="connsiteY14" fmla="*/ 803358 h 809224"/>
              <a:gd name="connsiteX15" fmla="*/ 287141 w 287171"/>
              <a:gd name="connsiteY15" fmla="*/ 514512 h 809224"/>
              <a:gd name="connsiteX16" fmla="*/ 29966 w 287171"/>
              <a:gd name="connsiteY16" fmla="*/ 19212 h 809224"/>
              <a:gd name="connsiteX17" fmla="*/ 29946 w 287171"/>
              <a:gd name="connsiteY17" fmla="*/ 19079 h 809224"/>
              <a:gd name="connsiteX18" fmla="*/ 30013 w 287171"/>
              <a:gd name="connsiteY18" fmla="*/ 19040 h 809224"/>
              <a:gd name="connsiteX19" fmla="*/ 211579 w 287171"/>
              <a:gd name="connsiteY19" fmla="*/ 19040 h 809224"/>
              <a:gd name="connsiteX20" fmla="*/ 221104 w 287171"/>
              <a:gd name="connsiteY20" fmla="*/ 9525 h 809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171" h="809224">
                <a:moveTo>
                  <a:pt x="221104" y="9525"/>
                </a:moveTo>
                <a:cubicBezTo>
                  <a:pt x="221104" y="4265"/>
                  <a:pt x="216839" y="0"/>
                  <a:pt x="211579" y="0"/>
                </a:cubicBezTo>
                <a:lnTo>
                  <a:pt x="9525" y="0"/>
                </a:lnTo>
                <a:cubicBezTo>
                  <a:pt x="4264" y="0"/>
                  <a:pt x="0" y="4265"/>
                  <a:pt x="0" y="9525"/>
                </a:cubicBezTo>
                <a:lnTo>
                  <a:pt x="0" y="211588"/>
                </a:lnTo>
                <a:cubicBezTo>
                  <a:pt x="0" y="216849"/>
                  <a:pt x="4264" y="221113"/>
                  <a:pt x="9525" y="221113"/>
                </a:cubicBezTo>
                <a:cubicBezTo>
                  <a:pt x="14786" y="221113"/>
                  <a:pt x="19050" y="216849"/>
                  <a:pt x="19050" y="211588"/>
                </a:cubicBezTo>
                <a:lnTo>
                  <a:pt x="19050" y="35014"/>
                </a:lnTo>
                <a:cubicBezTo>
                  <a:pt x="19050" y="34961"/>
                  <a:pt x="19093" y="34919"/>
                  <a:pt x="19145" y="34919"/>
                </a:cubicBezTo>
                <a:cubicBezTo>
                  <a:pt x="19166" y="34919"/>
                  <a:pt x="19186" y="34925"/>
                  <a:pt x="19202" y="34938"/>
                </a:cubicBezTo>
                <a:cubicBezTo>
                  <a:pt x="227095" y="182423"/>
                  <a:pt x="269424" y="376790"/>
                  <a:pt x="268091" y="514340"/>
                </a:cubicBezTo>
                <a:cubicBezTo>
                  <a:pt x="267771" y="611015"/>
                  <a:pt x="248607" y="706700"/>
                  <a:pt x="211674" y="796042"/>
                </a:cubicBezTo>
                <a:cubicBezTo>
                  <a:pt x="209656" y="800898"/>
                  <a:pt x="211954" y="806470"/>
                  <a:pt x="216808" y="808492"/>
                </a:cubicBezTo>
                <a:cubicBezTo>
                  <a:pt x="217965" y="808979"/>
                  <a:pt x="219209" y="809228"/>
                  <a:pt x="220466" y="809225"/>
                </a:cubicBezTo>
                <a:cubicBezTo>
                  <a:pt x="224312" y="809224"/>
                  <a:pt x="227780" y="806909"/>
                  <a:pt x="229257" y="803358"/>
                </a:cubicBezTo>
                <a:cubicBezTo>
                  <a:pt x="267140" y="711753"/>
                  <a:pt x="286801" y="613641"/>
                  <a:pt x="287141" y="514512"/>
                </a:cubicBezTo>
                <a:cubicBezTo>
                  <a:pt x="288522" y="372351"/>
                  <a:pt x="244802" y="171479"/>
                  <a:pt x="29966" y="19212"/>
                </a:cubicBezTo>
                <a:cubicBezTo>
                  <a:pt x="29924" y="19181"/>
                  <a:pt x="29914" y="19121"/>
                  <a:pt x="29946" y="19079"/>
                </a:cubicBezTo>
                <a:cubicBezTo>
                  <a:pt x="29962" y="19057"/>
                  <a:pt x="29987" y="19043"/>
                  <a:pt x="30013" y="19040"/>
                </a:cubicBezTo>
                <a:lnTo>
                  <a:pt x="211579" y="19040"/>
                </a:lnTo>
                <a:cubicBezTo>
                  <a:pt x="216836" y="19040"/>
                  <a:pt x="221098" y="14782"/>
                  <a:pt x="221104" y="9525"/>
                </a:cubicBezTo>
                <a:close/>
              </a:path>
            </a:pathLst>
          </a:custGeom>
          <a:solidFill>
            <a:srgbClr val="EE810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7D56AF66-E3BF-782D-3375-4BF7FA610E33}"/>
              </a:ext>
            </a:extLst>
          </p:cNvPr>
          <p:cNvSpPr/>
          <p:nvPr/>
        </p:nvSpPr>
        <p:spPr>
          <a:xfrm>
            <a:off x="8815030" y="4645942"/>
            <a:ext cx="1265301" cy="558171"/>
          </a:xfrm>
          <a:prstGeom prst="rect">
            <a:avLst/>
          </a:prstGeom>
          <a:solidFill>
            <a:srgbClr val="519141">
              <a:alpha val="62000"/>
            </a:srgbClr>
          </a:solidFill>
          <a:ln>
            <a:solidFill>
              <a:srgbClr val="5191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err="1"/>
              <a:t>Textbox</a:t>
            </a:r>
            <a:endParaRPr lang="de-DE" sz="1800" dirty="0"/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806453AF-566A-D19E-5989-94EFE071AA3A}"/>
              </a:ext>
            </a:extLst>
          </p:cNvPr>
          <p:cNvSpPr txBox="1"/>
          <p:nvPr/>
        </p:nvSpPr>
        <p:spPr>
          <a:xfrm>
            <a:off x="6252483" y="2035833"/>
            <a:ext cx="307777" cy="2252442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pPr algn="ctr"/>
            <a:r>
              <a:rPr lang="de-DE" sz="800" dirty="0">
                <a:solidFill>
                  <a:srgbClr val="5B6469"/>
                </a:solidFill>
                <a:latin typeface="Museo 100" panose="02000000000000000000" pitchFamily="50" charset="0"/>
              </a:rPr>
              <a:t>Quelle: …………………………………………………………</a:t>
            </a:r>
            <a:r>
              <a:rPr lang="de-DE" sz="800" dirty="0">
                <a:solidFill>
                  <a:schemeClr val="bg1">
                    <a:lumMod val="50000"/>
                  </a:schemeClr>
                </a:solidFill>
                <a:latin typeface="Museo 100" panose="02000000000000000000" pitchFamily="50" charset="0"/>
              </a:rPr>
              <a:t>,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6B1C3ADF-02C1-7E00-D6A6-B2E114F46DAC}"/>
              </a:ext>
            </a:extLst>
          </p:cNvPr>
          <p:cNvSpPr txBox="1"/>
          <p:nvPr/>
        </p:nvSpPr>
        <p:spPr>
          <a:xfrm>
            <a:off x="5999430" y="1126424"/>
            <a:ext cx="61925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>
                <a:solidFill>
                  <a:srgbClr val="FF0000"/>
                </a:solidFill>
              </a:rPr>
              <a:t>AUSBLENDEN ODER LÖSCHEN!</a:t>
            </a:r>
          </a:p>
        </p:txBody>
      </p:sp>
    </p:spTree>
    <p:extLst>
      <p:ext uri="{BB962C8B-B14F-4D97-AF65-F5344CB8AC3E}">
        <p14:creationId xmlns:p14="http://schemas.microsoft.com/office/powerpoint/2010/main" val="24920159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34BAE1-5250-C3A2-2CF6-C5A7A6EF4A5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70D946-A21C-2192-902E-D21FA089D0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Entwicklung Strommarkt – 2024 vs. 2017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255FA25-EB0B-D67B-68C7-43908C17A8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9484" y="889612"/>
            <a:ext cx="10610466" cy="5968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8496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EE-Grafiken zur Sektorenkopplung - Agentur für Erneuerbare Energien">
            <a:extLst>
              <a:ext uri="{FF2B5EF4-FFF2-40B4-BE49-F238E27FC236}">
                <a16:creationId xmlns:a16="http://schemas.microsoft.com/office/drawing/2014/main" id="{A60B4F19-25A4-C9D7-0C18-54CF76853B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9797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20910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C37C65B-646A-44AC-37B0-41F664F849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 descr="Ein Bild, das Maßstabsmodell enthält.&#10;&#10;Automatisch generierte Beschreibung">
            <a:extLst>
              <a:ext uri="{FF2B5EF4-FFF2-40B4-BE49-F238E27FC236}">
                <a16:creationId xmlns:a16="http://schemas.microsoft.com/office/drawing/2014/main" id="{A98C5A82-E743-66A1-04B0-C186182334D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70" b="13896"/>
          <a:stretch/>
        </p:blipFill>
        <p:spPr>
          <a:xfrm>
            <a:off x="-1" y="0"/>
            <a:ext cx="12412301" cy="6858000"/>
          </a:xfrm>
          <a:prstGeom prst="rect">
            <a:avLst/>
          </a:prstGeom>
        </p:spPr>
      </p:pic>
      <p:pic>
        <p:nvPicPr>
          <p:cNvPr id="3" name="Grafik 2" descr="Ein Bild, das Schrift, Grafiken, Grafikdesign, Logo enthält.&#10;&#10;Automatisch generierte Beschreibung">
            <a:extLst>
              <a:ext uri="{FF2B5EF4-FFF2-40B4-BE49-F238E27FC236}">
                <a16:creationId xmlns:a16="http://schemas.microsoft.com/office/drawing/2014/main" id="{24042AB2-EC47-86EB-E4F0-BFE63DCB6D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1544" y="234272"/>
            <a:ext cx="2506894" cy="701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1694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4">
            <a:extLst>
              <a:ext uri="{FF2B5EF4-FFF2-40B4-BE49-F238E27FC236}">
                <a16:creationId xmlns:a16="http://schemas.microsoft.com/office/drawing/2014/main" id="{3ED519F4-1909-EC40-9727-2E0F4E052B0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7" t="179" r="24269" b="-179"/>
          <a:stretch/>
        </p:blipFill>
        <p:spPr>
          <a:xfrm>
            <a:off x="0" y="10"/>
            <a:ext cx="7846142" cy="685799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5046C441-2433-466E-B4AE-E5BAF01F7ABC}"/>
              </a:ext>
            </a:extLst>
          </p:cNvPr>
          <p:cNvSpPr/>
          <p:nvPr/>
        </p:nvSpPr>
        <p:spPr>
          <a:xfrm>
            <a:off x="7376369" y="6135325"/>
            <a:ext cx="4118945" cy="4817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Inhaltsplatzhalter 4" descr="Ein Bild, das draußen, Himmel, Baum, Gebäude enthält.&#10;&#10;Automatisch generierte Beschreibung">
            <a:extLst>
              <a:ext uri="{FF2B5EF4-FFF2-40B4-BE49-F238E27FC236}">
                <a16:creationId xmlns:a16="http://schemas.microsoft.com/office/drawing/2014/main" id="{1DB8966E-3B87-7028-F210-13F4E7B299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4" r="7051"/>
          <a:stretch/>
        </p:blipFill>
        <p:spPr>
          <a:xfrm>
            <a:off x="-13689" y="0"/>
            <a:ext cx="7846142" cy="6857990"/>
          </a:xfrm>
          <a:prstGeom prst="rect">
            <a:avLst/>
          </a:prstGeom>
        </p:spPr>
      </p:pic>
      <p:sp>
        <p:nvSpPr>
          <p:cNvPr id="7" name="Titel 1">
            <a:extLst>
              <a:ext uri="{FF2B5EF4-FFF2-40B4-BE49-F238E27FC236}">
                <a16:creationId xmlns:a16="http://schemas.microsoft.com/office/drawing/2014/main" id="{FCDCC7B9-82D1-B82E-0264-8DFC9F02AD8A}"/>
              </a:ext>
            </a:extLst>
          </p:cNvPr>
          <p:cNvSpPr txBox="1">
            <a:spLocks/>
          </p:cNvSpPr>
          <p:nvPr/>
        </p:nvSpPr>
        <p:spPr>
          <a:xfrm>
            <a:off x="8247226" y="1193793"/>
            <a:ext cx="3700701" cy="1948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dirty="0" err="1"/>
              <a:t>Referenzen</a:t>
            </a:r>
            <a:r>
              <a:rPr lang="en-US" sz="4400" dirty="0"/>
              <a:t> </a:t>
            </a:r>
            <a:r>
              <a:rPr lang="en-US" dirty="0">
                <a:latin typeface="Museo 100" panose="02000000000000000000" pitchFamily="50" charset="0"/>
              </a:rPr>
              <a:t>Hof Niemann</a:t>
            </a:r>
          </a:p>
          <a:p>
            <a:r>
              <a:rPr lang="en-US" dirty="0">
                <a:latin typeface="Museo 100" panose="02000000000000000000" pitchFamily="50" charset="0"/>
              </a:rPr>
              <a:t>(Bocholt)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F671EFC1-3718-A9DC-1955-B7456E75C4A0}"/>
              </a:ext>
            </a:extLst>
          </p:cNvPr>
          <p:cNvGraphicFramePr>
            <a:graphicFrameLocks noGrp="1"/>
          </p:cNvGraphicFramePr>
          <p:nvPr/>
        </p:nvGraphicFramePr>
        <p:xfrm>
          <a:off x="8325994" y="2985180"/>
          <a:ext cx="3700701" cy="304832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3475">
                  <a:extLst>
                    <a:ext uri="{9D8B030D-6E8A-4147-A177-3AD203B41FA5}">
                      <a16:colId xmlns:a16="http://schemas.microsoft.com/office/drawing/2014/main" val="221558894"/>
                    </a:ext>
                  </a:extLst>
                </a:gridCol>
                <a:gridCol w="1787226">
                  <a:extLst>
                    <a:ext uri="{9D8B030D-6E8A-4147-A177-3AD203B41FA5}">
                      <a16:colId xmlns:a16="http://schemas.microsoft.com/office/drawing/2014/main" val="1133885674"/>
                    </a:ext>
                  </a:extLst>
                </a:gridCol>
              </a:tblGrid>
              <a:tr h="371166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20000"/>
                        </a:lnSpc>
                        <a:spcBef>
                          <a:spcPts val="1000"/>
                        </a:spcBef>
                      </a:pPr>
                      <a:r>
                        <a:rPr lang="en-US" sz="1600" b="0" kern="1200" dirty="0" err="1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Leistung</a:t>
                      </a:r>
                      <a:r>
                        <a:rPr lang="en-US" sz="1600" b="0" kern="1200" dirty="0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 (el.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450 kW</a:t>
                      </a:r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4680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Inbetriebnahme</a:t>
                      </a:r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 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105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Wärme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1.00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2073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Gas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.06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034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Flex-</a:t>
                      </a: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Fakto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4,3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7835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Invest 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943.423 €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6086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600" kern="1200" dirty="0">
                        <a:solidFill>
                          <a:srgbClr val="5090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600" kern="1200" dirty="0">
                          <a:solidFill>
                            <a:srgbClr val="509041"/>
                          </a:solidFill>
                          <a:latin typeface="+mn-lt"/>
                          <a:ea typeface="+mn-ea"/>
                          <a:cs typeface="+mn-cs"/>
                        </a:rPr>
                        <a:t>Besonderheiten</a:t>
                      </a:r>
                    </a:p>
                    <a:p>
                      <a:pPr algn="l"/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10 kV Generator</a:t>
                      </a:r>
                    </a:p>
                    <a:p>
                      <a:pPr algn="l"/>
                      <a:r>
                        <a:rPr lang="de-DE" sz="1600" dirty="0"/>
                        <a:t>Externer Gasspeiche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25000294"/>
                  </a:ext>
                </a:extLst>
              </a:tr>
            </a:tbl>
          </a:graphicData>
        </a:graphic>
      </p:graphicFrame>
      <p:pic>
        <p:nvPicPr>
          <p:cNvPr id="9" name="Grafik 8" descr="Ein Bild, das Gras, draußen, Baum, Pflanze enthält.&#10;&#10;KI-generierte Inhalte können fehlerhaft sein.">
            <a:extLst>
              <a:ext uri="{FF2B5EF4-FFF2-40B4-BE49-F238E27FC236}">
                <a16:creationId xmlns:a16="http://schemas.microsoft.com/office/drawing/2014/main" id="{F5521EB7-D6FC-A15D-85D3-3202339E46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5" t="6320" r="8599" b="15546"/>
          <a:stretch/>
        </p:blipFill>
        <p:spPr>
          <a:xfrm>
            <a:off x="-78768" y="0"/>
            <a:ext cx="7911221" cy="6857990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CE3CEA7-921B-C5F0-E825-3B078DBE3D71}"/>
              </a:ext>
            </a:extLst>
          </p:cNvPr>
          <p:cNvSpPr/>
          <p:nvPr/>
        </p:nvSpPr>
        <p:spPr>
          <a:xfrm>
            <a:off x="-13689" y="-20"/>
            <a:ext cx="7924910" cy="6858010"/>
          </a:xfrm>
          <a:prstGeom prst="rect">
            <a:avLst/>
          </a:prstGeom>
          <a:gradFill>
            <a:gsLst>
              <a:gs pos="81000">
                <a:schemeClr val="accent1">
                  <a:tint val="44500"/>
                  <a:satMod val="160000"/>
                  <a:alpha val="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36901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>
            <a:extLst>
              <a:ext uri="{FF2B5EF4-FFF2-40B4-BE49-F238E27FC236}">
                <a16:creationId xmlns:a16="http://schemas.microsoft.com/office/drawing/2014/main" id="{768D30F0-02FF-E56F-290B-115B23545D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7" t="179" r="24269" b="-179"/>
          <a:stretch/>
        </p:blipFill>
        <p:spPr>
          <a:xfrm>
            <a:off x="0" y="10"/>
            <a:ext cx="7846142" cy="6857990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D38B4A20-F592-71C3-7997-27929C9128AA}"/>
              </a:ext>
            </a:extLst>
          </p:cNvPr>
          <p:cNvSpPr/>
          <p:nvPr/>
        </p:nvSpPr>
        <p:spPr>
          <a:xfrm>
            <a:off x="7376369" y="6135325"/>
            <a:ext cx="4118945" cy="4817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7" name="Inhaltsplatzhalter 4" descr="Ein Bild, das draußen, Himmel, Baum, Gebäude enthält.&#10;&#10;Automatisch generierte Beschreibung">
            <a:extLst>
              <a:ext uri="{FF2B5EF4-FFF2-40B4-BE49-F238E27FC236}">
                <a16:creationId xmlns:a16="http://schemas.microsoft.com/office/drawing/2014/main" id="{BA6D735B-9F75-1507-35DD-B4C2853F77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4" r="7051"/>
          <a:stretch/>
        </p:blipFill>
        <p:spPr>
          <a:xfrm>
            <a:off x="-13689" y="0"/>
            <a:ext cx="7846142" cy="6857990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C979CF0F-B06D-CA0E-C7E4-8C8D83B64498}"/>
              </a:ext>
            </a:extLst>
          </p:cNvPr>
          <p:cNvSpPr txBox="1">
            <a:spLocks/>
          </p:cNvSpPr>
          <p:nvPr/>
        </p:nvSpPr>
        <p:spPr>
          <a:xfrm>
            <a:off x="8247226" y="1193793"/>
            <a:ext cx="3700701" cy="1948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dirty="0" err="1"/>
              <a:t>Referenzen</a:t>
            </a:r>
            <a:r>
              <a:rPr lang="en-US" sz="4400" dirty="0"/>
              <a:t> </a:t>
            </a:r>
            <a:r>
              <a:rPr lang="en-US" dirty="0">
                <a:latin typeface="Museo 100" panose="02000000000000000000" pitchFamily="50" charset="0"/>
              </a:rPr>
              <a:t>Hof </a:t>
            </a:r>
            <a:r>
              <a:rPr lang="en-US" dirty="0" err="1">
                <a:latin typeface="Museo 100" panose="02000000000000000000" pitchFamily="50" charset="0"/>
              </a:rPr>
              <a:t>Wolbring</a:t>
            </a:r>
            <a:endParaRPr lang="en-US" dirty="0">
              <a:latin typeface="Museo 100" panose="02000000000000000000" pitchFamily="50" charset="0"/>
            </a:endParaRPr>
          </a:p>
          <a:p>
            <a:r>
              <a:rPr lang="en-US" dirty="0">
                <a:latin typeface="Museo 100" panose="02000000000000000000" pitchFamily="50" charset="0"/>
              </a:rPr>
              <a:t>(Bocholt)</a:t>
            </a: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8BEECDD5-DE5E-D8B3-FB79-7C82E0631EDE}"/>
              </a:ext>
            </a:extLst>
          </p:cNvPr>
          <p:cNvGraphicFramePr>
            <a:graphicFrameLocks noGrp="1"/>
          </p:cNvGraphicFramePr>
          <p:nvPr/>
        </p:nvGraphicFramePr>
        <p:xfrm>
          <a:off x="8325994" y="2985180"/>
          <a:ext cx="3700701" cy="32921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3475">
                  <a:extLst>
                    <a:ext uri="{9D8B030D-6E8A-4147-A177-3AD203B41FA5}">
                      <a16:colId xmlns:a16="http://schemas.microsoft.com/office/drawing/2014/main" val="221558894"/>
                    </a:ext>
                  </a:extLst>
                </a:gridCol>
                <a:gridCol w="1787226">
                  <a:extLst>
                    <a:ext uri="{9D8B030D-6E8A-4147-A177-3AD203B41FA5}">
                      <a16:colId xmlns:a16="http://schemas.microsoft.com/office/drawing/2014/main" val="1133885674"/>
                    </a:ext>
                  </a:extLst>
                </a:gridCol>
              </a:tblGrid>
              <a:tr h="371166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20000"/>
                        </a:lnSpc>
                        <a:spcBef>
                          <a:spcPts val="1000"/>
                        </a:spcBef>
                      </a:pPr>
                      <a:r>
                        <a:rPr lang="en-US" sz="1600" b="0" kern="1200" dirty="0" err="1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Leistung</a:t>
                      </a:r>
                      <a:r>
                        <a:rPr lang="en-US" sz="1600" b="0" kern="1200" dirty="0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 (el.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450 kW</a:t>
                      </a:r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4680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Inbetriebnahme</a:t>
                      </a:r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 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105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Wärme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1.00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2073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Gas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.70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034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Flex-</a:t>
                      </a: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Fakto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3,0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7835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Invest 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161.609 €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6086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e-DE" sz="1600" kern="1200" dirty="0">
                          <a:solidFill>
                            <a:srgbClr val="509041"/>
                          </a:solidFill>
                          <a:latin typeface="+mn-lt"/>
                          <a:ea typeface="+mn-ea"/>
                          <a:cs typeface="+mn-cs"/>
                        </a:rPr>
                        <a:t>Besonderheite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600" dirty="0"/>
                        <a:t>10 kV Generator</a:t>
                      </a:r>
                    </a:p>
                    <a:p>
                      <a:pPr algn="l"/>
                      <a:r>
                        <a:rPr lang="de-DE" sz="1600" dirty="0"/>
                        <a:t>Vollständige Wärmenutzung ab 202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9264480"/>
                  </a:ext>
                </a:extLst>
              </a:tr>
            </a:tbl>
          </a:graphicData>
        </a:graphic>
      </p:graphicFrame>
      <p:pic>
        <p:nvPicPr>
          <p:cNvPr id="10" name="Grafik 9" descr="Ein Bild, das Gras, draußen, Baum, Pflanze enthält.&#10;&#10;KI-generierte Inhalte können fehlerhaft sein.">
            <a:extLst>
              <a:ext uri="{FF2B5EF4-FFF2-40B4-BE49-F238E27FC236}">
                <a16:creationId xmlns:a16="http://schemas.microsoft.com/office/drawing/2014/main" id="{E9222BD9-7D64-4459-041C-5FECB57EB2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15" t="6320" r="8599" b="15546"/>
          <a:stretch/>
        </p:blipFill>
        <p:spPr>
          <a:xfrm>
            <a:off x="-78768" y="0"/>
            <a:ext cx="7911221" cy="6857990"/>
          </a:xfrm>
          <a:prstGeom prst="rect">
            <a:avLst/>
          </a:prstGeom>
        </p:spPr>
      </p:pic>
      <p:pic>
        <p:nvPicPr>
          <p:cNvPr id="11" name="Grafik 10" descr="Ein Bild, das Himmel, Gras, draußen, Planetarium enthält.&#10;&#10;KI-generierte Inhalte können fehlerhaft sein.">
            <a:extLst>
              <a:ext uri="{FF2B5EF4-FFF2-40B4-BE49-F238E27FC236}">
                <a16:creationId xmlns:a16="http://schemas.microsoft.com/office/drawing/2014/main" id="{2247BFB4-4205-1D86-6412-15A52FCA7C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28" r="6178"/>
          <a:stretch/>
        </p:blipFill>
        <p:spPr>
          <a:xfrm>
            <a:off x="-78769" y="-30"/>
            <a:ext cx="7989989" cy="6858000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D9170038-75B1-F081-F9A8-9B621ECE4DAC}"/>
              </a:ext>
            </a:extLst>
          </p:cNvPr>
          <p:cNvSpPr/>
          <p:nvPr/>
        </p:nvSpPr>
        <p:spPr>
          <a:xfrm>
            <a:off x="-13689" y="-20"/>
            <a:ext cx="7924910" cy="6858010"/>
          </a:xfrm>
          <a:prstGeom prst="rect">
            <a:avLst/>
          </a:prstGeom>
          <a:gradFill>
            <a:gsLst>
              <a:gs pos="81000">
                <a:schemeClr val="accent1">
                  <a:tint val="44500"/>
                  <a:satMod val="160000"/>
                  <a:alpha val="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06753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4">
            <a:extLst>
              <a:ext uri="{FF2B5EF4-FFF2-40B4-BE49-F238E27FC236}">
                <a16:creationId xmlns:a16="http://schemas.microsoft.com/office/drawing/2014/main" id="{388E706C-B5AD-8BAF-661A-99901CAE88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7" t="179" r="24269" b="-179"/>
          <a:stretch/>
        </p:blipFill>
        <p:spPr>
          <a:xfrm>
            <a:off x="0" y="10"/>
            <a:ext cx="7846142" cy="6932635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9D71CF74-E710-C3E7-9E94-651FB78A5350}"/>
              </a:ext>
            </a:extLst>
          </p:cNvPr>
          <p:cNvSpPr/>
          <p:nvPr/>
        </p:nvSpPr>
        <p:spPr>
          <a:xfrm>
            <a:off x="-6844" y="-1"/>
            <a:ext cx="7852986" cy="6932635"/>
          </a:xfrm>
          <a:prstGeom prst="rect">
            <a:avLst/>
          </a:prstGeom>
          <a:gradFill>
            <a:gsLst>
              <a:gs pos="82000">
                <a:schemeClr val="accent1">
                  <a:tint val="44500"/>
                  <a:satMod val="160000"/>
                  <a:alpha val="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94A174E-30CC-7072-C670-9BFF67CF14ED}"/>
              </a:ext>
            </a:extLst>
          </p:cNvPr>
          <p:cNvSpPr/>
          <p:nvPr/>
        </p:nvSpPr>
        <p:spPr>
          <a:xfrm>
            <a:off x="8247226" y="6263148"/>
            <a:ext cx="2932051" cy="3342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3EAE9D69-2650-446D-177E-D0F4F97A8ED9}"/>
              </a:ext>
            </a:extLst>
          </p:cNvPr>
          <p:cNvSpPr txBox="1">
            <a:spLocks/>
          </p:cNvSpPr>
          <p:nvPr/>
        </p:nvSpPr>
        <p:spPr>
          <a:xfrm>
            <a:off x="8247226" y="1184742"/>
            <a:ext cx="3700701" cy="231223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dirty="0" err="1"/>
              <a:t>Referenzen</a:t>
            </a:r>
            <a:r>
              <a:rPr lang="en-US" sz="4400" dirty="0"/>
              <a:t> </a:t>
            </a:r>
            <a:endParaRPr lang="en-US" sz="4400" dirty="0">
              <a:latin typeface="Museo 100" panose="02000000000000000000" pitchFamily="50" charset="0"/>
            </a:endParaRPr>
          </a:p>
          <a:p>
            <a:r>
              <a:rPr lang="en-US" dirty="0" err="1">
                <a:latin typeface="Museo 100" panose="02000000000000000000" pitchFamily="50" charset="0"/>
              </a:rPr>
              <a:t>Biohof</a:t>
            </a:r>
            <a:r>
              <a:rPr lang="en-US" dirty="0">
                <a:latin typeface="Museo 100" panose="02000000000000000000" pitchFamily="50" charset="0"/>
              </a:rPr>
              <a:t> </a:t>
            </a:r>
            <a:r>
              <a:rPr lang="en-US" dirty="0" err="1">
                <a:latin typeface="Museo 100" panose="02000000000000000000" pitchFamily="50" charset="0"/>
              </a:rPr>
              <a:t>Querdel</a:t>
            </a:r>
            <a:r>
              <a:rPr lang="en-US" dirty="0">
                <a:latin typeface="Museo 100" panose="02000000000000000000" pitchFamily="50" charset="0"/>
              </a:rPr>
              <a:t> </a:t>
            </a:r>
            <a:br>
              <a:rPr lang="en-US" dirty="0">
                <a:latin typeface="Museo 100" panose="02000000000000000000" pitchFamily="50" charset="0"/>
              </a:rPr>
            </a:br>
            <a:r>
              <a:rPr lang="en-US" dirty="0">
                <a:latin typeface="Museo 100" panose="02000000000000000000" pitchFamily="50" charset="0"/>
              </a:rPr>
              <a:t>(</a:t>
            </a:r>
            <a:r>
              <a:rPr lang="en-US" dirty="0" err="1">
                <a:latin typeface="Museo 100" panose="02000000000000000000" pitchFamily="50" charset="0"/>
              </a:rPr>
              <a:t>Sassenberg</a:t>
            </a:r>
            <a:r>
              <a:rPr lang="en-US" dirty="0">
                <a:latin typeface="Museo 100" panose="02000000000000000000" pitchFamily="50" charset="0"/>
              </a:rPr>
              <a:t>)</a:t>
            </a:r>
          </a:p>
        </p:txBody>
      </p:sp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CFA0FA54-D351-6BAC-36E8-6AFA80318ADF}"/>
              </a:ext>
            </a:extLst>
          </p:cNvPr>
          <p:cNvGraphicFramePr>
            <a:graphicFrameLocks noGrp="1"/>
          </p:cNvGraphicFramePr>
          <p:nvPr/>
        </p:nvGraphicFramePr>
        <p:xfrm>
          <a:off x="8325994" y="2985178"/>
          <a:ext cx="3866006" cy="288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59838">
                  <a:extLst>
                    <a:ext uri="{9D8B030D-6E8A-4147-A177-3AD203B41FA5}">
                      <a16:colId xmlns:a16="http://schemas.microsoft.com/office/drawing/2014/main" val="221558894"/>
                    </a:ext>
                  </a:extLst>
                </a:gridCol>
                <a:gridCol w="2106168">
                  <a:extLst>
                    <a:ext uri="{9D8B030D-6E8A-4147-A177-3AD203B41FA5}">
                      <a16:colId xmlns:a16="http://schemas.microsoft.com/office/drawing/2014/main" val="11338856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20000"/>
                        </a:lnSpc>
                        <a:spcBef>
                          <a:spcPts val="1000"/>
                        </a:spcBef>
                      </a:pPr>
                      <a:r>
                        <a:rPr lang="en-US" sz="1600" b="0" kern="1200" dirty="0" err="1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Leistung</a:t>
                      </a:r>
                      <a:r>
                        <a:rPr lang="en-US" sz="1600" b="0" kern="1200" dirty="0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 (el.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 </a:t>
                      </a:r>
                      <a:r>
                        <a:rPr lang="en-US" sz="16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Wel</a:t>
                      </a:r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4680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Geplante</a:t>
                      </a:r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 </a:t>
                      </a:r>
                    </a:p>
                    <a:p>
                      <a:pPr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Inbetriebnahme</a:t>
                      </a:r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 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105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Wärme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4.00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2073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Gas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.70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034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Flex-</a:t>
                      </a: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Fakto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8,8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7835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Invest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.000.000 €</a:t>
                      </a:r>
                    </a:p>
                    <a:p>
                      <a:pPr algn="l"/>
                      <a:r>
                        <a:rPr lang="en-US" sz="16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kl</a:t>
                      </a: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Strom- und </a:t>
                      </a:r>
                      <a:r>
                        <a:rPr lang="en-US" sz="16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asanschluss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608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87853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4">
            <a:extLst>
              <a:ext uri="{FF2B5EF4-FFF2-40B4-BE49-F238E27FC236}">
                <a16:creationId xmlns:a16="http://schemas.microsoft.com/office/drawing/2014/main" id="{2EAA2540-7B5C-BD0A-572B-5558451E72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7" t="179" r="24269" b="-179"/>
          <a:stretch/>
        </p:blipFill>
        <p:spPr>
          <a:xfrm>
            <a:off x="0" y="10"/>
            <a:ext cx="7846142" cy="6857990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EAAD53F0-4609-F49C-D067-C2B70C0CFB1D}"/>
              </a:ext>
            </a:extLst>
          </p:cNvPr>
          <p:cNvSpPr/>
          <p:nvPr/>
        </p:nvSpPr>
        <p:spPr>
          <a:xfrm>
            <a:off x="8247226" y="6115665"/>
            <a:ext cx="2932051" cy="48178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Inhaltsplatzhalter 4" descr="Ein Bild, das draußen, Himmel, Baum, Gebäude enthält.&#10;&#10;Automatisch generierte Beschreibung">
            <a:extLst>
              <a:ext uri="{FF2B5EF4-FFF2-40B4-BE49-F238E27FC236}">
                <a16:creationId xmlns:a16="http://schemas.microsoft.com/office/drawing/2014/main" id="{2639F307-284B-CD57-4005-82FB408FB80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4" r="7051"/>
          <a:stretch/>
        </p:blipFill>
        <p:spPr>
          <a:xfrm>
            <a:off x="-13689" y="0"/>
            <a:ext cx="7846142" cy="685799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7AE1950E-A7A8-3EA8-84E7-E56383CF2CB9}"/>
              </a:ext>
            </a:extLst>
          </p:cNvPr>
          <p:cNvSpPr/>
          <p:nvPr/>
        </p:nvSpPr>
        <p:spPr>
          <a:xfrm>
            <a:off x="-27378" y="-20"/>
            <a:ext cx="7873520" cy="6858010"/>
          </a:xfrm>
          <a:prstGeom prst="rect">
            <a:avLst/>
          </a:prstGeom>
          <a:gradFill>
            <a:gsLst>
              <a:gs pos="81000">
                <a:schemeClr val="accent1">
                  <a:tint val="44500"/>
                  <a:satMod val="160000"/>
                  <a:alpha val="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AFA631F4-5A0C-6A9F-0741-5503804C8271}"/>
              </a:ext>
            </a:extLst>
          </p:cNvPr>
          <p:cNvSpPr txBox="1">
            <a:spLocks/>
          </p:cNvSpPr>
          <p:nvPr/>
        </p:nvSpPr>
        <p:spPr>
          <a:xfrm>
            <a:off x="8247226" y="1193793"/>
            <a:ext cx="3700701" cy="19481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400" dirty="0" err="1"/>
              <a:t>Referenzen</a:t>
            </a:r>
            <a:r>
              <a:rPr lang="en-US" sz="4400" dirty="0"/>
              <a:t> </a:t>
            </a:r>
            <a:r>
              <a:rPr lang="en-US" dirty="0">
                <a:latin typeface="Museo 100" panose="02000000000000000000" pitchFamily="50" charset="0"/>
              </a:rPr>
              <a:t>Thiendorf </a:t>
            </a:r>
            <a:br>
              <a:rPr lang="en-US" dirty="0">
                <a:latin typeface="Museo 100" panose="02000000000000000000" pitchFamily="50" charset="0"/>
              </a:rPr>
            </a:br>
            <a:r>
              <a:rPr lang="en-US" dirty="0">
                <a:latin typeface="Museo 100" panose="02000000000000000000" pitchFamily="50" charset="0"/>
              </a:rPr>
              <a:t>(</a:t>
            </a:r>
            <a:r>
              <a:rPr lang="en-US" dirty="0" err="1">
                <a:latin typeface="Museo 100" panose="02000000000000000000" pitchFamily="50" charset="0"/>
              </a:rPr>
              <a:t>bei</a:t>
            </a:r>
            <a:r>
              <a:rPr lang="en-US" dirty="0">
                <a:latin typeface="Museo 100" panose="02000000000000000000" pitchFamily="50" charset="0"/>
              </a:rPr>
              <a:t> Dresden)</a:t>
            </a:r>
            <a:endParaRPr lang="en-US" sz="4400" dirty="0">
              <a:latin typeface="Museo 100" panose="02000000000000000000" pitchFamily="50" charset="0"/>
            </a:endParaRPr>
          </a:p>
        </p:txBody>
      </p:sp>
      <p:graphicFrame>
        <p:nvGraphicFramePr>
          <p:cNvPr id="9" name="Tabelle 8">
            <a:extLst>
              <a:ext uri="{FF2B5EF4-FFF2-40B4-BE49-F238E27FC236}">
                <a16:creationId xmlns:a16="http://schemas.microsoft.com/office/drawing/2014/main" id="{C28CC4EE-F303-2660-9B15-5ABFD2A0BB31}"/>
              </a:ext>
            </a:extLst>
          </p:cNvPr>
          <p:cNvGraphicFramePr>
            <a:graphicFrameLocks noGrp="1"/>
          </p:cNvGraphicFramePr>
          <p:nvPr/>
        </p:nvGraphicFramePr>
        <p:xfrm>
          <a:off x="8325994" y="2985180"/>
          <a:ext cx="3700701" cy="3129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13475">
                  <a:extLst>
                    <a:ext uri="{9D8B030D-6E8A-4147-A177-3AD203B41FA5}">
                      <a16:colId xmlns:a16="http://schemas.microsoft.com/office/drawing/2014/main" val="221558894"/>
                    </a:ext>
                  </a:extLst>
                </a:gridCol>
                <a:gridCol w="1787226">
                  <a:extLst>
                    <a:ext uri="{9D8B030D-6E8A-4147-A177-3AD203B41FA5}">
                      <a16:colId xmlns:a16="http://schemas.microsoft.com/office/drawing/2014/main" val="1133885674"/>
                    </a:ext>
                  </a:extLst>
                </a:gridCol>
              </a:tblGrid>
              <a:tr h="371166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20000"/>
                        </a:lnSpc>
                        <a:spcBef>
                          <a:spcPts val="1000"/>
                        </a:spcBef>
                      </a:pPr>
                      <a:r>
                        <a:rPr lang="en-US" sz="1600" b="0" kern="1200" dirty="0" err="1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Leistung</a:t>
                      </a:r>
                      <a:r>
                        <a:rPr lang="en-US" sz="1600" b="0" kern="1200" dirty="0">
                          <a:solidFill>
                            <a:srgbClr val="EE8101"/>
                          </a:solidFill>
                          <a:latin typeface="+mn-lt"/>
                          <a:ea typeface="+mn-ea"/>
                          <a:cs typeface="+mn-cs"/>
                        </a:rPr>
                        <a:t> (el.)</a:t>
                      </a:r>
                      <a:endParaRPr lang="en-US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 </a:t>
                      </a:r>
                      <a:r>
                        <a:rPr lang="en-US" sz="1600" b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wel</a:t>
                      </a:r>
                      <a:endParaRPr lang="de-DE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4680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Geplante</a:t>
                      </a:r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 </a:t>
                      </a:r>
                    </a:p>
                    <a:p>
                      <a:pPr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</a:pP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Inbetriebnahme</a:t>
                      </a:r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 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2/202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7105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Wärme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8.00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2073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Gasspeiche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.000 m³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880348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Flex-</a:t>
                      </a:r>
                      <a:r>
                        <a:rPr lang="en-US" sz="1600" dirty="0" err="1">
                          <a:solidFill>
                            <a:srgbClr val="EE8101"/>
                          </a:solidFill>
                        </a:rPr>
                        <a:t>Faktor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/>
                        <a:t>10,0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7835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en-US" sz="1600" dirty="0">
                          <a:solidFill>
                            <a:srgbClr val="EE8101"/>
                          </a:solidFill>
                        </a:rPr>
                        <a:t>Invest 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8,5 Mio. €</a:t>
                      </a:r>
                    </a:p>
                    <a:p>
                      <a:pPr algn="l"/>
                      <a:r>
                        <a:rPr lang="en-US" sz="16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kl</a:t>
                      </a: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9 Mio.€ für </a:t>
                      </a:r>
                      <a:r>
                        <a:rPr lang="en-US" sz="16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mspannwerk</a:t>
                      </a:r>
                      <a:r>
                        <a:rPr lang="en-US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  <a:r>
                        <a:rPr lang="en-US" sz="16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tzanschluss</a:t>
                      </a:r>
                      <a:endParaRPr lang="de-DE" sz="16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3960868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97132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AF0B5F31-D5E2-6C23-B3ED-29DCCB23140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840" y="844250"/>
            <a:ext cx="10631817" cy="5980398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DC02317-FF9B-E183-90DE-289DDD085B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0935" y="4217057"/>
            <a:ext cx="4087369" cy="1914852"/>
          </a:xfrm>
          <a:prstGeom prst="rect">
            <a:avLst/>
          </a:prstGeom>
          <a:ln>
            <a:solidFill>
              <a:srgbClr val="519141"/>
            </a:solidFill>
          </a:ln>
        </p:spPr>
      </p:pic>
    </p:spTree>
    <p:extLst>
      <p:ext uri="{BB962C8B-B14F-4D97-AF65-F5344CB8AC3E}">
        <p14:creationId xmlns:p14="http://schemas.microsoft.com/office/powerpoint/2010/main" val="25332833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D369C2-78A7-6337-23BD-8E4C0766EEF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0F89D6-7F07-FDD2-2B8B-372B7E1C2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6695" y="1062529"/>
            <a:ext cx="2709056" cy="1014244"/>
          </a:xfrm>
        </p:spPr>
        <p:txBody>
          <a:bodyPr>
            <a:noAutofit/>
          </a:bodyPr>
          <a:lstStyle/>
          <a:p>
            <a:r>
              <a:rPr lang="de-DE" sz="2400" dirty="0"/>
              <a:t>Wirtschaftlichkeit</a:t>
            </a:r>
            <a:endParaRPr lang="de-DE" sz="2800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213BB6A7-EEC0-173A-D3E6-37CC8ED928C3}"/>
              </a:ext>
            </a:extLst>
          </p:cNvPr>
          <p:cNvGraphicFramePr>
            <a:graphicFrameLocks/>
          </p:cNvGraphicFramePr>
          <p:nvPr/>
        </p:nvGraphicFramePr>
        <p:xfrm>
          <a:off x="201961" y="2692958"/>
          <a:ext cx="9062619" cy="2931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653C8F6A-7BA7-84B2-4A2D-9E970C994E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1961" y="915880"/>
            <a:ext cx="9062619" cy="1307542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1239D6B7-7612-8DAF-93CE-8AA283831A69}"/>
              </a:ext>
            </a:extLst>
          </p:cNvPr>
          <p:cNvSpPr txBox="1">
            <a:spLocks/>
          </p:cNvSpPr>
          <p:nvPr/>
        </p:nvSpPr>
        <p:spPr>
          <a:xfrm>
            <a:off x="416960" y="301440"/>
            <a:ext cx="10515600" cy="7591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Speicherkraftwerk</a:t>
            </a:r>
          </a:p>
        </p:txBody>
      </p:sp>
    </p:spTree>
    <p:extLst>
      <p:ext uri="{BB962C8B-B14F-4D97-AF65-F5344CB8AC3E}">
        <p14:creationId xmlns:p14="http://schemas.microsoft.com/office/powerpoint/2010/main" val="324618945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36088F6-B017-EF07-AFB6-06DD7118D7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06744" y="915880"/>
            <a:ext cx="2709056" cy="1014244"/>
          </a:xfrm>
        </p:spPr>
        <p:txBody>
          <a:bodyPr>
            <a:noAutofit/>
          </a:bodyPr>
          <a:lstStyle/>
          <a:p>
            <a:r>
              <a:rPr lang="de-DE" sz="2400" dirty="0"/>
              <a:t>Wirtschaftlichkeit</a:t>
            </a:r>
            <a:endParaRPr lang="de-DE" sz="2800" dirty="0"/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213BB6A7-EEC0-173A-D3E6-37CC8ED928C3}"/>
              </a:ext>
            </a:extLst>
          </p:cNvPr>
          <p:cNvGraphicFramePr>
            <a:graphicFrameLocks/>
          </p:cNvGraphicFramePr>
          <p:nvPr/>
        </p:nvGraphicFramePr>
        <p:xfrm>
          <a:off x="317381" y="2840709"/>
          <a:ext cx="885825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6A6300A2-C993-FA3F-443B-36C919A89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6276" y="1224847"/>
            <a:ext cx="9091152" cy="1297458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4B2CA4EB-1A90-3D0C-1B14-EF179F0D2383}"/>
              </a:ext>
            </a:extLst>
          </p:cNvPr>
          <p:cNvSpPr txBox="1">
            <a:spLocks/>
          </p:cNvSpPr>
          <p:nvPr/>
        </p:nvSpPr>
        <p:spPr>
          <a:xfrm>
            <a:off x="416960" y="301440"/>
            <a:ext cx="10515600" cy="7591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Wärmenetz</a:t>
            </a:r>
          </a:p>
        </p:txBody>
      </p:sp>
    </p:spTree>
    <p:extLst>
      <p:ext uri="{BB962C8B-B14F-4D97-AF65-F5344CB8AC3E}">
        <p14:creationId xmlns:p14="http://schemas.microsoft.com/office/powerpoint/2010/main" val="125812285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DCC4E1E-0943-B10C-4533-C2C8E17208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dirty="0"/>
              <a:t>Bearbeitungshinweise</a:t>
            </a:r>
            <a:br>
              <a:rPr lang="de-DE" dirty="0"/>
            </a:br>
            <a:r>
              <a:rPr lang="de-DE" sz="2700" dirty="0">
                <a:solidFill>
                  <a:srgbClr val="EE850D"/>
                </a:solidFill>
              </a:rPr>
              <a:t>Diese Folie ausblenden oder löschen</a:t>
            </a:r>
            <a:endParaRPr lang="de-DE" dirty="0">
              <a:solidFill>
                <a:srgbClr val="EE850D"/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F3699645-AAEF-0905-3ED0-07958FEB034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7340" y="1690688"/>
            <a:ext cx="4612422" cy="325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feld 3">
            <a:extLst>
              <a:ext uri="{FF2B5EF4-FFF2-40B4-BE49-F238E27FC236}">
                <a16:creationId xmlns:a16="http://schemas.microsoft.com/office/drawing/2014/main" id="{D5ACE322-4C4D-E7C7-2E9F-7A8C3DAAEEEF}"/>
              </a:ext>
            </a:extLst>
          </p:cNvPr>
          <p:cNvSpPr txBox="1"/>
          <p:nvPr/>
        </p:nvSpPr>
        <p:spPr>
          <a:xfrm>
            <a:off x="7025146" y="5167312"/>
            <a:ext cx="46124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/>
              <a:t>Für das Kartenmaterial bitte dieses Design auswählen aus </a:t>
            </a:r>
            <a:r>
              <a:rPr lang="de-DE" sz="1400" dirty="0" err="1"/>
              <a:t>Qgis</a:t>
            </a:r>
            <a:r>
              <a:rPr lang="de-DE" sz="1400" dirty="0"/>
              <a:t> (Basemap.de Layer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BC2CDB56-E719-6D5D-4A33-5E3065992592}"/>
              </a:ext>
            </a:extLst>
          </p:cNvPr>
          <p:cNvSpPr txBox="1"/>
          <p:nvPr/>
        </p:nvSpPr>
        <p:spPr>
          <a:xfrm>
            <a:off x="944545" y="1979525"/>
            <a:ext cx="5878286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Clr>
                <a:srgbClr val="EE850D"/>
              </a:buClr>
              <a:buFont typeface="Arial" panose="020B0604020202020204" pitchFamily="34" charset="0"/>
              <a:buChar char="•"/>
            </a:pPr>
            <a:r>
              <a:rPr lang="de-DE" dirty="0"/>
              <a:t>Zu den einzelnen Folien finden sich spezifische Bearbeitungshinweise in den Kommentaren.</a:t>
            </a:r>
          </a:p>
          <a:p>
            <a:pPr marL="285750" indent="-285750">
              <a:lnSpc>
                <a:spcPct val="150000"/>
              </a:lnSpc>
              <a:buClr>
                <a:srgbClr val="EE850D"/>
              </a:buClr>
              <a:buFont typeface="Arial" panose="020B0604020202020204" pitchFamily="34" charset="0"/>
              <a:buChar char="•"/>
            </a:pPr>
            <a:r>
              <a:rPr lang="de-DE" dirty="0"/>
              <a:t>Alle Folien auf Relevanz und Richtigkeit prüfen.</a:t>
            </a:r>
          </a:p>
          <a:p>
            <a:pPr marL="285750" indent="-285750">
              <a:lnSpc>
                <a:spcPct val="150000"/>
              </a:lnSpc>
              <a:buClr>
                <a:srgbClr val="EE850D"/>
              </a:buClr>
              <a:buFont typeface="Arial" panose="020B0604020202020204" pitchFamily="34" charset="0"/>
              <a:buChar char="•"/>
            </a:pPr>
            <a:r>
              <a:rPr lang="de-DE" dirty="0"/>
              <a:t>Diese Präsentation ist auf drei Varianten ausgelegt – Folien entsprechend löschen &amp; anpassen</a:t>
            </a:r>
          </a:p>
          <a:p>
            <a:pPr marL="285750" indent="-285750">
              <a:buClr>
                <a:srgbClr val="EE850D"/>
              </a:buClr>
              <a:buFont typeface="Arial" panose="020B0604020202020204" pitchFamily="34" charset="0"/>
              <a:buChar char="•"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45987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3CE8832-4352-F516-A6FC-25AED8AB43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>
            <a:extLst>
              <a:ext uri="{FF2B5EF4-FFF2-40B4-BE49-F238E27FC236}">
                <a16:creationId xmlns:a16="http://schemas.microsoft.com/office/drawing/2014/main" id="{3C15E1B6-09C4-9ABF-4392-A513F2C70CCB}"/>
              </a:ext>
            </a:extLst>
          </p:cNvPr>
          <p:cNvSpPr txBox="1">
            <a:spLocks/>
          </p:cNvSpPr>
          <p:nvPr/>
        </p:nvSpPr>
        <p:spPr>
          <a:xfrm>
            <a:off x="416960" y="301440"/>
            <a:ext cx="10515600" cy="7591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Wirtschaftlichkeit SAT-Standort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2E015704-AB7A-C41A-68EF-87F80B139D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5092" y="1247775"/>
            <a:ext cx="9096375" cy="1381125"/>
          </a:xfrm>
          <a:prstGeom prst="rect">
            <a:avLst/>
          </a:prstGeom>
        </p:spPr>
      </p:pic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213BB6A7-EEC0-173A-D3E6-37CC8ED928C3}"/>
              </a:ext>
            </a:extLst>
          </p:cNvPr>
          <p:cNvGraphicFramePr>
            <a:graphicFrameLocks/>
          </p:cNvGraphicFramePr>
          <p:nvPr/>
        </p:nvGraphicFramePr>
        <p:xfrm>
          <a:off x="1957387" y="3148781"/>
          <a:ext cx="8277225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6351021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28B05C-0F06-5A78-ABC1-DE02623607F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B06CA59-BA22-72F6-EBD1-FF8C87EE6F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50642" y="1936920"/>
            <a:ext cx="3608439" cy="3215184"/>
          </a:xfrm>
        </p:spPr>
        <p:txBody>
          <a:bodyPr>
            <a:noAutofit/>
          </a:bodyPr>
          <a:lstStyle/>
          <a:p>
            <a:pPr algn="ctr"/>
            <a:r>
              <a:rPr lang="de-DE" sz="3600" dirty="0"/>
              <a:t>Über 50%   der erneuerbaren sind Bioenergie!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061558D-0030-B1EA-F888-5C0509CD5B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27F1820-6DC1-7CBF-F46C-CD93D13569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919" y="0"/>
            <a:ext cx="8609636" cy="6839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310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9B0392-2EBA-3C79-D882-7C1297751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9896" y="1523742"/>
            <a:ext cx="4344102" cy="2009167"/>
          </a:xfrm>
        </p:spPr>
        <p:txBody>
          <a:bodyPr>
            <a:normAutofit/>
          </a:bodyPr>
          <a:lstStyle/>
          <a:p>
            <a:r>
              <a:rPr lang="de-DE" dirty="0"/>
              <a:t>Kostenloses Erstgespräch</a:t>
            </a:r>
            <a:br>
              <a:rPr lang="de-DE" dirty="0"/>
            </a:br>
            <a:r>
              <a:rPr lang="de-DE" dirty="0"/>
              <a:t>vereinbaren!</a:t>
            </a:r>
          </a:p>
        </p:txBody>
      </p:sp>
      <p:pic>
        <p:nvPicPr>
          <p:cNvPr id="5" name="Inhaltsplatzhalter 4" descr="Ein Bild, das Muster, Grün, Stoff, nähen enthält.&#10;&#10;KI-generierte Inhalte können fehlerhaft sein.">
            <a:hlinkClick r:id="rId2" highlightClick="1"/>
            <a:extLst>
              <a:ext uri="{FF2B5EF4-FFF2-40B4-BE49-F238E27FC236}">
                <a16:creationId xmlns:a16="http://schemas.microsoft.com/office/drawing/2014/main" id="{17AB719B-3F46-060F-BEC4-DCCD7E56DB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0054" y="1308303"/>
            <a:ext cx="2456378" cy="2419655"/>
          </a:xfrm>
          <a:prstGeom prst="actionButtonBlank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C523F07F-E6A6-7790-DC1D-6DC2403852FA}"/>
              </a:ext>
            </a:extLst>
          </p:cNvPr>
          <p:cNvSpPr txBox="1">
            <a:spLocks/>
          </p:cNvSpPr>
          <p:nvPr/>
        </p:nvSpPr>
        <p:spPr>
          <a:xfrm>
            <a:off x="2309896" y="3727958"/>
            <a:ext cx="4344102" cy="20091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51914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tx1"/>
                </a:solidFill>
              </a:rPr>
              <a:t>Direkt Vorstudie buchen!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852F3F7-7C0F-CBE9-C734-4E08AEEC35E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0054" y="3781704"/>
            <a:ext cx="2306782" cy="2296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1407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45936963-6AFF-318C-7A00-BBD7F6C7863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de-DE" sz="3600" dirty="0"/>
              <a:t>Schneller, resilienter, günstiger 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DCCFAA8F-ED85-B222-D3EF-19F67244A1EC}"/>
              </a:ext>
            </a:extLst>
          </p:cNvPr>
          <p:cNvSpPr txBox="1"/>
          <p:nvPr/>
        </p:nvSpPr>
        <p:spPr>
          <a:xfrm>
            <a:off x="0" y="2464112"/>
            <a:ext cx="121919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6000" dirty="0">
                <a:solidFill>
                  <a:srgbClr val="519141"/>
                </a:solidFill>
                <a:latin typeface="+mj-lt"/>
                <a:ea typeface="+mj-ea"/>
                <a:cs typeface="+mj-cs"/>
              </a:rPr>
              <a:t>Grüne Kraftwerksstrategie</a:t>
            </a:r>
          </a:p>
        </p:txBody>
      </p:sp>
    </p:spTree>
    <p:extLst>
      <p:ext uri="{BB962C8B-B14F-4D97-AF65-F5344CB8AC3E}">
        <p14:creationId xmlns:p14="http://schemas.microsoft.com/office/powerpoint/2010/main" val="247642725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D6BCD3E-EFC7-9F20-1DB1-83291AF4214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0" y="1825625"/>
            <a:ext cx="6019800" cy="4351338"/>
          </a:xfrm>
        </p:spPr>
        <p:txBody>
          <a:bodyPr/>
          <a:lstStyle/>
          <a:p>
            <a:r>
              <a:rPr lang="de-DE" sz="5400" dirty="0">
                <a:solidFill>
                  <a:srgbClr val="EE850D"/>
                </a:solidFill>
              </a:rPr>
              <a:t>1900</a:t>
            </a:r>
          </a:p>
          <a:p>
            <a:r>
              <a:rPr lang="de-DE" sz="3200" dirty="0"/>
              <a:t>5th Avenue, New York City</a:t>
            </a:r>
          </a:p>
          <a:p>
            <a:endParaRPr lang="de-DE" sz="5400" dirty="0">
              <a:solidFill>
                <a:srgbClr val="EE850D"/>
              </a:solidFill>
            </a:endParaRPr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C3AD421-D8E7-C414-C89D-680B8CD41B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31492"/>
            <a:ext cx="5181600" cy="759196"/>
          </a:xfrm>
        </p:spPr>
        <p:txBody>
          <a:bodyPr/>
          <a:lstStyle/>
          <a:p>
            <a:r>
              <a:rPr lang="de-DE" dirty="0"/>
              <a:t>Wo ist das Auto?</a:t>
            </a:r>
          </a:p>
        </p:txBody>
      </p:sp>
      <p:pic>
        <p:nvPicPr>
          <p:cNvPr id="7" name="Inhaltsplatzhalter 6" descr="Ein Bild, das draußen, Gebäude, Schwarzweiß, Person enthält.&#10;&#10;Automatisch generierte Beschreibung">
            <a:extLst>
              <a:ext uri="{FF2B5EF4-FFF2-40B4-BE49-F238E27FC236}">
                <a16:creationId xmlns:a16="http://schemas.microsoft.com/office/drawing/2014/main" id="{5C5445CB-36CB-3DA0-E722-776F449BBA0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800" y="1439459"/>
            <a:ext cx="6172200" cy="4834889"/>
          </a:xfrm>
          <a:prstGeom prst="rect">
            <a:avLst/>
          </a:prstGeom>
          <a:ln>
            <a:solidFill>
              <a:srgbClr val="519141"/>
            </a:solidFill>
          </a:ln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5C7AC7E4-5856-E01A-87EA-725BC7E52FC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1717" y="3851757"/>
            <a:ext cx="1089215" cy="953449"/>
          </a:xfrm>
          <a:prstGeom prst="rect">
            <a:avLst/>
          </a:prstGeom>
        </p:spPr>
      </p:pic>
      <p:sp>
        <p:nvSpPr>
          <p:cNvPr id="9" name="Grafik 9" descr="Pfeil mit einer Linie: Kurve gegen den Uhrzeigersinn Silhouette">
            <a:extLst>
              <a:ext uri="{FF2B5EF4-FFF2-40B4-BE49-F238E27FC236}">
                <a16:creationId xmlns:a16="http://schemas.microsoft.com/office/drawing/2014/main" id="{CD7B02D3-A4F3-83C8-5042-38786D2E22D1}"/>
              </a:ext>
            </a:extLst>
          </p:cNvPr>
          <p:cNvSpPr/>
          <p:nvPr/>
        </p:nvSpPr>
        <p:spPr>
          <a:xfrm rot="6949236" flipH="1">
            <a:off x="6606685" y="617735"/>
            <a:ext cx="860561" cy="3817914"/>
          </a:xfrm>
          <a:custGeom>
            <a:avLst/>
            <a:gdLst>
              <a:gd name="connsiteX0" fmla="*/ 221104 w 287171"/>
              <a:gd name="connsiteY0" fmla="*/ 9525 h 809224"/>
              <a:gd name="connsiteX1" fmla="*/ 211579 w 287171"/>
              <a:gd name="connsiteY1" fmla="*/ 0 h 809224"/>
              <a:gd name="connsiteX2" fmla="*/ 9525 w 287171"/>
              <a:gd name="connsiteY2" fmla="*/ 0 h 809224"/>
              <a:gd name="connsiteX3" fmla="*/ 0 w 287171"/>
              <a:gd name="connsiteY3" fmla="*/ 9525 h 809224"/>
              <a:gd name="connsiteX4" fmla="*/ 0 w 287171"/>
              <a:gd name="connsiteY4" fmla="*/ 211588 h 809224"/>
              <a:gd name="connsiteX5" fmla="*/ 9525 w 287171"/>
              <a:gd name="connsiteY5" fmla="*/ 221113 h 809224"/>
              <a:gd name="connsiteX6" fmla="*/ 19050 w 287171"/>
              <a:gd name="connsiteY6" fmla="*/ 211588 h 809224"/>
              <a:gd name="connsiteX7" fmla="*/ 19050 w 287171"/>
              <a:gd name="connsiteY7" fmla="*/ 35014 h 809224"/>
              <a:gd name="connsiteX8" fmla="*/ 19145 w 287171"/>
              <a:gd name="connsiteY8" fmla="*/ 34919 h 809224"/>
              <a:gd name="connsiteX9" fmla="*/ 19202 w 287171"/>
              <a:gd name="connsiteY9" fmla="*/ 34938 h 809224"/>
              <a:gd name="connsiteX10" fmla="*/ 268091 w 287171"/>
              <a:gd name="connsiteY10" fmla="*/ 514340 h 809224"/>
              <a:gd name="connsiteX11" fmla="*/ 211674 w 287171"/>
              <a:gd name="connsiteY11" fmla="*/ 796042 h 809224"/>
              <a:gd name="connsiteX12" fmla="*/ 216808 w 287171"/>
              <a:gd name="connsiteY12" fmla="*/ 808492 h 809224"/>
              <a:gd name="connsiteX13" fmla="*/ 220466 w 287171"/>
              <a:gd name="connsiteY13" fmla="*/ 809225 h 809224"/>
              <a:gd name="connsiteX14" fmla="*/ 229257 w 287171"/>
              <a:gd name="connsiteY14" fmla="*/ 803358 h 809224"/>
              <a:gd name="connsiteX15" fmla="*/ 287141 w 287171"/>
              <a:gd name="connsiteY15" fmla="*/ 514512 h 809224"/>
              <a:gd name="connsiteX16" fmla="*/ 29966 w 287171"/>
              <a:gd name="connsiteY16" fmla="*/ 19212 h 809224"/>
              <a:gd name="connsiteX17" fmla="*/ 29946 w 287171"/>
              <a:gd name="connsiteY17" fmla="*/ 19079 h 809224"/>
              <a:gd name="connsiteX18" fmla="*/ 30013 w 287171"/>
              <a:gd name="connsiteY18" fmla="*/ 19040 h 809224"/>
              <a:gd name="connsiteX19" fmla="*/ 211579 w 287171"/>
              <a:gd name="connsiteY19" fmla="*/ 19040 h 809224"/>
              <a:gd name="connsiteX20" fmla="*/ 221104 w 287171"/>
              <a:gd name="connsiteY20" fmla="*/ 9525 h 809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171" h="809224">
                <a:moveTo>
                  <a:pt x="221104" y="9525"/>
                </a:moveTo>
                <a:cubicBezTo>
                  <a:pt x="221104" y="4265"/>
                  <a:pt x="216839" y="0"/>
                  <a:pt x="211579" y="0"/>
                </a:cubicBezTo>
                <a:lnTo>
                  <a:pt x="9525" y="0"/>
                </a:lnTo>
                <a:cubicBezTo>
                  <a:pt x="4264" y="0"/>
                  <a:pt x="0" y="4265"/>
                  <a:pt x="0" y="9525"/>
                </a:cubicBezTo>
                <a:lnTo>
                  <a:pt x="0" y="211588"/>
                </a:lnTo>
                <a:cubicBezTo>
                  <a:pt x="0" y="216849"/>
                  <a:pt x="4264" y="221113"/>
                  <a:pt x="9525" y="221113"/>
                </a:cubicBezTo>
                <a:cubicBezTo>
                  <a:pt x="14786" y="221113"/>
                  <a:pt x="19050" y="216849"/>
                  <a:pt x="19050" y="211588"/>
                </a:cubicBezTo>
                <a:lnTo>
                  <a:pt x="19050" y="35014"/>
                </a:lnTo>
                <a:cubicBezTo>
                  <a:pt x="19050" y="34961"/>
                  <a:pt x="19093" y="34919"/>
                  <a:pt x="19145" y="34919"/>
                </a:cubicBezTo>
                <a:cubicBezTo>
                  <a:pt x="19166" y="34919"/>
                  <a:pt x="19186" y="34925"/>
                  <a:pt x="19202" y="34938"/>
                </a:cubicBezTo>
                <a:cubicBezTo>
                  <a:pt x="227095" y="182423"/>
                  <a:pt x="269424" y="376790"/>
                  <a:pt x="268091" y="514340"/>
                </a:cubicBezTo>
                <a:cubicBezTo>
                  <a:pt x="267771" y="611015"/>
                  <a:pt x="248607" y="706700"/>
                  <a:pt x="211674" y="796042"/>
                </a:cubicBezTo>
                <a:cubicBezTo>
                  <a:pt x="209656" y="800898"/>
                  <a:pt x="211954" y="806470"/>
                  <a:pt x="216808" y="808492"/>
                </a:cubicBezTo>
                <a:cubicBezTo>
                  <a:pt x="217965" y="808979"/>
                  <a:pt x="219209" y="809228"/>
                  <a:pt x="220466" y="809225"/>
                </a:cubicBezTo>
                <a:cubicBezTo>
                  <a:pt x="224312" y="809224"/>
                  <a:pt x="227780" y="806909"/>
                  <a:pt x="229257" y="803358"/>
                </a:cubicBezTo>
                <a:cubicBezTo>
                  <a:pt x="267140" y="711753"/>
                  <a:pt x="286801" y="613641"/>
                  <a:pt x="287141" y="514512"/>
                </a:cubicBezTo>
                <a:cubicBezTo>
                  <a:pt x="288522" y="372351"/>
                  <a:pt x="244802" y="171479"/>
                  <a:pt x="29966" y="19212"/>
                </a:cubicBezTo>
                <a:cubicBezTo>
                  <a:pt x="29924" y="19181"/>
                  <a:pt x="29914" y="19121"/>
                  <a:pt x="29946" y="19079"/>
                </a:cubicBezTo>
                <a:cubicBezTo>
                  <a:pt x="29962" y="19057"/>
                  <a:pt x="29987" y="19043"/>
                  <a:pt x="30013" y="19040"/>
                </a:cubicBezTo>
                <a:lnTo>
                  <a:pt x="211579" y="19040"/>
                </a:lnTo>
                <a:cubicBezTo>
                  <a:pt x="216836" y="19040"/>
                  <a:pt x="221098" y="14782"/>
                  <a:pt x="221104" y="9525"/>
                </a:cubicBezTo>
                <a:close/>
              </a:path>
            </a:pathLst>
          </a:custGeom>
          <a:solidFill>
            <a:srgbClr val="EE810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25468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3CEE6-E54C-9B29-5D28-8249BA9F2B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 descr="Ein Bild, das Landfahrzeug, Gebäude, Text, draußen enthält.&#10;&#10;Automatisch generierte Beschreibung">
            <a:extLst>
              <a:ext uri="{FF2B5EF4-FFF2-40B4-BE49-F238E27FC236}">
                <a16:creationId xmlns:a16="http://schemas.microsoft.com/office/drawing/2014/main" id="{1568BBC7-A5F4-E9AF-3E10-5F1030A916DC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14"/>
          <a:stretch/>
        </p:blipFill>
        <p:spPr>
          <a:xfrm>
            <a:off x="5758543" y="1971847"/>
            <a:ext cx="5595257" cy="4382922"/>
          </a:xfrm>
          <a:prstGeom prst="rect">
            <a:avLst/>
          </a:prstGeom>
          <a:ln>
            <a:solidFill>
              <a:srgbClr val="519141"/>
            </a:solidFill>
          </a:ln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CEF8E14B-845D-E132-693E-E46DBF6902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490" y="1825625"/>
            <a:ext cx="5931310" cy="4351338"/>
          </a:xfrm>
        </p:spPr>
        <p:txBody>
          <a:bodyPr/>
          <a:lstStyle/>
          <a:p>
            <a:r>
              <a:rPr lang="de-DE" sz="5400" dirty="0">
                <a:solidFill>
                  <a:srgbClr val="EE850D"/>
                </a:solidFill>
              </a:rPr>
              <a:t>1913</a:t>
            </a:r>
          </a:p>
          <a:p>
            <a:r>
              <a:rPr lang="de-DE" sz="3200" dirty="0"/>
              <a:t>5th Avenue, New York City</a:t>
            </a:r>
          </a:p>
          <a:p>
            <a:endParaRPr lang="de-DE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6E4721E-5E42-F2FD-D9D9-0143D9066A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31492"/>
            <a:ext cx="5181600" cy="759196"/>
          </a:xfrm>
        </p:spPr>
        <p:txBody>
          <a:bodyPr/>
          <a:lstStyle/>
          <a:p>
            <a:r>
              <a:rPr lang="de-DE" dirty="0"/>
              <a:t>Wo ist das Pferd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A131D2F-0CAD-7E73-D218-280DC8452E7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1217" y="3742110"/>
            <a:ext cx="1089215" cy="953449"/>
          </a:xfrm>
          <a:prstGeom prst="rect">
            <a:avLst/>
          </a:prstGeom>
        </p:spPr>
      </p:pic>
      <p:sp>
        <p:nvSpPr>
          <p:cNvPr id="9" name="Grafik 9" descr="Pfeil mit einer Linie: Kurve gegen den Uhrzeigersinn Silhouette">
            <a:extLst>
              <a:ext uri="{FF2B5EF4-FFF2-40B4-BE49-F238E27FC236}">
                <a16:creationId xmlns:a16="http://schemas.microsoft.com/office/drawing/2014/main" id="{D132AC8C-9ADC-D2A6-AED8-D72078FBE79D}"/>
              </a:ext>
            </a:extLst>
          </p:cNvPr>
          <p:cNvSpPr/>
          <p:nvPr/>
        </p:nvSpPr>
        <p:spPr>
          <a:xfrm rot="7231330" flipH="1">
            <a:off x="6491090" y="590302"/>
            <a:ext cx="860561" cy="3817914"/>
          </a:xfrm>
          <a:custGeom>
            <a:avLst/>
            <a:gdLst>
              <a:gd name="connsiteX0" fmla="*/ 221104 w 287171"/>
              <a:gd name="connsiteY0" fmla="*/ 9525 h 809224"/>
              <a:gd name="connsiteX1" fmla="*/ 211579 w 287171"/>
              <a:gd name="connsiteY1" fmla="*/ 0 h 809224"/>
              <a:gd name="connsiteX2" fmla="*/ 9525 w 287171"/>
              <a:gd name="connsiteY2" fmla="*/ 0 h 809224"/>
              <a:gd name="connsiteX3" fmla="*/ 0 w 287171"/>
              <a:gd name="connsiteY3" fmla="*/ 9525 h 809224"/>
              <a:gd name="connsiteX4" fmla="*/ 0 w 287171"/>
              <a:gd name="connsiteY4" fmla="*/ 211588 h 809224"/>
              <a:gd name="connsiteX5" fmla="*/ 9525 w 287171"/>
              <a:gd name="connsiteY5" fmla="*/ 221113 h 809224"/>
              <a:gd name="connsiteX6" fmla="*/ 19050 w 287171"/>
              <a:gd name="connsiteY6" fmla="*/ 211588 h 809224"/>
              <a:gd name="connsiteX7" fmla="*/ 19050 w 287171"/>
              <a:gd name="connsiteY7" fmla="*/ 35014 h 809224"/>
              <a:gd name="connsiteX8" fmla="*/ 19145 w 287171"/>
              <a:gd name="connsiteY8" fmla="*/ 34919 h 809224"/>
              <a:gd name="connsiteX9" fmla="*/ 19202 w 287171"/>
              <a:gd name="connsiteY9" fmla="*/ 34938 h 809224"/>
              <a:gd name="connsiteX10" fmla="*/ 268091 w 287171"/>
              <a:gd name="connsiteY10" fmla="*/ 514340 h 809224"/>
              <a:gd name="connsiteX11" fmla="*/ 211674 w 287171"/>
              <a:gd name="connsiteY11" fmla="*/ 796042 h 809224"/>
              <a:gd name="connsiteX12" fmla="*/ 216808 w 287171"/>
              <a:gd name="connsiteY12" fmla="*/ 808492 h 809224"/>
              <a:gd name="connsiteX13" fmla="*/ 220466 w 287171"/>
              <a:gd name="connsiteY13" fmla="*/ 809225 h 809224"/>
              <a:gd name="connsiteX14" fmla="*/ 229257 w 287171"/>
              <a:gd name="connsiteY14" fmla="*/ 803358 h 809224"/>
              <a:gd name="connsiteX15" fmla="*/ 287141 w 287171"/>
              <a:gd name="connsiteY15" fmla="*/ 514512 h 809224"/>
              <a:gd name="connsiteX16" fmla="*/ 29966 w 287171"/>
              <a:gd name="connsiteY16" fmla="*/ 19212 h 809224"/>
              <a:gd name="connsiteX17" fmla="*/ 29946 w 287171"/>
              <a:gd name="connsiteY17" fmla="*/ 19079 h 809224"/>
              <a:gd name="connsiteX18" fmla="*/ 30013 w 287171"/>
              <a:gd name="connsiteY18" fmla="*/ 19040 h 809224"/>
              <a:gd name="connsiteX19" fmla="*/ 211579 w 287171"/>
              <a:gd name="connsiteY19" fmla="*/ 19040 h 809224"/>
              <a:gd name="connsiteX20" fmla="*/ 221104 w 287171"/>
              <a:gd name="connsiteY20" fmla="*/ 9525 h 8092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7171" h="809224">
                <a:moveTo>
                  <a:pt x="221104" y="9525"/>
                </a:moveTo>
                <a:cubicBezTo>
                  <a:pt x="221104" y="4265"/>
                  <a:pt x="216839" y="0"/>
                  <a:pt x="211579" y="0"/>
                </a:cubicBezTo>
                <a:lnTo>
                  <a:pt x="9525" y="0"/>
                </a:lnTo>
                <a:cubicBezTo>
                  <a:pt x="4264" y="0"/>
                  <a:pt x="0" y="4265"/>
                  <a:pt x="0" y="9525"/>
                </a:cubicBezTo>
                <a:lnTo>
                  <a:pt x="0" y="211588"/>
                </a:lnTo>
                <a:cubicBezTo>
                  <a:pt x="0" y="216849"/>
                  <a:pt x="4264" y="221113"/>
                  <a:pt x="9525" y="221113"/>
                </a:cubicBezTo>
                <a:cubicBezTo>
                  <a:pt x="14786" y="221113"/>
                  <a:pt x="19050" y="216849"/>
                  <a:pt x="19050" y="211588"/>
                </a:cubicBezTo>
                <a:lnTo>
                  <a:pt x="19050" y="35014"/>
                </a:lnTo>
                <a:cubicBezTo>
                  <a:pt x="19050" y="34961"/>
                  <a:pt x="19093" y="34919"/>
                  <a:pt x="19145" y="34919"/>
                </a:cubicBezTo>
                <a:cubicBezTo>
                  <a:pt x="19166" y="34919"/>
                  <a:pt x="19186" y="34925"/>
                  <a:pt x="19202" y="34938"/>
                </a:cubicBezTo>
                <a:cubicBezTo>
                  <a:pt x="227095" y="182423"/>
                  <a:pt x="269424" y="376790"/>
                  <a:pt x="268091" y="514340"/>
                </a:cubicBezTo>
                <a:cubicBezTo>
                  <a:pt x="267771" y="611015"/>
                  <a:pt x="248607" y="706700"/>
                  <a:pt x="211674" y="796042"/>
                </a:cubicBezTo>
                <a:cubicBezTo>
                  <a:pt x="209656" y="800898"/>
                  <a:pt x="211954" y="806470"/>
                  <a:pt x="216808" y="808492"/>
                </a:cubicBezTo>
                <a:cubicBezTo>
                  <a:pt x="217965" y="808979"/>
                  <a:pt x="219209" y="809228"/>
                  <a:pt x="220466" y="809225"/>
                </a:cubicBezTo>
                <a:cubicBezTo>
                  <a:pt x="224312" y="809224"/>
                  <a:pt x="227780" y="806909"/>
                  <a:pt x="229257" y="803358"/>
                </a:cubicBezTo>
                <a:cubicBezTo>
                  <a:pt x="267140" y="711753"/>
                  <a:pt x="286801" y="613641"/>
                  <a:pt x="287141" y="514512"/>
                </a:cubicBezTo>
                <a:cubicBezTo>
                  <a:pt x="288522" y="372351"/>
                  <a:pt x="244802" y="171479"/>
                  <a:pt x="29966" y="19212"/>
                </a:cubicBezTo>
                <a:cubicBezTo>
                  <a:pt x="29924" y="19181"/>
                  <a:pt x="29914" y="19121"/>
                  <a:pt x="29946" y="19079"/>
                </a:cubicBezTo>
                <a:cubicBezTo>
                  <a:pt x="29962" y="19057"/>
                  <a:pt x="29987" y="19043"/>
                  <a:pt x="30013" y="19040"/>
                </a:cubicBezTo>
                <a:lnTo>
                  <a:pt x="211579" y="19040"/>
                </a:lnTo>
                <a:cubicBezTo>
                  <a:pt x="216836" y="19040"/>
                  <a:pt x="221098" y="14782"/>
                  <a:pt x="221104" y="9525"/>
                </a:cubicBezTo>
                <a:close/>
              </a:path>
            </a:pathLst>
          </a:custGeom>
          <a:solidFill>
            <a:srgbClr val="EE810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1890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4C0F1C15-4DD6-C664-B07A-1B895576C3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0" y="876344"/>
            <a:ext cx="12320639" cy="59816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0453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0A31105B-C1A7-FA29-A7F2-47ED33C8D3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2536" y="58907"/>
            <a:ext cx="8494004" cy="683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2763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FFCB9EF-F564-D6E4-983D-119E3F95A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420" y="154988"/>
            <a:ext cx="8903385" cy="1015051"/>
          </a:xfrm>
        </p:spPr>
        <p:txBody>
          <a:bodyPr>
            <a:noAutofit/>
          </a:bodyPr>
          <a:lstStyle/>
          <a:p>
            <a:r>
              <a:rPr lang="de-DE" sz="3600" dirty="0"/>
              <a:t>Entweder zu viel Strom, oder zu wenig!</a:t>
            </a:r>
            <a:endParaRPr lang="de-DE" sz="2800" dirty="0"/>
          </a:p>
        </p:txBody>
      </p:sp>
      <p:pic>
        <p:nvPicPr>
          <p:cNvPr id="4" name="Inhaltsplatzhalter 3">
            <a:extLst>
              <a:ext uri="{FF2B5EF4-FFF2-40B4-BE49-F238E27FC236}">
                <a16:creationId xmlns:a16="http://schemas.microsoft.com/office/drawing/2014/main" id="{2629F1C2-4C6F-59AE-2B8E-E3AC5BF9862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-1" y="1170038"/>
            <a:ext cx="11915862" cy="5687962"/>
          </a:xfrm>
          <a:prstGeom prst="rect">
            <a:avLst/>
          </a:prstGeom>
          <a:ln>
            <a:solidFill>
              <a:srgbClr val="519141"/>
            </a:solidFill>
          </a:ln>
        </p:spPr>
      </p:pic>
    </p:spTree>
    <p:extLst>
      <p:ext uri="{BB962C8B-B14F-4D97-AF65-F5344CB8AC3E}">
        <p14:creationId xmlns:p14="http://schemas.microsoft.com/office/powerpoint/2010/main" val="26236686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C7091E-59BB-9592-7337-6A08A6896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/>
              <a:t>Entwicklung Strommarkt – 2024 vs. 2017</a:t>
            </a:r>
          </a:p>
        </p:txBody>
      </p:sp>
      <p:graphicFrame>
        <p:nvGraphicFramePr>
          <p:cNvPr id="4" name="Diagramm 3">
            <a:extLst>
              <a:ext uri="{FF2B5EF4-FFF2-40B4-BE49-F238E27FC236}">
                <a16:creationId xmlns:a16="http://schemas.microsoft.com/office/drawing/2014/main" id="{0E0E7D9B-E932-E0CA-CC7C-595D8E1F3A0B}"/>
              </a:ext>
            </a:extLst>
          </p:cNvPr>
          <p:cNvGraphicFramePr>
            <a:graphicFrameLocks/>
          </p:cNvGraphicFramePr>
          <p:nvPr/>
        </p:nvGraphicFramePr>
        <p:xfrm>
          <a:off x="1152372" y="1690688"/>
          <a:ext cx="9887255" cy="4526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5110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Museo-Schriften">
      <a:majorFont>
        <a:latin typeface="Museo 500"/>
        <a:ea typeface=""/>
        <a:cs typeface=""/>
      </a:majorFont>
      <a:minorFont>
        <a:latin typeface="Museo 300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DB2563843C74BD4E9E31552301FEEB65" ma:contentTypeVersion="4" ma:contentTypeDescription="Ein neues Dokument erstellen." ma:contentTypeScope="" ma:versionID="5310b845db5c5b133e47e16d51b703d7">
  <xsd:schema xmlns:xsd="http://www.w3.org/2001/XMLSchema" xmlns:xs="http://www.w3.org/2001/XMLSchema" xmlns:p="http://schemas.microsoft.com/office/2006/metadata/properties" xmlns:ns2="fa043bf5-96c5-4e4f-a67e-30522cab2a75" targetNamespace="http://schemas.microsoft.com/office/2006/metadata/properties" ma:root="true" ma:fieldsID="04eb3daf5357f7380e476bf9c4bdf7ff" ns2:_="">
    <xsd:import namespace="fa043bf5-96c5-4e4f-a67e-30522cab2a7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043bf5-96c5-4e4f-a67e-30522cab2a7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3B813E0-7F72-473E-BE5D-B55D4B1407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043bf5-96c5-4e4f-a67e-30522cab2a7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45DDBC4-2CED-45C3-B6B8-409B81E312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99AFA39-E5FC-4FF1-9CDA-8714764B8FC6}">
  <ds:schemaRefs>
    <ds:schemaRef ds:uri="http://purl.org/dc/terms/"/>
    <ds:schemaRef ds:uri="http://schemas.microsoft.com/office/infopath/2007/PartnerControls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documentManagement/types"/>
    <ds:schemaRef ds:uri="fa043bf5-96c5-4e4f-a67e-30522cab2a75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2</Words>
  <Application>Microsoft Office PowerPoint</Application>
  <PresentationFormat>Breitbild</PresentationFormat>
  <Paragraphs>106</Paragraphs>
  <Slides>22</Slides>
  <Notes>1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2</vt:i4>
      </vt:variant>
    </vt:vector>
  </HeadingPairs>
  <TitlesOfParts>
    <vt:vector size="29" baseType="lpstr">
      <vt:lpstr>Museo 300</vt:lpstr>
      <vt:lpstr>Arial</vt:lpstr>
      <vt:lpstr>Calibri</vt:lpstr>
      <vt:lpstr>Museo 500</vt:lpstr>
      <vt:lpstr>Museo 100</vt:lpstr>
      <vt:lpstr>Benutzerdefiniertes Design</vt:lpstr>
      <vt:lpstr>think-cell Folie</vt:lpstr>
      <vt:lpstr>Kopiervorlagen</vt:lpstr>
      <vt:lpstr>Bearbeitungshinweise Diese Folie ausblenden oder löschen</vt:lpstr>
      <vt:lpstr>PowerPoint-Präsentation</vt:lpstr>
      <vt:lpstr>Wo ist das Auto?</vt:lpstr>
      <vt:lpstr>Wo ist das Pferd?</vt:lpstr>
      <vt:lpstr>PowerPoint-Präsentation</vt:lpstr>
      <vt:lpstr>PowerPoint-Präsentation</vt:lpstr>
      <vt:lpstr>Entweder zu viel Strom, oder zu wenig!</vt:lpstr>
      <vt:lpstr>Entwicklung Strommarkt – 2024 vs. 2017</vt:lpstr>
      <vt:lpstr>Entwicklung Strommarkt – 2024 vs. 2017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Wirtschaftlichkeit</vt:lpstr>
      <vt:lpstr>Wirtschaftlichkeit</vt:lpstr>
      <vt:lpstr>PowerPoint-Präsentation</vt:lpstr>
      <vt:lpstr>Über 50%   der erneuerbaren sind Bioenergie!</vt:lpstr>
      <vt:lpstr>Kostenloses Erstgespräch vereinbaren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obert Wasser</dc:creator>
  <cp:lastModifiedBy>Robert Wasser</cp:lastModifiedBy>
  <cp:revision>347</cp:revision>
  <dcterms:created xsi:type="dcterms:W3CDTF">2018-11-01T14:46:46Z</dcterms:created>
  <dcterms:modified xsi:type="dcterms:W3CDTF">2025-06-12T06:5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2563843C74BD4E9E31552301FEEB65</vt:lpwstr>
  </property>
</Properties>
</file>